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8.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1.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2.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4.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5.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7.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7" r:id="rId4"/>
    <p:sldMasterId id="2147488463" r:id="rId5"/>
    <p:sldMasterId id="2147488805" r:id="rId6"/>
    <p:sldMasterId id="2147488814" r:id="rId7"/>
    <p:sldMasterId id="2147488842" r:id="rId8"/>
    <p:sldMasterId id="2147488851" r:id="rId9"/>
    <p:sldMasterId id="2147489255" r:id="rId10"/>
    <p:sldMasterId id="2147489272" r:id="rId11"/>
    <p:sldMasterId id="2147489611" r:id="rId12"/>
    <p:sldMasterId id="2147489636" r:id="rId13"/>
    <p:sldMasterId id="2147489673" r:id="rId14"/>
    <p:sldMasterId id="2147489695" r:id="rId15"/>
    <p:sldMasterId id="2147489719" r:id="rId16"/>
    <p:sldMasterId id="2147489736" r:id="rId17"/>
    <p:sldMasterId id="2147489786" r:id="rId18"/>
    <p:sldMasterId id="2147489807" r:id="rId19"/>
    <p:sldMasterId id="2147489831" r:id="rId20"/>
    <p:sldMasterId id="2147489852" r:id="rId21"/>
  </p:sldMasterIdLst>
  <p:notesMasterIdLst>
    <p:notesMasterId r:id="rId72"/>
  </p:notesMasterIdLst>
  <p:handoutMasterIdLst>
    <p:handoutMasterId r:id="rId73"/>
  </p:handoutMasterIdLst>
  <p:sldIdLst>
    <p:sldId id="2975" r:id="rId22"/>
    <p:sldId id="6268" r:id="rId23"/>
    <p:sldId id="4775" r:id="rId24"/>
    <p:sldId id="6272" r:id="rId25"/>
    <p:sldId id="272" r:id="rId26"/>
    <p:sldId id="273" r:id="rId27"/>
    <p:sldId id="6261" r:id="rId28"/>
    <p:sldId id="276" r:id="rId29"/>
    <p:sldId id="2942" r:id="rId30"/>
    <p:sldId id="391" r:id="rId31"/>
    <p:sldId id="682" r:id="rId32"/>
    <p:sldId id="4776" r:id="rId33"/>
    <p:sldId id="4778" r:id="rId34"/>
    <p:sldId id="4782" r:id="rId35"/>
    <p:sldId id="3030" r:id="rId36"/>
    <p:sldId id="4781" r:id="rId37"/>
    <p:sldId id="4746" r:id="rId38"/>
    <p:sldId id="6263" r:id="rId39"/>
    <p:sldId id="6262" r:id="rId40"/>
    <p:sldId id="3015" r:id="rId41"/>
    <p:sldId id="3081" r:id="rId42"/>
    <p:sldId id="4652" r:id="rId43"/>
    <p:sldId id="3054" r:id="rId44"/>
    <p:sldId id="4750" r:id="rId45"/>
    <p:sldId id="4764" r:id="rId46"/>
    <p:sldId id="4770" r:id="rId47"/>
    <p:sldId id="4768" r:id="rId48"/>
    <p:sldId id="4769" r:id="rId49"/>
    <p:sldId id="4625" r:id="rId50"/>
    <p:sldId id="6264" r:id="rId51"/>
    <p:sldId id="4760" r:id="rId52"/>
    <p:sldId id="4763" r:id="rId53"/>
    <p:sldId id="297" r:id="rId54"/>
    <p:sldId id="1037" r:id="rId55"/>
    <p:sldId id="2996" r:id="rId56"/>
    <p:sldId id="2999" r:id="rId57"/>
    <p:sldId id="3011" r:id="rId58"/>
    <p:sldId id="2983" r:id="rId59"/>
    <p:sldId id="3013" r:id="rId60"/>
    <p:sldId id="1991" r:id="rId61"/>
    <p:sldId id="1002" r:id="rId62"/>
    <p:sldId id="996" r:id="rId63"/>
    <p:sldId id="6270" r:id="rId64"/>
    <p:sldId id="6271" r:id="rId65"/>
    <p:sldId id="997" r:id="rId66"/>
    <p:sldId id="286" r:id="rId67"/>
    <p:sldId id="3016" r:id="rId68"/>
    <p:sldId id="6260" r:id="rId69"/>
    <p:sldId id="292" r:id="rId70"/>
    <p:sldId id="4749" r:id="rId71"/>
  </p:sldIdLst>
  <p:sldSz cx="9144000" cy="5143500" type="screen16x9"/>
  <p:notesSz cx="6858000" cy="9144000"/>
  <p:custDataLst>
    <p:tags r:id="rId74"/>
  </p:custDataLst>
  <p:defaultTex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730E7E85-6C8A-6E41-8D5A-C39831217EDB}">
          <p14:sldIdLst>
            <p14:sldId id="2975"/>
            <p14:sldId id="6268"/>
            <p14:sldId id="4775"/>
            <p14:sldId id="6272"/>
            <p14:sldId id="272"/>
            <p14:sldId id="273"/>
            <p14:sldId id="6261"/>
            <p14:sldId id="276"/>
            <p14:sldId id="2942"/>
            <p14:sldId id="391"/>
            <p14:sldId id="682"/>
            <p14:sldId id="4776"/>
            <p14:sldId id="4778"/>
            <p14:sldId id="4782"/>
            <p14:sldId id="3030"/>
            <p14:sldId id="4781"/>
            <p14:sldId id="4746"/>
            <p14:sldId id="6263"/>
            <p14:sldId id="6262"/>
            <p14:sldId id="3015"/>
            <p14:sldId id="3081"/>
            <p14:sldId id="4652"/>
            <p14:sldId id="3054"/>
            <p14:sldId id="4750"/>
            <p14:sldId id="4764"/>
            <p14:sldId id="4770"/>
            <p14:sldId id="4768"/>
            <p14:sldId id="4769"/>
            <p14:sldId id="4625"/>
            <p14:sldId id="6264"/>
            <p14:sldId id="4760"/>
            <p14:sldId id="4763"/>
            <p14:sldId id="297"/>
            <p14:sldId id="1037"/>
            <p14:sldId id="2996"/>
            <p14:sldId id="2999"/>
            <p14:sldId id="3011"/>
            <p14:sldId id="2983"/>
            <p14:sldId id="3013"/>
            <p14:sldId id="1991"/>
            <p14:sldId id="1002"/>
            <p14:sldId id="996"/>
            <p14:sldId id="6270"/>
            <p14:sldId id="6271"/>
            <p14:sldId id="997"/>
            <p14:sldId id="286"/>
            <p14:sldId id="3016"/>
            <p14:sldId id="6260"/>
            <p14:sldId id="292"/>
            <p14:sldId id="4749"/>
          </p14:sldIdLst>
        </p14:section>
      </p14:sectionLst>
    </p:ext>
    <p:ext uri="{EFAFB233-063F-42B5-8137-9DF3F51BA10A}">
      <p15:sldGuideLst xmlns:p15="http://schemas.microsoft.com/office/powerpoint/2012/main">
        <p15:guide id="1" orient="horz" pos="3239">
          <p15:clr>
            <a:srgbClr val="A4A3A4"/>
          </p15:clr>
        </p15:guide>
        <p15:guide id="2" orient="horz" pos="3116">
          <p15:clr>
            <a:srgbClr val="A4A3A4"/>
          </p15:clr>
        </p15:guide>
        <p15:guide id="3" orient="horz" pos="1457">
          <p15:clr>
            <a:srgbClr val="A4A3A4"/>
          </p15:clr>
        </p15:guide>
        <p15:guide id="4" orient="horz" pos="415">
          <p15:clr>
            <a:srgbClr val="A4A3A4"/>
          </p15:clr>
        </p15:guide>
        <p15:guide id="5" orient="horz" pos="357">
          <p15:clr>
            <a:srgbClr val="A4A3A4"/>
          </p15:clr>
        </p15:guide>
        <p15:guide id="6" orient="horz" pos="566">
          <p15:clr>
            <a:srgbClr val="A4A3A4"/>
          </p15:clr>
        </p15:guide>
        <p15:guide id="7" orient="horz" pos="466">
          <p15:clr>
            <a:srgbClr val="A4A3A4"/>
          </p15:clr>
        </p15:guide>
        <p15:guide id="8" orient="horz" pos="2954">
          <p15:clr>
            <a:srgbClr val="A4A3A4"/>
          </p15:clr>
        </p15:guide>
        <p15:guide id="9" pos="3817">
          <p15:clr>
            <a:srgbClr val="A4A3A4"/>
          </p15:clr>
        </p15:guide>
        <p15:guide id="10" pos="5531">
          <p15:clr>
            <a:srgbClr val="A4A3A4"/>
          </p15:clr>
        </p15:guide>
        <p15:guide id="11" pos="395">
          <p15:clr>
            <a:srgbClr val="A4A3A4"/>
          </p15:clr>
        </p15:guide>
        <p15:guide id="12" pos="3008">
          <p15:clr>
            <a:srgbClr val="A4A3A4"/>
          </p15:clr>
        </p15:guide>
        <p15:guide id="13" pos="5541">
          <p15:clr>
            <a:srgbClr val="A4A3A4"/>
          </p15:clr>
        </p15:guide>
        <p15:guide id="14" pos="4374">
          <p15:clr>
            <a:srgbClr val="A4A3A4"/>
          </p15:clr>
        </p15:guide>
        <p15:guide id="15" pos="501">
          <p15:clr>
            <a:srgbClr val="A4A3A4"/>
          </p15:clr>
        </p15:guide>
        <p15:guide id="16" pos="13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9"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98D3"/>
    <a:srgbClr val="233E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E40587-49E1-421F-9F08-F32D858D9C63}" v="2" dt="2020-07-08T10:07:57.7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18" autoAdjust="0"/>
    <p:restoredTop sz="92038" autoAdjust="0"/>
  </p:normalViewPr>
  <p:slideViewPr>
    <p:cSldViewPr snapToGrid="0">
      <p:cViewPr varScale="1">
        <p:scale>
          <a:sx n="104" d="100"/>
          <a:sy n="104" d="100"/>
        </p:scale>
        <p:origin x="696" y="86"/>
      </p:cViewPr>
      <p:guideLst>
        <p:guide orient="horz" pos="3239"/>
        <p:guide orient="horz" pos="3116"/>
        <p:guide orient="horz" pos="1457"/>
        <p:guide orient="horz" pos="415"/>
        <p:guide orient="horz" pos="357"/>
        <p:guide orient="horz" pos="566"/>
        <p:guide orient="horz" pos="466"/>
        <p:guide orient="horz" pos="2954"/>
        <p:guide pos="3817"/>
        <p:guide pos="5531"/>
        <p:guide pos="395"/>
        <p:guide pos="3008"/>
        <p:guide pos="5541"/>
        <p:guide pos="4374"/>
        <p:guide pos="501"/>
        <p:guide pos="138"/>
      </p:guideLst>
    </p:cSldViewPr>
  </p:slideViewPr>
  <p:outlineViewPr>
    <p:cViewPr>
      <p:scale>
        <a:sx n="33" d="100"/>
        <a:sy n="33" d="100"/>
      </p:scale>
      <p:origin x="0" y="-6444"/>
    </p:cViewPr>
  </p:outlineViewPr>
  <p:notesTextViewPr>
    <p:cViewPr>
      <p:scale>
        <a:sx n="100" d="100"/>
        <a:sy n="100" d="100"/>
      </p:scale>
      <p:origin x="0" y="0"/>
    </p:cViewPr>
  </p:notesTextViewPr>
  <p:sorterViewPr>
    <p:cViewPr varScale="1">
      <p:scale>
        <a:sx n="1" d="1"/>
        <a:sy n="1" d="1"/>
      </p:scale>
      <p:origin x="0" y="-4048"/>
    </p:cViewPr>
  </p:sorterViewPr>
  <p:notesViewPr>
    <p:cSldViewPr snapToGrid="0">
      <p:cViewPr varScale="1">
        <p:scale>
          <a:sx n="91" d="100"/>
          <a:sy n="91" d="100"/>
        </p:scale>
        <p:origin x="-1974"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tags" Target="tags/tag1.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0.xml"/><Relationship Id="rId2" Type="http://schemas.openxmlformats.org/officeDocument/2006/relationships/customXml" Target="../customXml/item2.xml"/><Relationship Id="rId29"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517" name="Rectangle 5">
            <a:extLst>
              <a:ext uri="{FF2B5EF4-FFF2-40B4-BE49-F238E27FC236}">
                <a16:creationId xmlns:a16="http://schemas.microsoft.com/office/drawing/2014/main" id="{FB0314C8-A1A1-425B-8EFF-DC54F91C23CF}"/>
              </a:ext>
            </a:extLst>
          </p:cNvPr>
          <p:cNvSpPr>
            <a:spLocks noGrp="1" noChangeArrowheads="1"/>
          </p:cNvSpPr>
          <p:nvPr>
            <p:ph type="sldNum" sz="quarter" idx="3"/>
          </p:nvPr>
        </p:nvSpPr>
        <p:spPr bwMode="auto">
          <a:xfrm>
            <a:off x="5738813" y="8728075"/>
            <a:ext cx="660400" cy="3063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000">
                <a:solidFill>
                  <a:schemeClr val="bg2"/>
                </a:solidFill>
                <a:latin typeface="Arial" panose="020B0604020202020204" pitchFamily="34" charset="0"/>
              </a:defRPr>
            </a:lvl1pPr>
          </a:lstStyle>
          <a:p>
            <a:pPr>
              <a:defRPr/>
            </a:pPr>
            <a:fld id="{372A8196-8280-4438-B17B-C96DF60E1B93}" type="slidenum">
              <a:rPr lang="en-US" altLang="en-US"/>
              <a:pPr>
                <a:defRPr/>
              </a:pPr>
              <a:t>‹#›</a:t>
            </a:fld>
            <a:endParaRPr lang="en-US" altLang="en-US"/>
          </a:p>
        </p:txBody>
      </p:sp>
      <p:sp>
        <p:nvSpPr>
          <p:cNvPr id="11267" name="Text Box 15">
            <a:extLst>
              <a:ext uri="{FF2B5EF4-FFF2-40B4-BE49-F238E27FC236}">
                <a16:creationId xmlns:a16="http://schemas.microsoft.com/office/drawing/2014/main" id="{A23F3682-7387-4D8A-BA8D-0152D9EFAE53}"/>
              </a:ext>
            </a:extLst>
          </p:cNvPr>
          <p:cNvSpPr txBox="1">
            <a:spLocks noChangeArrowheads="1"/>
          </p:cNvSpPr>
          <p:nvPr/>
        </p:nvSpPr>
        <p:spPr bwMode="auto">
          <a:xfrm>
            <a:off x="533400" y="8839200"/>
            <a:ext cx="2016125" cy="152400"/>
          </a:xfrm>
          <a:prstGeom prst="rect">
            <a:avLst/>
          </a:prstGeom>
          <a:noFill/>
          <a:ln>
            <a:noFill/>
          </a:ln>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defRPr/>
            </a:pPr>
            <a:r>
              <a:rPr lang="en-US" altLang="en-US" sz="1000" dirty="0">
                <a:solidFill>
                  <a:schemeClr val="bg2"/>
                </a:solidFill>
                <a:cs typeface="Arial" panose="020B0604020202020204" pitchFamily="34" charset="0"/>
              </a:rPr>
              <a:t>© </a:t>
            </a:r>
            <a:r>
              <a:rPr lang="en-US" altLang="en-US" sz="1000" dirty="0">
                <a:solidFill>
                  <a:schemeClr val="bg2"/>
                </a:solidFill>
              </a:rPr>
              <a:t>2011 NetApp. All rights reserved.</a:t>
            </a:r>
          </a:p>
        </p:txBody>
      </p:sp>
      <p:sp>
        <p:nvSpPr>
          <p:cNvPr id="4" name="Footer Placeholder 3">
            <a:extLst>
              <a:ext uri="{FF2B5EF4-FFF2-40B4-BE49-F238E27FC236}">
                <a16:creationId xmlns:a16="http://schemas.microsoft.com/office/drawing/2014/main" id="{11235BAA-848D-477A-9768-A39F67B3A467}"/>
              </a:ext>
            </a:extLst>
          </p:cNvPr>
          <p:cNvSpPr>
            <a:spLocks noGrp="1"/>
          </p:cNvSpPr>
          <p:nvPr>
            <p:ph type="ftr" sz="quarter" idx="2"/>
          </p:nvPr>
        </p:nvSpPr>
        <p:spPr>
          <a:xfrm>
            <a:off x="2744788" y="8797925"/>
            <a:ext cx="2971800" cy="239713"/>
          </a:xfrm>
          <a:prstGeom prst="rect">
            <a:avLst/>
          </a:prstGeom>
        </p:spPr>
        <p:txBody>
          <a:bodyPr vert="horz" lIns="91440" tIns="45720" rIns="91440" bIns="45720" rtlCol="0" anchor="b"/>
          <a:lstStyle>
            <a:lvl1pPr algn="ctr" eaLnBrk="1" hangingPunct="1">
              <a:defRPr sz="1000">
                <a:solidFill>
                  <a:schemeClr val="bg2"/>
                </a:solidFill>
                <a:latin typeface="Arial" charset="0"/>
              </a:defRPr>
            </a:lvl1pPr>
          </a:lstStyle>
          <a:p>
            <a:pPr>
              <a:defRPr/>
            </a:pPr>
            <a:r>
              <a:rPr lang="en-US"/>
              <a:t>NetApp Confidential - For Internal Use Only</a:t>
            </a: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4386" name="Rectangle 4">
            <a:extLst>
              <a:ext uri="{FF2B5EF4-FFF2-40B4-BE49-F238E27FC236}">
                <a16:creationId xmlns:a16="http://schemas.microsoft.com/office/drawing/2014/main" id="{BE58886E-7D7E-4F31-9FD9-A1BCEDB5AB84}"/>
              </a:ext>
            </a:extLst>
          </p:cNvPr>
          <p:cNvSpPr>
            <a:spLocks noGrp="1" noRot="1" noChangeAspect="1" noChangeArrowheads="1" noTextEdit="1"/>
          </p:cNvSpPr>
          <p:nvPr>
            <p:ph type="sldImg" idx="2"/>
          </p:nvPr>
        </p:nvSpPr>
        <p:spPr bwMode="auto">
          <a:xfrm>
            <a:off x="482600" y="304800"/>
            <a:ext cx="5892800" cy="33147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94D3DA38-EB62-4877-8DCA-83D531430E24}"/>
              </a:ext>
            </a:extLst>
          </p:cNvPr>
          <p:cNvSpPr>
            <a:spLocks noGrp="1" noChangeArrowheads="1"/>
          </p:cNvSpPr>
          <p:nvPr>
            <p:ph type="body" sz="quarter" idx="3"/>
          </p:nvPr>
        </p:nvSpPr>
        <p:spPr bwMode="auto">
          <a:xfrm>
            <a:off x="228600" y="3810000"/>
            <a:ext cx="6400800" cy="4953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175" name="Rectangle 7">
            <a:extLst>
              <a:ext uri="{FF2B5EF4-FFF2-40B4-BE49-F238E27FC236}">
                <a16:creationId xmlns:a16="http://schemas.microsoft.com/office/drawing/2014/main" id="{C01228BA-839E-4C80-9B0E-F46790845195}"/>
              </a:ext>
            </a:extLst>
          </p:cNvPr>
          <p:cNvSpPr>
            <a:spLocks noGrp="1" noChangeArrowheads="1"/>
          </p:cNvSpPr>
          <p:nvPr>
            <p:ph type="sldNum" sz="quarter" idx="5"/>
          </p:nvPr>
        </p:nvSpPr>
        <p:spPr bwMode="auto">
          <a:xfrm>
            <a:off x="5905500" y="8807450"/>
            <a:ext cx="836613" cy="2286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000">
                <a:solidFill>
                  <a:schemeClr val="bg2"/>
                </a:solidFill>
                <a:latin typeface="Arial" panose="020B0604020202020204" pitchFamily="34" charset="0"/>
              </a:defRPr>
            </a:lvl1pPr>
          </a:lstStyle>
          <a:p>
            <a:pPr>
              <a:defRPr/>
            </a:pPr>
            <a:fld id="{49D12D3B-2285-4EF0-BE2E-2E3F8E2A59C3}" type="slidenum">
              <a:rPr lang="en-US" altLang="en-US"/>
              <a:pPr>
                <a:defRPr/>
              </a:pPr>
              <a:t>‹#›</a:t>
            </a:fld>
            <a:endParaRPr lang="en-US" altLang="en-US"/>
          </a:p>
        </p:txBody>
      </p:sp>
      <p:sp>
        <p:nvSpPr>
          <p:cNvPr id="10245" name="Text Box 20">
            <a:extLst>
              <a:ext uri="{FF2B5EF4-FFF2-40B4-BE49-F238E27FC236}">
                <a16:creationId xmlns:a16="http://schemas.microsoft.com/office/drawing/2014/main" id="{872C61C8-A43E-477D-8121-3E5A6AB45893}"/>
              </a:ext>
            </a:extLst>
          </p:cNvPr>
          <p:cNvSpPr txBox="1">
            <a:spLocks noChangeArrowheads="1"/>
          </p:cNvSpPr>
          <p:nvPr/>
        </p:nvSpPr>
        <p:spPr bwMode="hidden">
          <a:xfrm>
            <a:off x="457200" y="8839200"/>
            <a:ext cx="2016125" cy="152400"/>
          </a:xfrm>
          <a:prstGeom prst="rect">
            <a:avLst/>
          </a:prstGeom>
          <a:noFill/>
          <a:ln>
            <a:noFill/>
          </a:ln>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defRPr/>
            </a:pPr>
            <a:r>
              <a:rPr lang="en-US" altLang="en-US" sz="1000" dirty="0">
                <a:solidFill>
                  <a:schemeClr val="bg2"/>
                </a:solidFill>
                <a:cs typeface="Arial" panose="020B0604020202020204" pitchFamily="34" charset="0"/>
              </a:rPr>
              <a:t>© </a:t>
            </a:r>
            <a:r>
              <a:rPr lang="en-US" altLang="en-US" sz="1000" dirty="0">
                <a:solidFill>
                  <a:schemeClr val="bg2"/>
                </a:solidFill>
              </a:rPr>
              <a:t>2011 NetApp. All rights reserved.</a:t>
            </a:r>
          </a:p>
        </p:txBody>
      </p:sp>
      <p:sp>
        <p:nvSpPr>
          <p:cNvPr id="6" name="Footer Placeholder 5">
            <a:extLst>
              <a:ext uri="{FF2B5EF4-FFF2-40B4-BE49-F238E27FC236}">
                <a16:creationId xmlns:a16="http://schemas.microsoft.com/office/drawing/2014/main" id="{0DBA7D83-6D3B-4DD9-A17E-94575BA72118}"/>
              </a:ext>
            </a:extLst>
          </p:cNvPr>
          <p:cNvSpPr>
            <a:spLocks noGrp="1"/>
          </p:cNvSpPr>
          <p:nvPr>
            <p:ph type="ftr" sz="quarter" idx="4"/>
          </p:nvPr>
        </p:nvSpPr>
        <p:spPr>
          <a:xfrm>
            <a:off x="2805113" y="8737600"/>
            <a:ext cx="3343275" cy="298450"/>
          </a:xfrm>
          <a:prstGeom prst="rect">
            <a:avLst/>
          </a:prstGeom>
        </p:spPr>
        <p:txBody>
          <a:bodyPr vert="horz" lIns="91440" tIns="45720" rIns="91440" bIns="45720" rtlCol="0" anchor="b"/>
          <a:lstStyle>
            <a:lvl1pPr algn="ctr" eaLnBrk="1" hangingPunct="1">
              <a:defRPr sz="1000">
                <a:solidFill>
                  <a:schemeClr val="bg2"/>
                </a:solidFill>
                <a:latin typeface="Arial" charset="0"/>
              </a:defRPr>
            </a:lvl1pPr>
          </a:lstStyle>
          <a:p>
            <a:pPr>
              <a:defRPr/>
            </a:pPr>
            <a:r>
              <a:rPr lang="en-US"/>
              <a:t>NetApp Confidential - For Internal Use Only</a:t>
            </a:r>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166688" algn="l" rtl="0" eaLnBrk="0" fontAlgn="base" hangingPunct="0">
      <a:spcBef>
        <a:spcPct val="30000"/>
      </a:spcBef>
      <a:spcAft>
        <a:spcPct val="0"/>
      </a:spcAft>
      <a:defRPr sz="1000" kern="1200">
        <a:solidFill>
          <a:schemeClr val="tx1"/>
        </a:solidFill>
        <a:latin typeface="Arial" charset="0"/>
        <a:ea typeface="+mn-ea"/>
        <a:cs typeface="+mn-cs"/>
      </a:defRPr>
    </a:lvl2pPr>
    <a:lvl3pPr marL="347663" algn="l" rtl="0" eaLnBrk="0" fontAlgn="base" hangingPunct="0">
      <a:spcBef>
        <a:spcPct val="30000"/>
      </a:spcBef>
      <a:spcAft>
        <a:spcPct val="0"/>
      </a:spcAft>
      <a:defRPr sz="1000" kern="1200">
        <a:solidFill>
          <a:schemeClr val="tx1"/>
        </a:solidFill>
        <a:latin typeface="Arial" charset="0"/>
        <a:ea typeface="+mn-ea"/>
        <a:cs typeface="+mn-cs"/>
      </a:defRPr>
    </a:lvl3pPr>
    <a:lvl4pPr marL="515938" algn="l" rtl="0" eaLnBrk="0" fontAlgn="base" hangingPunct="0">
      <a:spcBef>
        <a:spcPct val="30000"/>
      </a:spcBef>
      <a:spcAft>
        <a:spcPct val="0"/>
      </a:spcAft>
      <a:defRPr sz="1000" kern="1200">
        <a:solidFill>
          <a:schemeClr val="tx1"/>
        </a:solidFill>
        <a:latin typeface="Arial" charset="0"/>
        <a:ea typeface="+mn-ea"/>
        <a:cs typeface="+mn-cs"/>
      </a:defRPr>
    </a:lvl4pPr>
    <a:lvl5pPr marL="684213" algn="l" rtl="0" eaLnBrk="0" fontAlgn="base" hangingPunct="0">
      <a:spcBef>
        <a:spcPct val="30000"/>
      </a:spcBef>
      <a:spcAft>
        <a:spcPct val="0"/>
      </a:spcAft>
      <a:defRPr sz="1000" kern="1200">
        <a:solidFill>
          <a:schemeClr val="tx1"/>
        </a:solidFill>
        <a:latin typeface="Arial" charset="0"/>
        <a:ea typeface="+mn-ea"/>
        <a:cs typeface="+mn-cs"/>
      </a:defRPr>
    </a:lvl5pPr>
    <a:lvl6pPr marL="2285601" algn="l" defTabSz="914243" rtl="0" eaLnBrk="1" latinLnBrk="0" hangingPunct="1">
      <a:defRPr sz="1200" kern="1200">
        <a:solidFill>
          <a:schemeClr val="tx1"/>
        </a:solidFill>
        <a:latin typeface="+mn-lt"/>
        <a:ea typeface="+mn-ea"/>
        <a:cs typeface="+mn-cs"/>
      </a:defRPr>
    </a:lvl6pPr>
    <a:lvl7pPr marL="2742719" algn="l" defTabSz="914243" rtl="0" eaLnBrk="1" latinLnBrk="0" hangingPunct="1">
      <a:defRPr sz="1200" kern="1200">
        <a:solidFill>
          <a:schemeClr val="tx1"/>
        </a:solidFill>
        <a:latin typeface="+mn-lt"/>
        <a:ea typeface="+mn-ea"/>
        <a:cs typeface="+mn-cs"/>
      </a:defRPr>
    </a:lvl7pPr>
    <a:lvl8pPr marL="3199840" algn="l" defTabSz="914243" rtl="0" eaLnBrk="1" latinLnBrk="0" hangingPunct="1">
      <a:defRPr sz="1200" kern="1200">
        <a:solidFill>
          <a:schemeClr val="tx1"/>
        </a:solidFill>
        <a:latin typeface="+mn-lt"/>
        <a:ea typeface="+mn-ea"/>
        <a:cs typeface="+mn-cs"/>
      </a:defRPr>
    </a:lvl8pPr>
    <a:lvl9pPr marL="3656960" algn="l" defTabSz="91424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netapp.com/us/media/tr-4801.pdf" TargetMode="External"/><Relationship Id="rId7" Type="http://schemas.openxmlformats.org/officeDocument/2006/relationships/hyperlink" Target="http://www.netapp.com/us/media/tr-4802.pdf"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www.netapp.com/us/media/nva-1139-design.pdf" TargetMode="External"/><Relationship Id="rId5" Type="http://schemas.openxmlformats.org/officeDocument/2006/relationships/hyperlink" Target="https://www.cisco.com/c/en/us/td/docs/unified_computing/ucs/UCS_CVDs/flexpod_datacenter_vmware_netappaffa_u2.html" TargetMode="External"/><Relationship Id="rId4" Type="http://schemas.openxmlformats.org/officeDocument/2006/relationships/hyperlink" Target="https://www.cisco.com/c/en/us/td/docs/unified_computing/ucs/UCS_CVDs/flexpod_datacenter_sap_netappaffa_design.html"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netapp.com/us/media/tr-4801.pdf" TargetMode="External"/><Relationship Id="rId7" Type="http://schemas.openxmlformats.org/officeDocument/2006/relationships/hyperlink" Target="http://www.netapp.com/us/media/tr-4802.pdf"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www.netapp.com/us/media/nva-1139-design.pdf" TargetMode="External"/><Relationship Id="rId5" Type="http://schemas.openxmlformats.org/officeDocument/2006/relationships/hyperlink" Target="https://www.cisco.com/c/en/us/td/docs/unified_computing/ucs/UCS_CVDs/flexpod_datacenter_vmware_netappaffa_u2.html" TargetMode="External"/><Relationship Id="rId4" Type="http://schemas.openxmlformats.org/officeDocument/2006/relationships/hyperlink" Target="https://www.cisco.com/c/en/us/td/docs/unified_computing/ucs/UCS_CVDs/flexpod_datacenter_sap_netappaffa_desig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isco.com/c/en/us/products/collateral/servers-unified-computing/ucs-b-series-blade-servers/whitepaper-c11-741907.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isco.com/c/en/us/td/docs/unified_computing/ucs/UCS_CVDs/flexpod_c480m5l_aiml_design.htm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itcentralstation.com/products/flexpod-use-of-solutio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netapp.com/us-en/converged-systems-advisor/task_getting_started.htm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netapp.com/en/tasnetworks-flexpod-case-study/"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D12D3B-2285-4EF0-BE2E-2E3F8E2A59C3}" type="slidenum">
              <a:rPr lang="en-US" altLang="en-US" smtClean="0"/>
              <a:pPr>
                <a:defRPr/>
              </a:pPr>
              <a:t>1</a:t>
            </a:fld>
            <a:endParaRPr lang="en-US" altLang="en-US"/>
          </a:p>
        </p:txBody>
      </p:sp>
    </p:spTree>
    <p:extLst>
      <p:ext uri="{BB962C8B-B14F-4D97-AF65-F5344CB8AC3E}">
        <p14:creationId xmlns:p14="http://schemas.microsoft.com/office/powerpoint/2010/main" val="984498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xfrm>
            <a:off x="228600" y="3733800"/>
            <a:ext cx="6400800" cy="5181600"/>
          </a:xfrm>
          <a:ln/>
        </p:spPr>
        <p:txBody>
          <a:bodyPr/>
          <a:lstStyle/>
          <a:p>
            <a:pPr>
              <a:defRPr/>
            </a:pPr>
            <a:endParaRPr lang="en-US" sz="1050" dirty="0">
              <a:ea typeface="ＭＳ Ｐゴシック" pitchFamily="34" charset="-128"/>
            </a:endParaRPr>
          </a:p>
          <a:p>
            <a:pPr>
              <a:defRPr/>
            </a:pPr>
            <a:r>
              <a:rPr lang="en-US" sz="1050" dirty="0">
                <a:ea typeface="ＭＳ Ｐゴシック" pitchFamily="34" charset="-128"/>
              </a:rPr>
              <a:t>Many organizations perform the following steps when servicing a new application or requirement:</a:t>
            </a:r>
          </a:p>
          <a:p>
            <a:pPr marL="228600" indent="-228600">
              <a:buFont typeface="+mj-lt"/>
              <a:buAutoNum type="arabicPeriod"/>
              <a:defRPr/>
            </a:pPr>
            <a:r>
              <a:rPr lang="en-US" sz="1050" dirty="0">
                <a:ea typeface="ＭＳ Ｐゴシック" pitchFamily="34" charset="-128"/>
              </a:rPr>
              <a:t>Collect detailed requirements.</a:t>
            </a:r>
          </a:p>
          <a:p>
            <a:pPr marL="228600" indent="-228600">
              <a:buFont typeface="+mj-lt"/>
              <a:buAutoNum type="arabicPeriod"/>
              <a:defRPr/>
            </a:pPr>
            <a:r>
              <a:rPr lang="en-US" sz="1050" dirty="0">
                <a:ea typeface="ＭＳ Ｐゴシック" pitchFamily="34" charset="-128"/>
              </a:rPr>
              <a:t>Architect and size: Work with the vendors to architect and size the system. Depending on the number of applications and the number of vendors involved, the sizing and architecting phase can take many weeks and often months.</a:t>
            </a:r>
          </a:p>
          <a:p>
            <a:pPr marL="228600" indent="-228600">
              <a:buFont typeface="+mj-lt"/>
              <a:buAutoNum type="arabicPeriod"/>
              <a:defRPr/>
            </a:pPr>
            <a:r>
              <a:rPr lang="en-US" sz="1050" dirty="0">
                <a:ea typeface="ＭＳ Ｐゴシック" pitchFamily="34" charset="-128"/>
              </a:rPr>
              <a:t>DC planning: Work with the data center team to negotiate power, floor space, and cooling requirements for the new system.</a:t>
            </a:r>
          </a:p>
          <a:p>
            <a:pPr marL="228600" indent="-228600">
              <a:buFont typeface="+mj-lt"/>
              <a:buAutoNum type="arabicPeriod"/>
              <a:defRPr/>
            </a:pPr>
            <a:r>
              <a:rPr lang="en-US" sz="1050" dirty="0">
                <a:ea typeface="ＭＳ Ｐゴシック" pitchFamily="34" charset="-128"/>
              </a:rPr>
              <a:t>Procure equipment: This phase involves many weeks of obtaining quotes, ordering, and receiving the new gear. The time it takes to deal with a large organization, plus additional shipping times, can easily total six weeks.</a:t>
            </a:r>
          </a:p>
          <a:p>
            <a:pPr marL="228600" indent="-228600">
              <a:buFont typeface="+mj-lt"/>
              <a:buAutoNum type="arabicPeriod"/>
              <a:defRPr/>
            </a:pPr>
            <a:r>
              <a:rPr lang="en-US" sz="1050" dirty="0">
                <a:ea typeface="ＭＳ Ｐゴシック" pitchFamily="34" charset="-128"/>
              </a:rPr>
              <a:t>Detailed design: This phase involves working out the exact configuration for compute configuration, network connectivity, storage layout, security, and isolation.</a:t>
            </a:r>
          </a:p>
          <a:p>
            <a:pPr marL="228600" indent="-228600">
              <a:buFont typeface="+mj-lt"/>
              <a:buAutoNum type="arabicPeriod"/>
              <a:defRPr/>
            </a:pPr>
            <a:r>
              <a:rPr lang="en-US" sz="1050" dirty="0">
                <a:ea typeface="ＭＳ Ｐゴシック" pitchFamily="34" charset="-128"/>
              </a:rPr>
              <a:t>Deploy: Configure the equipment for use.</a:t>
            </a:r>
          </a:p>
          <a:p>
            <a:pPr marL="228600" indent="-228600">
              <a:buFont typeface="+mj-lt"/>
              <a:buAutoNum type="arabicPeriod"/>
              <a:defRPr/>
            </a:pPr>
            <a:r>
              <a:rPr lang="en-US" sz="1050" dirty="0">
                <a:ea typeface="ＭＳ Ｐゴシック" pitchFamily="34" charset="-128"/>
              </a:rPr>
              <a:t>Test: Create and run a test plan to make sure that the equipment is correctly installed and meets the original requirements.</a:t>
            </a:r>
          </a:p>
          <a:p>
            <a:pPr>
              <a:defRPr/>
            </a:pPr>
            <a:r>
              <a:rPr lang="en-US" sz="1050" dirty="0">
                <a:ea typeface="ＭＳ Ｐゴシック" pitchFamily="34" charset="-128"/>
              </a:rPr>
              <a:t>By using FlexPod, many of these phases are compressed or removed altogether. Customers who take the standardized approach to IT have repeatedly demonstrated better than 50% faster deployment times over traditional approaches. Cisco, NetApp, and VMware provide the reference collateral (sizing, design, deployment, and testing) to standardize this deployment approach for all customers.</a:t>
            </a:r>
          </a:p>
          <a:p>
            <a:pPr>
              <a:defRPr/>
            </a:pPr>
            <a:r>
              <a:rPr lang="en-US" sz="1050" dirty="0">
                <a:ea typeface="ＭＳ Ｐゴシック" pitchFamily="34" charset="-128"/>
              </a:rPr>
              <a:t>Many organizations don’t know the future demands that will be placed on IT, but IT is expected to be very responsive. So going a step further by forward (preprovisioned) FlexPod as a pool of infrastructure, the compute, network, and storage resources are on the floor already, and it is a very rapid process to meet business needs.</a:t>
            </a:r>
          </a:p>
          <a:p>
            <a:pPr>
              <a:defRPr/>
            </a:pPr>
            <a:r>
              <a:rPr lang="en-US" sz="1050" dirty="0">
                <a:ea typeface="ＭＳ Ｐゴシック" pitchFamily="34" charset="-128"/>
              </a:rPr>
              <a:t>You can efficiently preprovision infrastructure only if it augments pools of shared infrastructure and satisfies a wide range of application requirements. FlexPod for VMware has been architected to meet a wide range of application demands from shared infrastructure pools that are centrally managed.</a:t>
            </a:r>
          </a:p>
        </p:txBody>
      </p:sp>
      <p:sp>
        <p:nvSpPr>
          <p:cNvPr id="829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5E98EE2-88C3-4EBD-AEA1-150007F04230}" type="slidenum">
              <a:rPr kumimoji="0" lang="en-US" altLang="en-US" sz="1000" b="0" i="0" u="none" strike="noStrike" kern="1200" cap="none" spc="0" normalizeH="0" baseline="0" noProof="0" smtClean="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000" b="0" i="0" u="none" strike="noStrike" kern="1200" cap="none" spc="0" normalizeH="0" baseline="0" noProof="0" dirty="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857154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EC0ABFA2-B092-431F-976D-66AB266C0C0B}"/>
              </a:ext>
            </a:extLst>
          </p:cNvPr>
          <p:cNvSpPr>
            <a:spLocks noGrp="1" noRot="1" noChangeAspect="1" noChangeArrowheads="1" noTextEdit="1"/>
          </p:cNvSpPr>
          <p:nvPr>
            <p:ph type="sldImg"/>
          </p:nvPr>
        </p:nvSpPr>
        <p:spPr>
          <a:ln/>
        </p:spPr>
      </p:sp>
      <p:sp>
        <p:nvSpPr>
          <p:cNvPr id="166915" name="Notes Placeholder 2">
            <a:extLst>
              <a:ext uri="{FF2B5EF4-FFF2-40B4-BE49-F238E27FC236}">
                <a16:creationId xmlns:a16="http://schemas.microsoft.com/office/drawing/2014/main" id="{80566BF2-13A5-42A3-8563-10552BAD1A0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66916" name="Slide Number Placeholder 3">
            <a:extLst>
              <a:ext uri="{FF2B5EF4-FFF2-40B4-BE49-F238E27FC236}">
                <a16:creationId xmlns:a16="http://schemas.microsoft.com/office/drawing/2014/main" id="{D49BBA5C-91E8-4C59-96BA-F154B8E22D8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11B95DDD-04BC-4933-B111-8995EDF64C8A}" type="slidenum">
              <a:rPr lang="en-US" altLang="en-US" sz="1000" smtClean="0">
                <a:solidFill>
                  <a:schemeClr val="bg2"/>
                </a:solidFill>
              </a:rPr>
              <a:pPr/>
              <a:t>17</a:t>
            </a:fld>
            <a:endParaRPr lang="en-US" altLang="en-US" sz="1000">
              <a:solidFill>
                <a:schemeClr val="bg2"/>
              </a:solidFill>
            </a:endParaRPr>
          </a:p>
        </p:txBody>
      </p:sp>
    </p:spTree>
    <p:extLst>
      <p:ext uri="{BB962C8B-B14F-4D97-AF65-F5344CB8AC3E}">
        <p14:creationId xmlns:p14="http://schemas.microsoft.com/office/powerpoint/2010/main" val="4289612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CVD – Cisco Validated Design, TR – NetApp Technical Report</a:t>
            </a:r>
          </a:p>
          <a:p>
            <a:endParaRPr lang="en-US" dirty="0">
              <a:latin typeface="Arial"/>
              <a:cs typeface="Arial"/>
            </a:endParaRPr>
          </a:p>
          <a:p>
            <a:pPr marL="171450" marR="0" lvl="0" indent="-171450" algn="l" defTabSz="914400" rtl="0" eaLnBrk="0" fontAlgn="base" latinLnBrk="0" hangingPunct="0">
              <a:lnSpc>
                <a:spcPct val="100000"/>
              </a:lnSpc>
              <a:spcBef>
                <a:spcPct val="30000"/>
              </a:spcBef>
              <a:spcAft>
                <a:spcPct val="0"/>
              </a:spcAft>
              <a:buClrTx/>
              <a:buSzTx/>
              <a:buFont typeface="Arial"/>
              <a:buChar char="•"/>
              <a:tabLst/>
              <a:defRPr/>
            </a:pPr>
            <a:r>
              <a:rPr lang="en-US" sz="1000" kern="1200" dirty="0">
                <a:solidFill>
                  <a:schemeClr val="tx1"/>
                </a:solidFill>
                <a:effectLst/>
                <a:latin typeface="Arial" charset="0"/>
                <a:ea typeface="+mn-ea"/>
                <a:cs typeface="+mn-cs"/>
              </a:rPr>
              <a:t>GA Expected CY2020</a:t>
            </a:r>
          </a:p>
          <a:p>
            <a:pPr marL="171450" indent="-171450">
              <a:buFont typeface="Arial"/>
              <a:buChar char="•"/>
            </a:pPr>
            <a:r>
              <a:rPr lang="en-US" b="1" dirty="0">
                <a:hlinkClick r:id="rId3"/>
              </a:rPr>
              <a:t>Storage tiering to cloud</a:t>
            </a:r>
            <a:r>
              <a:rPr lang="en-US" dirty="0"/>
              <a:t> for FlexPod with </a:t>
            </a:r>
            <a:r>
              <a:rPr lang="en-US" dirty="0" err="1"/>
              <a:t>FabricPool</a:t>
            </a:r>
            <a:endParaRPr lang="en-US" dirty="0"/>
          </a:p>
          <a:p>
            <a:pPr marL="171450" indent="-171450">
              <a:buFont typeface="Arial"/>
              <a:buChar char="•"/>
            </a:pPr>
            <a:r>
              <a:rPr lang="en-US" b="1" dirty="0">
                <a:hlinkClick r:id="rId4"/>
              </a:rPr>
              <a:t>Latest SAP HANA software</a:t>
            </a:r>
            <a:r>
              <a:rPr lang="en-US" dirty="0"/>
              <a:t> running on the most current FlexPod hardware and software</a:t>
            </a:r>
          </a:p>
          <a:p>
            <a:pPr marL="171450" indent="-171450">
              <a:buFont typeface="Arial"/>
              <a:buChar char="•"/>
            </a:pPr>
            <a:r>
              <a:rPr lang="en-US" b="1" dirty="0">
                <a:hlinkClick r:id="rId5"/>
              </a:rPr>
              <a:t>FlexPod Datacenter solution for latest vSphere</a:t>
            </a:r>
            <a:r>
              <a:rPr lang="en-US" dirty="0"/>
              <a:t> update and hardware refresh with NetApp ONTAP 9.6, Cisco UCS 4th Gen, VMware vSphere 6.7U2</a:t>
            </a:r>
          </a:p>
          <a:p>
            <a:pPr marL="171450" indent="-171450">
              <a:buFont typeface="Arial"/>
              <a:buChar char="•"/>
            </a:pPr>
            <a:r>
              <a:rPr lang="en-US" b="1" dirty="0">
                <a:hlinkClick r:id="rId6"/>
              </a:rPr>
              <a:t>ROBO FlexPod VMware solution</a:t>
            </a:r>
            <a:r>
              <a:rPr lang="en-US" dirty="0"/>
              <a:t> that leverages the entry-level C190 flash system, and UCS C220 rack server</a:t>
            </a:r>
          </a:p>
          <a:p>
            <a:pPr marL="171450" indent="-171450">
              <a:buFont typeface="Arial"/>
              <a:buChar char="•"/>
            </a:pPr>
            <a:r>
              <a:rPr lang="en-US" b="1" dirty="0">
                <a:hlinkClick r:id="rId7"/>
              </a:rPr>
              <a:t>FlexPod hardening and best practices</a:t>
            </a:r>
            <a:r>
              <a:rPr lang="en-US" dirty="0"/>
              <a:t> against ransomware</a:t>
            </a:r>
          </a:p>
          <a:p>
            <a:pPr marL="171450" indent="-171450">
              <a:buFont typeface="Arial"/>
              <a:buChar char="•"/>
            </a:pPr>
            <a:r>
              <a:rPr lang="en-US" dirty="0"/>
              <a:t>CSA </a:t>
            </a:r>
            <a:r>
              <a:rPr lang="en-US" b="1" dirty="0"/>
              <a:t>configuration assurance and lifecycle management</a:t>
            </a:r>
            <a:r>
              <a:rPr lang="en-US" dirty="0"/>
              <a:t> including support of Cisco ACI networking, end-to-end NVMe, MetroCluster awareness</a:t>
            </a:r>
          </a:p>
          <a:p>
            <a:endParaRPr lang="en-US" dirty="0">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1753073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CVD – Cisco Validated Design, TR – NetApp Technical Report</a:t>
            </a:r>
          </a:p>
          <a:p>
            <a:endParaRPr lang="en-US" dirty="0">
              <a:latin typeface="Arial"/>
              <a:cs typeface="Arial"/>
            </a:endParaRPr>
          </a:p>
          <a:p>
            <a:pPr marL="171450" marR="0" lvl="0" indent="-171450" algn="l" defTabSz="914400" rtl="0" eaLnBrk="0" fontAlgn="base" latinLnBrk="0" hangingPunct="0">
              <a:lnSpc>
                <a:spcPct val="100000"/>
              </a:lnSpc>
              <a:spcBef>
                <a:spcPct val="30000"/>
              </a:spcBef>
              <a:spcAft>
                <a:spcPct val="0"/>
              </a:spcAft>
              <a:buClrTx/>
              <a:buSzTx/>
              <a:buFont typeface="Arial"/>
              <a:buChar char="•"/>
              <a:tabLst/>
              <a:defRPr/>
            </a:pPr>
            <a:r>
              <a:rPr lang="en-US" sz="1000" kern="1200" dirty="0">
                <a:solidFill>
                  <a:schemeClr val="tx1"/>
                </a:solidFill>
                <a:effectLst/>
                <a:latin typeface="Arial" charset="0"/>
                <a:ea typeface="+mn-ea"/>
                <a:cs typeface="+mn-cs"/>
              </a:rPr>
              <a:t>GA Expected CY2020</a:t>
            </a:r>
          </a:p>
          <a:p>
            <a:pPr marL="171450" indent="-171450">
              <a:buFont typeface="Arial"/>
              <a:buChar char="•"/>
            </a:pPr>
            <a:r>
              <a:rPr lang="en-US" b="1" dirty="0">
                <a:hlinkClick r:id="rId3"/>
              </a:rPr>
              <a:t>Storage tiering to cloud</a:t>
            </a:r>
            <a:r>
              <a:rPr lang="en-US" dirty="0"/>
              <a:t> for FlexPod with </a:t>
            </a:r>
            <a:r>
              <a:rPr lang="en-US" dirty="0" err="1"/>
              <a:t>FabricPool</a:t>
            </a:r>
            <a:endParaRPr lang="en-US" dirty="0"/>
          </a:p>
          <a:p>
            <a:pPr marL="171450" indent="-171450">
              <a:buFont typeface="Arial"/>
              <a:buChar char="•"/>
            </a:pPr>
            <a:r>
              <a:rPr lang="en-US" b="1" dirty="0">
                <a:hlinkClick r:id="rId4"/>
              </a:rPr>
              <a:t>Latest SAP HANA software</a:t>
            </a:r>
            <a:r>
              <a:rPr lang="en-US" dirty="0"/>
              <a:t> running on the most current FlexPod hardware and software</a:t>
            </a:r>
          </a:p>
          <a:p>
            <a:pPr marL="171450" indent="-171450">
              <a:buFont typeface="Arial"/>
              <a:buChar char="•"/>
            </a:pPr>
            <a:r>
              <a:rPr lang="en-US" b="1" dirty="0">
                <a:hlinkClick r:id="rId5"/>
              </a:rPr>
              <a:t>FlexPod Datacenter solution for latest vSphere</a:t>
            </a:r>
            <a:r>
              <a:rPr lang="en-US" dirty="0"/>
              <a:t> update and hardware refresh with NetApp ONTAP 9.6, Cisco UCS 4th Gen, VMware vSphere 6.7U2</a:t>
            </a:r>
          </a:p>
          <a:p>
            <a:pPr marL="171450" indent="-171450">
              <a:buFont typeface="Arial"/>
              <a:buChar char="•"/>
            </a:pPr>
            <a:r>
              <a:rPr lang="en-US" b="1" dirty="0">
                <a:hlinkClick r:id="rId6"/>
              </a:rPr>
              <a:t>ROBO FlexPod VMware solution</a:t>
            </a:r>
            <a:r>
              <a:rPr lang="en-US" dirty="0"/>
              <a:t> that leverages the entry-level C190 flash system, and UCS C220 rack server</a:t>
            </a:r>
          </a:p>
          <a:p>
            <a:pPr marL="171450" indent="-171450">
              <a:buFont typeface="Arial"/>
              <a:buChar char="•"/>
            </a:pPr>
            <a:r>
              <a:rPr lang="en-US" b="1" dirty="0">
                <a:hlinkClick r:id="rId7"/>
              </a:rPr>
              <a:t>FlexPod hardening and best practices</a:t>
            </a:r>
            <a:r>
              <a:rPr lang="en-US" dirty="0"/>
              <a:t> against ransomware</a:t>
            </a:r>
          </a:p>
          <a:p>
            <a:pPr marL="171450" indent="-171450">
              <a:buFont typeface="Arial"/>
              <a:buChar char="•"/>
            </a:pPr>
            <a:r>
              <a:rPr lang="en-US" dirty="0"/>
              <a:t>CSA </a:t>
            </a:r>
            <a:r>
              <a:rPr lang="en-US" b="1" dirty="0"/>
              <a:t>configuration assurance and lifecycle management</a:t>
            </a:r>
            <a:r>
              <a:rPr lang="en-US" dirty="0"/>
              <a:t> including support of Cisco ACI networking, end-to-end </a:t>
            </a:r>
            <a:r>
              <a:rPr lang="en-US" dirty="0" err="1"/>
              <a:t>NVMe</a:t>
            </a:r>
            <a:r>
              <a:rPr lang="en-US" dirty="0"/>
              <a:t>, MetroCluster awareness</a:t>
            </a:r>
          </a:p>
          <a:p>
            <a:endParaRPr lang="en-US" dirty="0">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391292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hlinkClick r:id="rId3"/>
              </a:rPr>
              <a:t>https://www.cisco.com/c/en/us/products/collateral/servers-unified-computing/ucs-b-series-blade-servers/whitepaper-c11-741907.html</a:t>
            </a:r>
            <a:endParaRPr lang="en-US" dirty="0"/>
          </a:p>
          <a:p>
            <a:endParaRPr lang="en-US" dirty="0"/>
          </a:p>
          <a:p>
            <a:r>
              <a:rPr lang="en-US" dirty="0"/>
              <a:t>In a </a:t>
            </a:r>
            <a:r>
              <a:rPr lang="en-US" sz="1000" b="0" i="0" kern="1200" dirty="0" err="1">
                <a:solidFill>
                  <a:schemeClr val="tx1"/>
                </a:solidFill>
                <a:effectLst/>
                <a:latin typeface="Arial" charset="0"/>
                <a:ea typeface="+mn-ea"/>
                <a:cs typeface="+mn-cs"/>
              </a:rPr>
              <a:t>VDBench</a:t>
            </a:r>
            <a:r>
              <a:rPr lang="en-US" sz="1000" b="0" i="0" kern="1200" dirty="0">
                <a:solidFill>
                  <a:schemeClr val="tx1"/>
                </a:solidFill>
                <a:effectLst/>
                <a:latin typeface="Arial" charset="0"/>
                <a:ea typeface="+mn-ea"/>
                <a:cs typeface="+mn-cs"/>
              </a:rPr>
              <a:t> Simulated Oracle Workload at 80% Random Reads and 20% writes Test Results, FlexPod with end-to-end </a:t>
            </a:r>
            <a:r>
              <a:rPr lang="en-US" sz="1000" b="0" i="0" kern="1200" dirty="0" err="1">
                <a:solidFill>
                  <a:schemeClr val="tx1"/>
                </a:solidFill>
                <a:effectLst/>
                <a:latin typeface="Arial" charset="0"/>
                <a:ea typeface="+mn-ea"/>
                <a:cs typeface="+mn-cs"/>
              </a:rPr>
              <a:t>NVMe</a:t>
            </a:r>
            <a:r>
              <a:rPr lang="en-US" sz="1000" b="0" i="0" kern="1200" dirty="0">
                <a:solidFill>
                  <a:schemeClr val="tx1"/>
                </a:solidFill>
                <a:effectLst/>
                <a:latin typeface="Arial" charset="0"/>
                <a:ea typeface="+mn-ea"/>
                <a:cs typeface="+mn-cs"/>
              </a:rPr>
              <a:t> showed:</a:t>
            </a:r>
          </a:p>
          <a:p>
            <a:endParaRPr lang="en-US" sz="1000" b="0" i="0" kern="1200" dirty="0">
              <a:solidFill>
                <a:schemeClr val="tx1"/>
              </a:solidFill>
              <a:effectLst/>
              <a:latin typeface="Arial" charset="0"/>
              <a:ea typeface="+mn-ea"/>
              <a:cs typeface="+mn-cs"/>
            </a:endParaRPr>
          </a:p>
          <a:p>
            <a:pPr marL="171450" indent="-171450" fontAlgn="base">
              <a:buFont typeface="Arial" panose="020B0604020202020204" pitchFamily="34" charset="0"/>
              <a:buChar char="•"/>
            </a:pPr>
            <a:r>
              <a:rPr lang="en-US" sz="1000" b="0" i="0" u="none" strike="noStrike" kern="1200" dirty="0">
                <a:solidFill>
                  <a:schemeClr val="tx1"/>
                </a:solidFill>
                <a:effectLst/>
                <a:latin typeface="Arial" charset="0"/>
                <a:ea typeface="+mn-ea"/>
                <a:cs typeface="+mn-cs"/>
              </a:rPr>
              <a:t>At least 25% lower latency is seen at ~700K IOPs</a:t>
            </a:r>
          </a:p>
          <a:p>
            <a:pPr marL="171450" indent="-171450" fontAlgn="base">
              <a:buFont typeface="Arial" panose="020B0604020202020204" pitchFamily="34" charset="0"/>
              <a:buChar char="•"/>
            </a:pPr>
            <a:r>
              <a:rPr lang="en-US" sz="1000" b="0" i="0" u="none" strike="noStrike" kern="1200" dirty="0">
                <a:solidFill>
                  <a:schemeClr val="tx1"/>
                </a:solidFill>
                <a:effectLst/>
                <a:latin typeface="Arial" charset="0"/>
                <a:ea typeface="+mn-ea"/>
                <a:cs typeface="+mn-cs"/>
              </a:rPr>
              <a:t>56% increase in throughput is seen at ~300 microseconds.</a:t>
            </a:r>
          </a:p>
          <a:p>
            <a:pPr marL="171450" indent="-171450" fontAlgn="base">
              <a:buFont typeface="Arial" panose="020B0604020202020204" pitchFamily="34" charset="0"/>
              <a:buChar char="•"/>
            </a:pPr>
            <a:r>
              <a:rPr lang="en-US" sz="1000" b="0" i="0" u="none" strike="noStrike" kern="1200" dirty="0">
                <a:solidFill>
                  <a:schemeClr val="tx1"/>
                </a:solidFill>
                <a:effectLst/>
                <a:latin typeface="Arial" charset="0"/>
                <a:ea typeface="+mn-ea"/>
                <a:cs typeface="+mn-cs"/>
              </a:rPr>
              <a:t>35% decrease in CPU utilization</a:t>
            </a:r>
          </a:p>
          <a:p>
            <a:pPr fontAlgn="base"/>
            <a:endParaRPr lang="en-US" sz="1000" b="0" i="0" u="none" strike="noStrike" kern="1200" dirty="0">
              <a:solidFill>
                <a:schemeClr val="tx1"/>
              </a:solidFill>
              <a:effectLst/>
              <a:latin typeface="Arial" charset="0"/>
              <a:ea typeface="+mn-ea"/>
              <a:cs typeface="+mn-cs"/>
            </a:endParaRPr>
          </a:p>
          <a:p>
            <a:endParaRPr lang="en-US" dirty="0"/>
          </a:p>
          <a:p>
            <a:endParaRPr lang="en-US" dirty="0"/>
          </a:p>
          <a:p>
            <a:endParaRPr lang="en-US" dirty="0"/>
          </a:p>
          <a:p>
            <a:r>
              <a:rPr lang="en-US" dirty="0"/>
              <a:t>QLogic – Check in </a:t>
            </a:r>
            <a:r>
              <a:rPr lang="en-US" dirty="0" err="1"/>
              <a:t>NVMe</a:t>
            </a:r>
            <a:r>
              <a:rPr lang="en-US" dirty="0"/>
              <a:t> Primer if we even support </a:t>
            </a:r>
            <a:r>
              <a:rPr lang="en-US" dirty="0" err="1"/>
              <a:t>Qlogic</a:t>
            </a:r>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178EC-0553-4ED2-9277-5FB4626CA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391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want to make sure that the software you are going to run in the data center is pre-validated. The third. They will be all managed by the data </a:t>
            </a:r>
          </a:p>
          <a:p>
            <a:endParaRPr lang="en-US" dirty="0"/>
          </a:p>
        </p:txBody>
      </p:sp>
      <p:sp>
        <p:nvSpPr>
          <p:cNvPr id="4" name="Slide Number Placeholder 3"/>
          <p:cNvSpPr>
            <a:spLocks noGrp="1"/>
          </p:cNvSpPr>
          <p:nvPr>
            <p:ph type="sldNum" sz="quarter" idx="5"/>
          </p:nvPr>
        </p:nvSpPr>
        <p:spPr/>
        <p:txBody>
          <a:bodyPr/>
          <a:lstStyle/>
          <a:p>
            <a:fld id="{73474514-7DE0-47AB-A67E-742E6C92158F}" type="slidenum">
              <a:rPr lang="en-US" smtClean="0"/>
              <a:t>21</a:t>
            </a:fld>
            <a:endParaRPr lang="en-US"/>
          </a:p>
        </p:txBody>
      </p:sp>
    </p:spTree>
    <p:extLst>
      <p:ext uri="{BB962C8B-B14F-4D97-AF65-F5344CB8AC3E}">
        <p14:creationId xmlns:p14="http://schemas.microsoft.com/office/powerpoint/2010/main" val="33153479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FlexPod</a:t>
            </a:r>
            <a:r>
              <a:rPr lang="en-US" dirty="0"/>
              <a:t> now offers a portfolio of AI/ML solutions that serve all parts of the AI/ML market from the very small the very large.  Some of the advantages that </a:t>
            </a:r>
            <a:r>
              <a:rPr lang="en-US" dirty="0" err="1"/>
              <a:t>FlexPod</a:t>
            </a:r>
            <a:r>
              <a:rPr lang="en-US" dirty="0"/>
              <a:t> brings to AI are:</a:t>
            </a:r>
          </a:p>
          <a:p>
            <a:endParaRPr lang="en-US" dirty="0"/>
          </a:p>
          <a:p>
            <a:pPr lvl="0" fontAlgn="ctr"/>
            <a:r>
              <a:rPr lang="en-US" sz="1000" b="1" kern="1200" dirty="0">
                <a:solidFill>
                  <a:schemeClr val="tx1"/>
                </a:solidFill>
                <a:effectLst/>
                <a:latin typeface="Arial" charset="0"/>
                <a:ea typeface="+mn-ea"/>
                <a:cs typeface="+mn-cs"/>
              </a:rPr>
              <a:t>Get started in AI faster:</a:t>
            </a:r>
            <a:r>
              <a:rPr lang="en-US" sz="1000" kern="1200" dirty="0">
                <a:solidFill>
                  <a:schemeClr val="tx1"/>
                </a:solidFill>
                <a:effectLst/>
                <a:latin typeface="Arial" charset="0"/>
                <a:ea typeface="+mn-ea"/>
                <a:cs typeface="+mn-cs"/>
              </a:rPr>
              <a:t> eliminate guesswork with a validated reference architecture that detangles design complexity. With an AI/ML </a:t>
            </a:r>
            <a:r>
              <a:rPr lang="en-US" sz="1000" u="sng" kern="1200" dirty="0">
                <a:solidFill>
                  <a:schemeClr val="tx1"/>
                </a:solidFill>
                <a:effectLst/>
                <a:latin typeface="Arial" charset="0"/>
                <a:ea typeface="+mn-ea"/>
                <a:cs typeface="+mn-cs"/>
                <a:hlinkClick r:id="rId3"/>
              </a:rPr>
              <a:t>Cisco Validated Design</a:t>
            </a:r>
            <a:r>
              <a:rPr lang="en-US" sz="1000" kern="1200" dirty="0">
                <a:solidFill>
                  <a:schemeClr val="tx1"/>
                </a:solidFill>
                <a:effectLst/>
                <a:latin typeface="Arial" charset="0"/>
                <a:ea typeface="+mn-ea"/>
                <a:cs typeface="+mn-cs"/>
              </a:rPr>
              <a:t> you are up and running faster.  A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 CVD is an IT cookbook or blueprint that reduces risk, increases security, delivers end-to-end availability and ensures that you can get your workload up and running without worrying how to setup your infrastructure.   </a:t>
            </a:r>
          </a:p>
          <a:p>
            <a:pPr lvl="0" fontAlgn="ctr"/>
            <a:endParaRPr lang="en-US" sz="1000" kern="1200" dirty="0">
              <a:solidFill>
                <a:schemeClr val="tx1"/>
              </a:solidFill>
              <a:effectLst/>
              <a:latin typeface="Arial" charset="0"/>
              <a:ea typeface="+mn-ea"/>
              <a:cs typeface="+mn-cs"/>
            </a:endParaRPr>
          </a:p>
          <a:p>
            <a:pPr lvl="0" fontAlgn="ctr"/>
            <a:r>
              <a:rPr lang="en-US" sz="1000" b="1" kern="1200" dirty="0">
                <a:solidFill>
                  <a:schemeClr val="tx1"/>
                </a:solidFill>
                <a:effectLst/>
                <a:latin typeface="Arial" charset="0"/>
                <a:ea typeface="+mn-ea"/>
                <a:cs typeface="+mn-cs"/>
              </a:rPr>
              <a:t>Intelligently manage data across the pipeline from edge to core to cloud</a:t>
            </a:r>
            <a:r>
              <a:rPr lang="en-US" sz="1000" kern="1200" dirty="0">
                <a:solidFill>
                  <a:schemeClr val="tx1"/>
                </a:solidFill>
                <a:effectLst/>
                <a:latin typeface="Arial" charset="0"/>
                <a:ea typeface="+mn-ea"/>
                <a:cs typeface="+mn-cs"/>
              </a:rPr>
              <a:t>: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 leverages the NetApp Data Fabric to unify data management across the pipeline with a single platform. Use the same tools to securely control and protect your data in flight, in use, or at rest and meet compliance requirements with confidence.   With the NetApp Data Fabric is ONTAP® data management software your data and data management strategy is consistent from the edge to the core to the cloud.   This virtual platform allows data to be stored the same way it is stored on in-house NetApp systems in the cloud or on the edge. The continuity in ONTAP data services enables administrators to move data where and when it is needed without requiring conversions.   NetApp has also moved to the edge with its ONTAP Select software defined storage</a:t>
            </a:r>
          </a:p>
          <a:p>
            <a:pPr lvl="0" fontAlgn="ctr"/>
            <a:endParaRPr lang="en-US" sz="1000" kern="1200" dirty="0">
              <a:solidFill>
                <a:schemeClr val="tx1"/>
              </a:solidFill>
              <a:effectLst/>
              <a:latin typeface="Arial" charset="0"/>
              <a:ea typeface="+mn-ea"/>
              <a:cs typeface="+mn-cs"/>
            </a:endParaRPr>
          </a:p>
          <a:p>
            <a:pPr lvl="0" fontAlgn="ctr"/>
            <a:r>
              <a:rPr lang="en-US" sz="1000" b="1" kern="1200" dirty="0">
                <a:solidFill>
                  <a:schemeClr val="tx1"/>
                </a:solidFill>
                <a:effectLst/>
                <a:latin typeface="Arial" charset="0"/>
                <a:ea typeface="+mn-ea"/>
                <a:cs typeface="+mn-cs"/>
              </a:rPr>
              <a:t>Scalability and Data Integrity: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s also provide secure separation of resources and achieve data integrity for the AI/ML environment, a dedicated Storage Virtual Machine (SVM) was created for an AI tenant.  With the massive scalability created with Cisco Nexus 9000 Series Switches and ONTAP software and </a:t>
            </a:r>
            <a:r>
              <a:rPr lang="en-US" sz="1000" kern="1200" dirty="0" err="1">
                <a:solidFill>
                  <a:schemeClr val="tx1"/>
                </a:solidFill>
                <a:effectLst/>
                <a:latin typeface="Arial" charset="0"/>
                <a:ea typeface="+mn-ea"/>
                <a:cs typeface="+mn-cs"/>
              </a:rPr>
              <a:t>FlexGroup</a:t>
            </a:r>
            <a:r>
              <a:rPr lang="en-US" sz="1000" kern="1200" dirty="0">
                <a:solidFill>
                  <a:schemeClr val="tx1"/>
                </a:solidFill>
                <a:effectLst/>
                <a:latin typeface="Arial" charset="0"/>
                <a:ea typeface="+mn-ea"/>
                <a:cs typeface="+mn-cs"/>
              </a:rPr>
              <a:t> volumes, you can deploy environments that scale to 20 PB and beyond in a single namespace to support very AI large data sets, resulting in better data models.  </a:t>
            </a:r>
            <a:r>
              <a:rPr lang="en-US" sz="1000" kern="1200" dirty="0" err="1">
                <a:solidFill>
                  <a:schemeClr val="tx1"/>
                </a:solidFill>
                <a:effectLst/>
                <a:latin typeface="Arial" charset="0"/>
                <a:ea typeface="+mn-ea"/>
                <a:cs typeface="+mn-cs"/>
              </a:rPr>
              <a:t>FlexGroup</a:t>
            </a:r>
            <a:r>
              <a:rPr lang="en-US" sz="1000" kern="1200" dirty="0">
                <a:solidFill>
                  <a:schemeClr val="tx1"/>
                </a:solidFill>
                <a:effectLst/>
                <a:latin typeface="Arial" charset="0"/>
                <a:ea typeface="+mn-ea"/>
                <a:cs typeface="+mn-cs"/>
              </a:rPr>
              <a:t> volumes have virtually no capacity or file count constraints outside of the physical limits of hardware or the total volume limits of ONTAP.</a:t>
            </a:r>
          </a:p>
          <a:p>
            <a:pPr lvl="0" fontAlgn="ctr"/>
            <a:endParaRPr lang="en-US" sz="1000" kern="1200" dirty="0">
              <a:solidFill>
                <a:schemeClr val="tx1"/>
              </a:solidFill>
              <a:effectLst/>
              <a:latin typeface="Arial" charset="0"/>
              <a:ea typeface="+mn-ea"/>
              <a:cs typeface="+mn-cs"/>
            </a:endParaRPr>
          </a:p>
          <a:p>
            <a:pPr lvl="0" fontAlgn="ctr"/>
            <a:r>
              <a:rPr lang="en-US" sz="1000" b="1" kern="1200" dirty="0">
                <a:solidFill>
                  <a:schemeClr val="tx1"/>
                </a:solidFill>
                <a:effectLst/>
                <a:latin typeface="Arial" charset="0"/>
                <a:ea typeface="+mn-ea"/>
                <a:cs typeface="+mn-cs"/>
              </a:rPr>
              <a:t>Container Orchestration:  </a:t>
            </a:r>
            <a:r>
              <a:rPr lang="en-US" sz="1000" kern="1200" dirty="0">
                <a:solidFill>
                  <a:schemeClr val="tx1"/>
                </a:solidFill>
                <a:effectLst/>
                <a:latin typeface="Arial" charset="0"/>
                <a:ea typeface="+mn-ea"/>
                <a:cs typeface="+mn-cs"/>
              </a:rPr>
              <a:t>As organizations accelerate their rate of data collection, the need to introduce automation around that data becomes apparent. Using containers is one way to achieve this; it enables faster deployments by separating applications from the OS and device-driver layer dependencies. Efficient and easy data management is central to reducing the time-to-train.</a:t>
            </a:r>
          </a:p>
          <a:p>
            <a:pPr lvl="0" fontAlgn="ctr"/>
            <a:endParaRPr lang="en-US" sz="1000" kern="1200" dirty="0">
              <a:solidFill>
                <a:schemeClr val="tx1"/>
              </a:solidFill>
              <a:effectLst/>
              <a:latin typeface="Arial" charset="0"/>
              <a:ea typeface="+mn-ea"/>
              <a:cs typeface="+mn-cs"/>
            </a:endParaRPr>
          </a:p>
          <a:p>
            <a:pPr fontAlgn="ctr"/>
            <a:r>
              <a:rPr lang="en-US" sz="1000" kern="1200" dirty="0">
                <a:solidFill>
                  <a:schemeClr val="tx1"/>
                </a:solidFill>
                <a:effectLst/>
                <a:latin typeface="Arial" charset="0"/>
                <a:ea typeface="+mn-ea"/>
                <a:cs typeface="+mn-cs"/>
              </a:rPr>
              <a:t>Trident™ is a NetApp dynamic storage orchestrator for container images that is fully integrated with Docker™ and Kubernetes™. Combined with NVIDIA GPU Cloud (NGC) and popular orchestrators like Kubernetes or Docker Swarm, Trident enables customers to seamlessly deploy their AI/DL NGC Container Images onto NetApp Storage allowing an enterprise grade experience for their AI container deployments. This includes automated orchestration, cloning for test and dev, NGC upgrade testing using cloning, protection and compliance copies and many more data management use cases for the NGC AI container images.</a:t>
            </a:r>
          </a:p>
          <a:p>
            <a:pPr fontAlgn="ctr"/>
            <a:endParaRPr lang="en-US" sz="1000" kern="1200" dirty="0">
              <a:solidFill>
                <a:schemeClr val="tx1"/>
              </a:solidFill>
              <a:effectLst/>
              <a:latin typeface="Arial" charset="0"/>
              <a:ea typeface="+mn-ea"/>
              <a:cs typeface="+mn-cs"/>
            </a:endParaRPr>
          </a:p>
          <a:p>
            <a:pPr fontAlgn="ctr"/>
            <a:r>
              <a:rPr lang="en-US" sz="1000" kern="1200" dirty="0">
                <a:solidFill>
                  <a:schemeClr val="tx1"/>
                </a:solidFill>
                <a:effectLst/>
                <a:latin typeface="Arial" charset="0"/>
                <a:ea typeface="+mn-ea"/>
                <a:cs typeface="+mn-cs"/>
              </a:rPr>
              <a:t>Data traffic in DL can consist of millions of files (images, video/audio, text files). Network File Systems (NFS), are ideally suited for delivering high performance across a diverse range of workloads; they handle both random and sequential I/O well. When used with ONTAP </a:t>
            </a:r>
            <a:r>
              <a:rPr lang="en-US" sz="1000" kern="1200" dirty="0" err="1">
                <a:solidFill>
                  <a:schemeClr val="tx1"/>
                </a:solidFill>
                <a:effectLst/>
                <a:latin typeface="Arial" charset="0"/>
                <a:ea typeface="+mn-ea"/>
                <a:cs typeface="+mn-cs"/>
              </a:rPr>
              <a:t>FlexGroup</a:t>
            </a:r>
            <a:r>
              <a:rPr lang="en-US" sz="1000" kern="1200" dirty="0">
                <a:solidFill>
                  <a:schemeClr val="tx1"/>
                </a:solidFill>
                <a:effectLst/>
                <a:latin typeface="Arial" charset="0"/>
                <a:ea typeface="+mn-ea"/>
                <a:cs typeface="+mn-cs"/>
              </a:rPr>
              <a:t> volumes, NetApp AFF can deliver high performance for small file workloads spread across storage systems.</a:t>
            </a:r>
          </a:p>
          <a:p>
            <a:pPr fontAlgn="ctr"/>
            <a:endParaRPr lang="en-US" sz="1000" kern="1200" dirty="0">
              <a:solidFill>
                <a:schemeClr val="tx1"/>
              </a:solidFill>
              <a:effectLst/>
              <a:latin typeface="Arial" charset="0"/>
              <a:ea typeface="+mn-ea"/>
              <a:cs typeface="+mn-cs"/>
            </a:endParaRPr>
          </a:p>
          <a:p>
            <a:pPr lvl="0" fontAlgn="ctr"/>
            <a:r>
              <a:rPr lang="en-US" sz="1000" b="1" kern="1200" dirty="0">
                <a:solidFill>
                  <a:schemeClr val="tx1"/>
                </a:solidFill>
                <a:effectLst/>
                <a:latin typeface="Arial" charset="0"/>
                <a:ea typeface="+mn-ea"/>
                <a:cs typeface="+mn-cs"/>
              </a:rPr>
              <a:t>Partner Ecosystem</a:t>
            </a:r>
            <a:r>
              <a:rPr lang="en-US" sz="1000" kern="1200" dirty="0">
                <a:solidFill>
                  <a:schemeClr val="tx1"/>
                </a:solidFill>
                <a:effectLst/>
                <a:latin typeface="Arial" charset="0"/>
                <a:ea typeface="+mn-ea"/>
                <a:cs typeface="+mn-cs"/>
              </a:rPr>
              <a:t>: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has hundreds of channel partners worldwide that have a deep expertise in all aspects of deploying and scaling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  No matter the size or needs of your business,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has a channel partner who can guide and assist you for all your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 needs.   </a:t>
            </a:r>
          </a:p>
          <a:p>
            <a:pPr lvl="0" fontAlgn="ctr"/>
            <a:endParaRPr lang="en-US" sz="1000" kern="1200" dirty="0">
              <a:solidFill>
                <a:schemeClr val="tx1"/>
              </a:solidFill>
              <a:effectLst/>
              <a:latin typeface="Arial" charset="0"/>
              <a:ea typeface="+mn-ea"/>
              <a:cs typeface="+mn-cs"/>
            </a:endParaRPr>
          </a:p>
          <a:p>
            <a:pPr lvl="0" fontAlgn="ctr"/>
            <a:r>
              <a:rPr lang="en-US" sz="1000" b="1" kern="1200" dirty="0">
                <a:solidFill>
                  <a:schemeClr val="tx1"/>
                </a:solidFill>
                <a:effectLst/>
                <a:latin typeface="Arial" charset="0"/>
                <a:ea typeface="+mn-ea"/>
                <a:cs typeface="+mn-cs"/>
              </a:rPr>
              <a:t>Performance</a:t>
            </a:r>
            <a:r>
              <a:rPr lang="en-US" sz="1000" kern="1200" dirty="0">
                <a:solidFill>
                  <a:schemeClr val="tx1"/>
                </a:solidFill>
                <a:effectLst/>
                <a:latin typeface="Arial" charset="0"/>
                <a:ea typeface="+mn-ea"/>
                <a:cs typeface="+mn-cs"/>
              </a:rPr>
              <a:t>: NetApp AFF systems keep data flowing to DL processes with the industry’s fastest and most flexible all flash storage, featuring the world’s first end-to-end </a:t>
            </a:r>
            <a:r>
              <a:rPr lang="en-US" sz="1000" kern="1200" dirty="0" err="1">
                <a:solidFill>
                  <a:schemeClr val="tx1"/>
                </a:solidFill>
                <a:effectLst/>
                <a:latin typeface="Arial" charset="0"/>
                <a:ea typeface="+mn-ea"/>
                <a:cs typeface="+mn-cs"/>
              </a:rPr>
              <a:t>NVMe</a:t>
            </a:r>
            <a:r>
              <a:rPr lang="en-US" sz="1000" kern="1200" dirty="0">
                <a:solidFill>
                  <a:schemeClr val="tx1"/>
                </a:solidFill>
                <a:effectLst/>
                <a:latin typeface="Arial" charset="0"/>
                <a:ea typeface="+mn-ea"/>
                <a:cs typeface="+mn-cs"/>
              </a:rPr>
              <a:t> technologies. The A800 is capable of feeding data to </a:t>
            </a:r>
            <a:r>
              <a:rPr lang="en-US" sz="1000" kern="1200" dirty="0" err="1">
                <a:solidFill>
                  <a:schemeClr val="tx1"/>
                </a:solidFill>
                <a:effectLst/>
                <a:latin typeface="Arial" charset="0"/>
                <a:ea typeface="+mn-ea"/>
                <a:cs typeface="+mn-cs"/>
              </a:rPr>
              <a:t>FlexPod</a:t>
            </a:r>
            <a:r>
              <a:rPr lang="en-US" sz="1000" kern="1200" dirty="0">
                <a:solidFill>
                  <a:schemeClr val="tx1"/>
                </a:solidFill>
                <a:effectLst/>
                <a:latin typeface="Arial" charset="0"/>
                <a:ea typeface="+mn-ea"/>
                <a:cs typeface="+mn-cs"/>
              </a:rPr>
              <a:t> AI systems up to 4 times faster than competing solutions* </a:t>
            </a:r>
          </a:p>
          <a:p>
            <a:r>
              <a:rPr lang="en-US" sz="1000" kern="1200" dirty="0">
                <a:solidFill>
                  <a:schemeClr val="tx1"/>
                </a:solidFill>
                <a:effectLst/>
                <a:latin typeface="Arial" charset="0"/>
                <a:ea typeface="+mn-ea"/>
                <a:cs typeface="+mn-cs"/>
              </a:rPr>
              <a:t>* Read throughput of up to 300GBps per all-flash cluster versus 75GBps from a leading competitor</a:t>
            </a:r>
          </a:p>
          <a:p>
            <a:r>
              <a:rPr lang="en-US" sz="1000" b="1" kern="1200" dirty="0">
                <a:solidFill>
                  <a:schemeClr val="tx1"/>
                </a:solidFill>
                <a:effectLst/>
                <a:latin typeface="Arial" charset="0"/>
                <a:ea typeface="+mn-ea"/>
                <a:cs typeface="+mn-cs"/>
              </a:rPr>
              <a:t> </a:t>
            </a:r>
          </a:p>
          <a:p>
            <a:endParaRPr lang="en-US" dirty="0"/>
          </a:p>
        </p:txBody>
      </p:sp>
      <p:sp>
        <p:nvSpPr>
          <p:cNvPr id="4" name="Slide Number Placeholder 3"/>
          <p:cNvSpPr>
            <a:spLocks noGrp="1"/>
          </p:cNvSpPr>
          <p:nvPr>
            <p:ph type="sldNum" sz="quarter" idx="5"/>
          </p:nvPr>
        </p:nvSpPr>
        <p:spPr/>
        <p:txBody>
          <a:bodyPr/>
          <a:lstStyle/>
          <a:p>
            <a:fld id="{105DB7E2-56C4-C244-9685-D1B090A91E88}" type="slidenum">
              <a:rPr lang="en-US" smtClean="0"/>
              <a:t>22</a:t>
            </a:fld>
            <a:endParaRPr lang="en-US"/>
          </a:p>
        </p:txBody>
      </p:sp>
    </p:spTree>
    <p:extLst>
      <p:ext uri="{BB962C8B-B14F-4D97-AF65-F5344CB8AC3E}">
        <p14:creationId xmlns:p14="http://schemas.microsoft.com/office/powerpoint/2010/main" val="2719768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D12D3B-2285-4EF0-BE2E-2E3F8E2A59C3}" type="slidenum">
              <a:rPr kumimoji="0" lang="en-US" altLang="en-US" sz="10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467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s a data management operating system, FlexPod with NetApp ONTAP has many fantastic capabilities that help our customers robust hardening against Ransomware. Our customers can keep the original data intact, but generate a </a:t>
            </a:r>
            <a:r>
              <a:rPr lang="en-US" dirty="0" err="1"/>
              <a:t>FlexClone</a:t>
            </a:r>
            <a:r>
              <a:rPr lang="en-US" dirty="0"/>
              <a:t> copy that can have all personal data stripped from it and use that for data processing. They can keep the full value of their data by maintaining that original copy. With </a:t>
            </a:r>
            <a:r>
              <a:rPr lang="en-US" dirty="0" err="1"/>
              <a:t>SnapLock</a:t>
            </a:r>
            <a:r>
              <a:rPr lang="en-US" dirty="0"/>
              <a:t>, they can have a predefined and enforced data retention policy. Through the integrations with </a:t>
            </a:r>
            <a:r>
              <a:rPr lang="en-US" dirty="0" err="1"/>
              <a:t>FPolicy</a:t>
            </a:r>
            <a:r>
              <a:rPr lang="en-US" dirty="0"/>
              <a:t>, third-party antivirus can prevent malware from taking root. The ONTAP Snapshot and </a:t>
            </a:r>
            <a:r>
              <a:rPr lang="en-US" dirty="0" err="1"/>
              <a:t>SnapVault</a:t>
            </a:r>
            <a:r>
              <a:rPr lang="en-US" dirty="0"/>
              <a:t> capabilities have been used by our customers to quickly recover after a ransomware attack. </a:t>
            </a:r>
            <a:r>
              <a:rPr lang="en-US" dirty="0" err="1"/>
              <a:t>SnapMirror</a:t>
            </a:r>
            <a:r>
              <a:rPr lang="en-US" dirty="0"/>
              <a:t> provides the proven disaster recovery mechanism with full replication. And last but not least, ONTAP provides encryption for data when it’s transmitted over the network or when stored on disk and can purge that data cryptographicall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ieldportal.com : GDPR and ONTAP Quick Guid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D12D3B-2285-4EF0-BE2E-2E3F8E2A59C3}" type="slidenum">
              <a:rPr kumimoji="0" lang="en-US" altLang="en-US" sz="10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10908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latin typeface="Arial" panose="020B0604020202020204" pitchFamily="34" charset="0"/>
                <a:cs typeface="Arial" panose="020B0604020202020204" pitchFamily="34" charset="0"/>
              </a:rPr>
              <a:t>FlexPo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178EC-0553-4ED2-9277-5FB4626CA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562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r>
              <a:rPr lang="en-US" altLang="en-US" sz="1000" dirty="0" err="1">
                <a:latin typeface="Arial" panose="020B0604020202020204" pitchFamily="34" charset="0"/>
              </a:rPr>
              <a:t>FlexPod</a:t>
            </a:r>
            <a:r>
              <a:rPr lang="en-US" altLang="en-US" sz="1000" dirty="0">
                <a:latin typeface="Arial" panose="020B0604020202020204" pitchFamily="34" charset="0"/>
              </a:rPr>
              <a:t> has a leadership position in the industry in the converged stack, thanks to our decade long partnership with NetApp. Our success is based on our shared technology vision—we share a common culture—share a common approach on how we take our products and solutions to the market. Our converged stack has more than 9,500 customers worldwide. Offered by more than 1,100 partners worldwide and present in more than 100 countries</a:t>
            </a:r>
          </a:p>
          <a:p>
            <a:br>
              <a:rPr lang="en-US" altLang="en-US" sz="1000" dirty="0">
                <a:latin typeface="Arial" panose="020B0604020202020204" pitchFamily="34" charset="0"/>
              </a:rPr>
            </a:br>
            <a:r>
              <a:rPr lang="en-US" altLang="en-US" sz="1000" dirty="0">
                <a:latin typeface="Arial" panose="020B0604020202020204" pitchFamily="34" charset="0"/>
              </a:rPr>
              <a:t>We’ve sold over 6,000 petabytes of storage and jointly generated over $13.5B dollars in revenue. Our success is powered by joint innovation and integration—we have delivered over 170 validated designs that simplify deployment and operation for our customers and partners.</a:t>
            </a:r>
          </a:p>
          <a:p>
            <a:endParaRPr lang="en-US" altLang="en-US" sz="1000" dirty="0">
              <a:latin typeface="Arial" panose="020B0604020202020204" pitchFamily="34" charset="0"/>
            </a:endParaRPr>
          </a:p>
          <a:p>
            <a:r>
              <a:rPr lang="en-US" altLang="en-US" sz="1000" dirty="0" err="1">
                <a:latin typeface="Arial" panose="020B0604020202020204" pitchFamily="34" charset="0"/>
              </a:rPr>
              <a:t>FlexPod</a:t>
            </a:r>
            <a:r>
              <a:rPr lang="en-US" altLang="en-US" sz="1000" dirty="0">
                <a:latin typeface="Arial" panose="020B0604020202020204" pitchFamily="34" charset="0"/>
              </a:rPr>
              <a:t> is a proven market leader with an investment of over 250 person-years of engineering. Through these strong investments and customer relationships, we make innovation easier to deploy in enterprise data centers. Simplifying the delivery and deployment of </a:t>
            </a:r>
            <a:r>
              <a:rPr lang="en-US" altLang="en-US" sz="1000" dirty="0" err="1">
                <a:latin typeface="Arial" panose="020B0604020202020204" pitchFamily="34" charset="0"/>
              </a:rPr>
              <a:t>FlexPod</a:t>
            </a:r>
            <a:r>
              <a:rPr lang="en-US" altLang="en-US" sz="1000" dirty="0">
                <a:latin typeface="Arial" panose="020B0604020202020204" pitchFamily="34" charset="0"/>
              </a:rPr>
              <a:t> gives partners an advantage in delivering new services and applications.</a:t>
            </a:r>
          </a:p>
          <a:p>
            <a:endParaRPr lang="en-US" altLang="en-US" sz="1000" dirty="0">
              <a:latin typeface="Arial" panose="020B0604020202020204" pitchFamily="34" charset="0"/>
            </a:endParaRPr>
          </a:p>
          <a:p>
            <a:r>
              <a:rPr lang="en-US" altLang="en-US" sz="1000" dirty="0">
                <a:latin typeface="Arial" panose="020B0604020202020204" pitchFamily="34" charset="0"/>
              </a:rPr>
              <a:t>FlexPod was recognized by CRN, with FlexPod being named as the winner of the </a:t>
            </a:r>
            <a:r>
              <a:rPr lang="en-US" altLang="en-US" sz="1000" dirty="0">
                <a:solidFill>
                  <a:srgbClr val="4C4948"/>
                </a:solidFill>
                <a:latin typeface="Arial" panose="020B0604020202020204" pitchFamily="34" charset="0"/>
              </a:rPr>
              <a:t>2019 Product of the year nomination. </a:t>
            </a:r>
          </a:p>
          <a:p>
            <a:endParaRPr lang="en-US" altLang="en-US" sz="1000" dirty="0">
              <a:solidFill>
                <a:srgbClr val="4C4948"/>
              </a:solidFill>
              <a:latin typeface="Arial" panose="020B0604020202020204" pitchFamily="34" charset="0"/>
            </a:endParaRPr>
          </a:p>
          <a:p>
            <a:r>
              <a:rPr lang="en-US" altLang="en-US" sz="1000" dirty="0">
                <a:solidFill>
                  <a:srgbClr val="4C4948"/>
                </a:solidFill>
                <a:latin typeface="Arial" panose="020B0604020202020204" pitchFamily="34" charset="0"/>
              </a:rPr>
              <a:t>NetApp Storage Arrays A320 and A800 both won 2019 CRN Products of the Year:</a:t>
            </a:r>
          </a:p>
          <a:p>
            <a:r>
              <a:rPr lang="en-US" altLang="en-US" sz="1000" dirty="0">
                <a:solidFill>
                  <a:srgbClr val="4C4948"/>
                </a:solidFill>
                <a:latin typeface="Arial" panose="020B0604020202020204" pitchFamily="34" charset="0"/>
              </a:rPr>
              <a:t>https://www.crn.com/slide-shows/mobility/crn-s-2019-products-of-the-year/1</a:t>
            </a:r>
          </a:p>
          <a:p>
            <a:endParaRPr lang="en-US" altLang="en-US" sz="1000" dirty="0">
              <a:solidFill>
                <a:srgbClr val="4C4948"/>
              </a:solidFill>
              <a:latin typeface="Arial" panose="020B0604020202020204" pitchFamily="34" charset="0"/>
            </a:endParaRPr>
          </a:p>
          <a:p>
            <a:r>
              <a:rPr lang="en-US" altLang="en-US" sz="1000" dirty="0">
                <a:solidFill>
                  <a:srgbClr val="4C4948"/>
                </a:solidFill>
                <a:latin typeface="Arial" panose="020B0604020202020204" pitchFamily="34" charset="0"/>
              </a:rPr>
              <a:t>What are users saying about </a:t>
            </a:r>
            <a:r>
              <a:rPr lang="en-US" altLang="en-US" sz="1000" dirty="0" err="1">
                <a:solidFill>
                  <a:srgbClr val="4C4948"/>
                </a:solidFill>
                <a:latin typeface="Arial" panose="020B0604020202020204" pitchFamily="34" charset="0"/>
              </a:rPr>
              <a:t>FlexPod</a:t>
            </a:r>
            <a:r>
              <a:rPr lang="en-US" altLang="en-US" sz="1000" dirty="0">
                <a:solidFill>
                  <a:srgbClr val="4C4948"/>
                </a:solidFill>
                <a:latin typeface="Arial" panose="020B0604020202020204" pitchFamily="34" charset="0"/>
              </a:rPr>
              <a:t>? FlexPod is the number-one converged infrastructure solution on IT Central Station, a peer-review site for IT professionals, two years in a row. </a:t>
            </a:r>
          </a:p>
          <a:p>
            <a:r>
              <a:rPr lang="en-US" dirty="0">
                <a:hlinkClick r:id="rId3"/>
              </a:rPr>
              <a:t>https://www.itcentralstation.com/products/flexpod-use-of-solution</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000" b="0" i="0" u="none" strike="noStrike" kern="1200" cap="none" spc="0" normalizeH="0" baseline="0" noProof="0" dirty="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1701577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178EC-0553-4ED2-9277-5FB4626CA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78727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178EC-0553-4ED2-9277-5FB4626CA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3709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CSA helps partners deploy FlexPod and stay better connected throughout its lifecyc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SA has a Partner Portal with Deployment Validation and management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artners can view all of their FlexPod customers in a centralized cloud-based dashbo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nabling them to see continuously updated health status and configuration ale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CSA can be leveraged as a tool in partners’ managed service offerings around support and lifecycle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artners can leverage free deployment valid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o verify the configuration of the FlexPod during 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o generate a comprehensive report of all inventory and configuration health (also, a nice leave-behind for the custo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o get started with C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Simply download the CSA agent from https://csa.netapp.co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Reference the CSA ‘getting started’ document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linkClick r:id="rId3"/>
              </a:rPr>
              <a:t>https://docs.netapp.com/us-en/converged-systems-advisor/task_getting_started.html</a:t>
            </a:r>
            <a:endParaRPr lang="en-US"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6412548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D664CBD-BE66-4754-894B-822F66E320F2}" type="slidenum">
              <a:rPr kumimoji="0" lang="en-US" altLang="en-US" sz="10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9036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a:extLst>
              <a:ext uri="{FF2B5EF4-FFF2-40B4-BE49-F238E27FC236}">
                <a16:creationId xmlns:a16="http://schemas.microsoft.com/office/drawing/2014/main" id="{F41E1E48-CA6E-444B-838B-8B57A6240A19}"/>
              </a:ext>
            </a:extLst>
          </p:cNvPr>
          <p:cNvSpPr>
            <a:spLocks noGrp="1" noRot="1" noChangeAspect="1" noChangeArrowheads="1" noTextEdit="1"/>
          </p:cNvSpPr>
          <p:nvPr>
            <p:ph type="sldImg"/>
          </p:nvPr>
        </p:nvSpPr>
        <p:spPr>
          <a:ln/>
        </p:spPr>
      </p:sp>
      <p:sp>
        <p:nvSpPr>
          <p:cNvPr id="120835" name="Notes Placeholder 2">
            <a:extLst>
              <a:ext uri="{FF2B5EF4-FFF2-40B4-BE49-F238E27FC236}">
                <a16:creationId xmlns:a16="http://schemas.microsoft.com/office/drawing/2014/main" id="{2F35DC7D-9BAA-4DD3-B873-8BD787CF045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There are many innovations enabled by FlexPod as your foundational platform.</a:t>
            </a:r>
          </a:p>
          <a:p>
            <a:endParaRPr lang="en-US" altLang="en-US">
              <a:latin typeface="Arial" panose="020B0604020202020204" pitchFamily="34" charset="0"/>
            </a:endParaRPr>
          </a:p>
          <a:p>
            <a:r>
              <a:rPr lang="en-US" altLang="en-US">
                <a:latin typeface="Arial" panose="020B0604020202020204" pitchFamily="34" charset="0"/>
              </a:rPr>
              <a:t>For example, FlexPod now supports interoperability with Google, Amazon AWS, Microsoft Azure and IBM for hybrid cloud deployments. FlexPod offers flexibility and enables you to work with your cloud vendor of choice so that you can choose what works well for your business.</a:t>
            </a:r>
          </a:p>
          <a:p>
            <a:endParaRPr lang="en-US" altLang="en-US">
              <a:latin typeface="Arial" panose="020B0604020202020204" pitchFamily="34" charset="0"/>
            </a:endParaRPr>
          </a:p>
          <a:p>
            <a:r>
              <a:rPr lang="en-US" altLang="en-US">
                <a:latin typeface="Arial" panose="020B0604020202020204" pitchFamily="34" charset="0"/>
              </a:rPr>
              <a:t>We’ve talked a lot about getting data insights and FlexPod empowers you to gain insights 20 times as fast at 20% lower cost than other similar platforms. Getting insights fast allows you to reduce time to value and positively affect your bottom line quickly.</a:t>
            </a:r>
          </a:p>
          <a:p>
            <a:endParaRPr lang="en-US" altLang="en-US">
              <a:latin typeface="Arial" panose="020B0604020202020204" pitchFamily="34" charset="0"/>
            </a:endParaRPr>
          </a:p>
          <a:p>
            <a:r>
              <a:rPr lang="en-US" altLang="en-US">
                <a:latin typeface="Arial" panose="020B0604020202020204" pitchFamily="34" charset="0"/>
              </a:rPr>
              <a:t>Applications that also enable you to get to data insights quickly include Artificial Intelligence and Machine Learning technologies. With FlexPod, you can easily access AI and ML tools to assist your data scientists mine data efficiently.</a:t>
            </a:r>
          </a:p>
          <a:p>
            <a:endParaRPr lang="en-US" altLang="en-US">
              <a:latin typeface="Arial" panose="020B0604020202020204" pitchFamily="34" charset="0"/>
            </a:endParaRPr>
          </a:p>
          <a:p>
            <a:r>
              <a:rPr lang="en-US" altLang="en-US">
                <a:latin typeface="Arial" panose="020B0604020202020204" pitchFamily="34" charset="0"/>
              </a:rPr>
              <a:t>All of these innovations can be run with a 22% more efficient use of compute resources when using FlexPod.</a:t>
            </a:r>
          </a:p>
          <a:p>
            <a:endParaRPr lang="en-US" altLang="en-US">
              <a:latin typeface="Arial" panose="020B0604020202020204" pitchFamily="34" charset="0"/>
            </a:endParaRPr>
          </a:p>
          <a:p>
            <a:r>
              <a:rPr lang="en-US" altLang="en-US">
                <a:latin typeface="Arial" panose="020B0604020202020204" pitchFamily="34" charset="0"/>
              </a:rPr>
              <a:t>One of the key benefits of FlexPod is how flexible it is and we will talk about that next.</a:t>
            </a:r>
          </a:p>
          <a:p>
            <a:endParaRPr lang="en-US" altLang="en-US">
              <a:latin typeface="Arial" panose="020B0604020202020204" pitchFamily="34" charset="0"/>
            </a:endParaRPr>
          </a:p>
          <a:p>
            <a:r>
              <a:rPr lang="en-US" altLang="en-US">
                <a:latin typeface="Arial" panose="020B0604020202020204" pitchFamily="34" charset="0"/>
              </a:rPr>
              <a:t>&lt;click&gt;</a:t>
            </a:r>
          </a:p>
        </p:txBody>
      </p:sp>
      <p:sp>
        <p:nvSpPr>
          <p:cNvPr id="120836" name="Slide Number Placeholder 3">
            <a:extLst>
              <a:ext uri="{FF2B5EF4-FFF2-40B4-BE49-F238E27FC236}">
                <a16:creationId xmlns:a16="http://schemas.microsoft.com/office/drawing/2014/main" id="{E046F97F-5209-4B2C-BC15-16D4C18A6A2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6BFDD51-6ADA-4316-8D0F-60EE35F088A6}" type="slidenum">
              <a:rPr kumimoji="0" lang="en-US"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3064292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244374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EC0ABFA2-B092-431F-976D-66AB266C0C0B}"/>
              </a:ext>
            </a:extLst>
          </p:cNvPr>
          <p:cNvSpPr>
            <a:spLocks noGrp="1" noRot="1" noChangeAspect="1" noChangeArrowheads="1" noTextEdit="1"/>
          </p:cNvSpPr>
          <p:nvPr>
            <p:ph type="sldImg"/>
          </p:nvPr>
        </p:nvSpPr>
        <p:spPr>
          <a:ln/>
        </p:spPr>
      </p:sp>
      <p:sp>
        <p:nvSpPr>
          <p:cNvPr id="166915" name="Notes Placeholder 2">
            <a:extLst>
              <a:ext uri="{FF2B5EF4-FFF2-40B4-BE49-F238E27FC236}">
                <a16:creationId xmlns:a16="http://schemas.microsoft.com/office/drawing/2014/main" id="{80566BF2-13A5-42A3-8563-10552BAD1A0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66916" name="Slide Number Placeholder 3">
            <a:extLst>
              <a:ext uri="{FF2B5EF4-FFF2-40B4-BE49-F238E27FC236}">
                <a16:creationId xmlns:a16="http://schemas.microsoft.com/office/drawing/2014/main" id="{D49BBA5C-91E8-4C59-96BA-F154B8E22D8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11B95DDD-04BC-4933-B111-8995EDF64C8A}" type="slidenum">
              <a:rPr lang="en-US" altLang="en-US" sz="1000" smtClean="0">
                <a:solidFill>
                  <a:schemeClr val="bg2"/>
                </a:solidFill>
              </a:rPr>
              <a:pPr/>
              <a:t>34</a:t>
            </a:fld>
            <a:endParaRPr lang="en-US" altLang="en-US" sz="1000">
              <a:solidFill>
                <a:schemeClr val="bg2"/>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a:extLst>
              <a:ext uri="{FF2B5EF4-FFF2-40B4-BE49-F238E27FC236}">
                <a16:creationId xmlns:a16="http://schemas.microsoft.com/office/drawing/2014/main" id="{F41E1E48-CA6E-444B-838B-8B57A6240A19}"/>
              </a:ext>
            </a:extLst>
          </p:cNvPr>
          <p:cNvSpPr>
            <a:spLocks noGrp="1" noRot="1" noChangeAspect="1" noChangeArrowheads="1" noTextEdit="1"/>
          </p:cNvSpPr>
          <p:nvPr>
            <p:ph type="sldImg"/>
          </p:nvPr>
        </p:nvSpPr>
        <p:spPr>
          <a:ln/>
        </p:spPr>
      </p:sp>
      <p:sp>
        <p:nvSpPr>
          <p:cNvPr id="120835" name="Notes Placeholder 2">
            <a:extLst>
              <a:ext uri="{FF2B5EF4-FFF2-40B4-BE49-F238E27FC236}">
                <a16:creationId xmlns:a16="http://schemas.microsoft.com/office/drawing/2014/main" id="{2F35DC7D-9BAA-4DD3-B873-8BD787CF045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There are many innovations enabled by FlexPod as your foundational platform.</a:t>
            </a:r>
          </a:p>
          <a:p>
            <a:endParaRPr lang="en-US" altLang="en-US" dirty="0">
              <a:latin typeface="Arial" panose="020B0604020202020204" pitchFamily="34" charset="0"/>
            </a:endParaRPr>
          </a:p>
          <a:p>
            <a:r>
              <a:rPr lang="en-US" altLang="en-US" dirty="0">
                <a:latin typeface="Arial" panose="020B0604020202020204" pitchFamily="34" charset="0"/>
              </a:rPr>
              <a:t>For example, FlexPod now supports interoperability with Google, Amazon AWS, Microsoft Azure and IBM for hybrid cloud deployments. FlexPod offers flexibility and enables you to work with your cloud vendor of choice so that you can choose what works well for your business.</a:t>
            </a:r>
          </a:p>
          <a:p>
            <a:endParaRPr lang="en-US" altLang="en-US" dirty="0">
              <a:latin typeface="Arial" panose="020B0604020202020204" pitchFamily="34" charset="0"/>
            </a:endParaRPr>
          </a:p>
          <a:p>
            <a:r>
              <a:rPr lang="en-US" altLang="en-US" dirty="0">
                <a:latin typeface="Arial" panose="020B0604020202020204" pitchFamily="34" charset="0"/>
              </a:rPr>
              <a:t>We’ve talked a lot about getting data insights and FlexPod empowers you to gain insights 20 times as fast at 20% lower cost than other similar platforms. Getting insights fast allows you to reduce time to value and positively affect your bottom line quickly.</a:t>
            </a:r>
          </a:p>
          <a:p>
            <a:endParaRPr lang="en-US" altLang="en-US" dirty="0">
              <a:latin typeface="Arial" panose="020B0604020202020204" pitchFamily="34" charset="0"/>
            </a:endParaRPr>
          </a:p>
          <a:p>
            <a:r>
              <a:rPr lang="en-US" altLang="en-US" dirty="0">
                <a:latin typeface="Arial" panose="020B0604020202020204" pitchFamily="34" charset="0"/>
              </a:rPr>
              <a:t>Applications that also enable you to get to data insights quickly include Artificial Intelligence and Machine Learning technologies. With FlexPod, you can easily access AI and ML tools to assist your data scientists mine data efficiently.</a:t>
            </a:r>
          </a:p>
          <a:p>
            <a:endParaRPr lang="en-US" altLang="en-US" dirty="0">
              <a:latin typeface="Arial" panose="020B0604020202020204" pitchFamily="34" charset="0"/>
            </a:endParaRPr>
          </a:p>
          <a:p>
            <a:r>
              <a:rPr lang="en-US" altLang="en-US" dirty="0">
                <a:latin typeface="Arial" panose="020B0604020202020204" pitchFamily="34" charset="0"/>
              </a:rPr>
              <a:t>All of these innovations can be run with a 22% more efficient use of compute resources when using FlexPod.</a:t>
            </a:r>
          </a:p>
          <a:p>
            <a:endParaRPr lang="en-US" altLang="en-US" dirty="0">
              <a:latin typeface="Arial" panose="020B0604020202020204" pitchFamily="34" charset="0"/>
            </a:endParaRPr>
          </a:p>
          <a:p>
            <a:r>
              <a:rPr lang="en-US" altLang="en-US" dirty="0">
                <a:latin typeface="Arial" panose="020B0604020202020204" pitchFamily="34" charset="0"/>
              </a:rPr>
              <a:t>One of the key benefits of FlexPod is how flexible it is and we will talk about that next.</a:t>
            </a:r>
          </a:p>
          <a:p>
            <a:endParaRPr lang="en-US" altLang="en-US" dirty="0">
              <a:latin typeface="Arial" panose="020B0604020202020204" pitchFamily="34" charset="0"/>
            </a:endParaRPr>
          </a:p>
          <a:p>
            <a:r>
              <a:rPr lang="en-US" altLang="en-US" dirty="0">
                <a:latin typeface="Arial" panose="020B0604020202020204" pitchFamily="34" charset="0"/>
              </a:rPr>
              <a:t>&lt;click&gt;</a:t>
            </a:r>
          </a:p>
        </p:txBody>
      </p:sp>
      <p:sp>
        <p:nvSpPr>
          <p:cNvPr id="120836" name="Slide Number Placeholder 3">
            <a:extLst>
              <a:ext uri="{FF2B5EF4-FFF2-40B4-BE49-F238E27FC236}">
                <a16:creationId xmlns:a16="http://schemas.microsoft.com/office/drawing/2014/main" id="{E046F97F-5209-4B2C-BC15-16D4C18A6A2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6BFDD51-6ADA-4316-8D0F-60EE35F088A6}" type="slidenum">
              <a:rPr lang="en-US" altLang="en-US" smtClean="0"/>
              <a:pPr/>
              <a:t>35</a:t>
            </a:fld>
            <a:endParaRPr lang="en-US" altLang="en-US"/>
          </a:p>
        </p:txBody>
      </p:sp>
    </p:spTree>
    <p:extLst>
      <p:ext uri="{BB962C8B-B14F-4D97-AF65-F5344CB8AC3E}">
        <p14:creationId xmlns:p14="http://schemas.microsoft.com/office/powerpoint/2010/main" val="41090723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a:extLst>
              <a:ext uri="{FF2B5EF4-FFF2-40B4-BE49-F238E27FC236}">
                <a16:creationId xmlns:a16="http://schemas.microsoft.com/office/drawing/2014/main" id="{76429F7C-80C2-44D6-90FE-BC6B470999B3}"/>
              </a:ext>
            </a:extLst>
          </p:cNvPr>
          <p:cNvSpPr>
            <a:spLocks noGrp="1" noRot="1" noChangeAspect="1" noChangeArrowheads="1" noTextEdit="1"/>
          </p:cNvSpPr>
          <p:nvPr>
            <p:ph type="sldImg"/>
          </p:nvPr>
        </p:nvSpPr>
        <p:spPr>
          <a:ln/>
        </p:spPr>
      </p:sp>
      <p:sp>
        <p:nvSpPr>
          <p:cNvPr id="124931" name="Notes Placeholder 2">
            <a:extLst>
              <a:ext uri="{FF2B5EF4-FFF2-40B4-BE49-F238E27FC236}">
                <a16:creationId xmlns:a16="http://schemas.microsoft.com/office/drawing/2014/main" id="{18E6185E-17EB-4CEB-B2C8-5CEC8E72A0F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Our experience has shown that each enterprise is unique. That is why our team across the world has worked tirelessly to create over 160 designs which have been thoroughly validated by customers over the years —ensuring your FlexPod will be configured to address the unique needs of your enterprise.</a:t>
            </a:r>
          </a:p>
          <a:p>
            <a:endParaRPr lang="en-US" altLang="en-US">
              <a:latin typeface="Arial" panose="020B0604020202020204" pitchFamily="34" charset="0"/>
            </a:endParaRPr>
          </a:p>
          <a:p>
            <a:r>
              <a:rPr lang="en-US" altLang="en-US">
                <a:latin typeface="Arial" panose="020B0604020202020204" pitchFamily="34" charset="0"/>
              </a:rPr>
              <a:t>FlexPod supports core enterprise workloads and vertical specific applications—ensuring that your infrastructure is tailored to work seamlessly with the vertical applications you employ to compete in a competitive market. </a:t>
            </a:r>
          </a:p>
          <a:p>
            <a:endParaRPr lang="en-US" altLang="en-US">
              <a:latin typeface="Arial" panose="020B0604020202020204" pitchFamily="34" charset="0"/>
            </a:endParaRPr>
          </a:p>
          <a:p>
            <a:r>
              <a:rPr lang="en-US" altLang="en-US">
                <a:latin typeface="Arial" panose="020B0604020202020204" pitchFamily="34" charset="0"/>
              </a:rPr>
              <a:t>As you manage the data pipeline, data mobility becomes top-of-mind. This is where FlexPod excels, by providing data mobility capabilities that meet an enterprise’s unique compliance requirements.</a:t>
            </a:r>
          </a:p>
          <a:p>
            <a:endParaRPr lang="en-US" altLang="en-US">
              <a:latin typeface="Arial" panose="020B0604020202020204" pitchFamily="34" charset="0"/>
            </a:endParaRPr>
          </a:p>
          <a:p>
            <a:r>
              <a:rPr lang="en-US" altLang="en-US">
                <a:latin typeface="Arial" panose="020B0604020202020204" pitchFamily="34" charset="0"/>
              </a:rPr>
              <a:t>All this said, enterprises have experienced 56% faster time to market which tends to be the equivalent of 4 months reduction in the average lifecycle of Business Application Development.</a:t>
            </a:r>
          </a:p>
          <a:p>
            <a:endParaRPr lang="en-US" altLang="en-US">
              <a:latin typeface="Arial" panose="020B0604020202020204" pitchFamily="34" charset="0"/>
            </a:endParaRPr>
          </a:p>
          <a:p>
            <a:r>
              <a:rPr lang="en-US" altLang="en-US">
                <a:latin typeface="Arial" panose="020B0604020202020204" pitchFamily="34" charset="0"/>
              </a:rPr>
              <a:t>While ensuring your enterprise stays versatile enough to grow market share and profitability, being able to trust that your data infrastructure will deliver is critical.</a:t>
            </a:r>
          </a:p>
          <a:p>
            <a:endParaRPr lang="en-US" altLang="en-US">
              <a:latin typeface="Arial" panose="020B0604020202020204" pitchFamily="34" charset="0"/>
            </a:endParaRPr>
          </a:p>
          <a:p>
            <a:r>
              <a:rPr lang="en-US" altLang="en-US">
                <a:latin typeface="Arial" panose="020B0604020202020204" pitchFamily="34" charset="0"/>
              </a:rPr>
              <a:t>&lt;click&gt;</a:t>
            </a:r>
          </a:p>
          <a:p>
            <a:endParaRPr lang="en-US" altLang="en-US">
              <a:latin typeface="Arial" panose="020B0604020202020204" pitchFamily="34" charset="0"/>
            </a:endParaRPr>
          </a:p>
        </p:txBody>
      </p:sp>
      <p:sp>
        <p:nvSpPr>
          <p:cNvPr id="124932" name="Slide Number Placeholder 3">
            <a:extLst>
              <a:ext uri="{FF2B5EF4-FFF2-40B4-BE49-F238E27FC236}">
                <a16:creationId xmlns:a16="http://schemas.microsoft.com/office/drawing/2014/main" id="{CBD0DF39-BA63-49CD-A44F-12C15EF94EC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80EBCC9-2CFF-4954-8D08-5F94A781327A}" type="slidenum">
              <a:rPr lang="en-US" altLang="en-US" smtClean="0"/>
              <a:pPr/>
              <a:t>36</a:t>
            </a:fld>
            <a:endParaRPr lang="en-US" altLang="en-US"/>
          </a:p>
        </p:txBody>
      </p:sp>
    </p:spTree>
    <p:extLst>
      <p:ext uri="{BB962C8B-B14F-4D97-AF65-F5344CB8AC3E}">
        <p14:creationId xmlns:p14="http://schemas.microsoft.com/office/powerpoint/2010/main" val="22313860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a:extLst>
              <a:ext uri="{FF2B5EF4-FFF2-40B4-BE49-F238E27FC236}">
                <a16:creationId xmlns:a16="http://schemas.microsoft.com/office/drawing/2014/main" id="{68CCB6AD-2921-48C2-95C6-2390B67D5991}"/>
              </a:ext>
            </a:extLst>
          </p:cNvPr>
          <p:cNvSpPr>
            <a:spLocks noGrp="1" noRot="1" noChangeAspect="1" noChangeArrowheads="1" noTextEdit="1"/>
          </p:cNvSpPr>
          <p:nvPr>
            <p:ph type="sldImg"/>
          </p:nvPr>
        </p:nvSpPr>
        <p:spPr>
          <a:ln/>
        </p:spPr>
      </p:sp>
      <p:sp>
        <p:nvSpPr>
          <p:cNvPr id="177155" name="Notes Placeholder 2">
            <a:extLst>
              <a:ext uri="{FF2B5EF4-FFF2-40B4-BE49-F238E27FC236}">
                <a16:creationId xmlns:a16="http://schemas.microsoft.com/office/drawing/2014/main" id="{5781BA07-D6BD-4968-906A-CF05FD94B9A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77156" name="Slide Number Placeholder 3">
            <a:extLst>
              <a:ext uri="{FF2B5EF4-FFF2-40B4-BE49-F238E27FC236}">
                <a16:creationId xmlns:a16="http://schemas.microsoft.com/office/drawing/2014/main" id="{060415A5-4CA0-4851-AFE9-D9DE79D8684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40D092-F791-45D1-AE19-0EE62F0949D8}" type="slidenum">
              <a:rPr lang="en-US" altLang="en-US" sz="1200" smtClean="0">
                <a:solidFill>
                  <a:srgbClr val="000000"/>
                </a:solidFill>
                <a:latin typeface="Calibri" panose="020F0502020204030204" pitchFamily="34" charset="0"/>
              </a:rPr>
              <a:pPr/>
              <a:t>37</a:t>
            </a:fld>
            <a:endParaRPr lang="en-US" alt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405733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
        <p:cNvGrpSpPr/>
        <p:nvPr/>
      </p:nvGrpSpPr>
      <p:grpSpPr>
        <a:xfrm>
          <a:off x="0" y="0"/>
          <a:ext cx="0" cy="0"/>
          <a:chOff x="0" y="0"/>
          <a:chExt cx="0" cy="0"/>
        </a:xfrm>
      </p:grpSpPr>
      <p:sp>
        <p:nvSpPr>
          <p:cNvPr id="150" name="Shape 1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51" name="Shape 151"/>
          <p:cNvSpPr txBox="1">
            <a:spLocks noGrp="1"/>
          </p:cNvSpPr>
          <p:nvPr>
            <p:ph type="body" idx="1"/>
          </p:nvPr>
        </p:nvSpPr>
        <p:spPr>
          <a:xfrm>
            <a:off x="685800" y="4343400"/>
            <a:ext cx="5486399" cy="4114800"/>
          </a:xfrm>
          <a:prstGeom prst="rect">
            <a:avLst/>
          </a:prstGeom>
          <a:noFill/>
          <a:ln>
            <a:noFill/>
          </a:ln>
        </p:spPr>
        <p:txBody>
          <a:bodyPr lIns="91425" tIns="91425" rIns="91425" bIns="91425" anchor="ctr" anchorCtr="0">
            <a:noAutofit/>
          </a:bodyPr>
          <a:lstStyle/>
          <a:p>
            <a:r>
              <a:rPr lang="en-US" sz="1800" dirty="0">
                <a:solidFill>
                  <a:srgbClr val="9EA2A2"/>
                </a:solidFill>
              </a:rPr>
              <a:t>Do not alter this slide or the graphic. The slide must be used as it. Any changes will require Gartner’s further review.</a:t>
            </a:r>
          </a:p>
          <a:p>
            <a:r>
              <a:rPr lang="en-US" sz="1800" dirty="0">
                <a:solidFill>
                  <a:srgbClr val="9EA2A2"/>
                </a:solidFill>
              </a:rPr>
              <a:t>Gartner, Inc., 17 September 2019</a:t>
            </a:r>
          </a:p>
          <a:p>
            <a:r>
              <a:rPr lang="en-US" sz="1800" dirty="0">
                <a:solidFill>
                  <a:srgbClr val="9EA2A2"/>
                </a:solidFill>
              </a:rPr>
              <a:t>Santhosh Rao, John Monroe, Roger W. Cox, Joseph Unsworth</a:t>
            </a:r>
          </a:p>
          <a:p>
            <a:pPr marL="0" marR="0" lvl="0" indent="0" algn="l" rtl="0">
              <a:spcBef>
                <a:spcPts val="0"/>
              </a:spcBef>
              <a:buSzPct val="25000"/>
              <a:buFont typeface="Arial"/>
              <a:buNone/>
            </a:pPr>
            <a:endParaRPr lang="en-US" sz="1800" b="0" dirty="0"/>
          </a:p>
        </p:txBody>
      </p:sp>
    </p:spTree>
    <p:extLst>
      <p:ext uri="{BB962C8B-B14F-4D97-AF65-F5344CB8AC3E}">
        <p14:creationId xmlns:p14="http://schemas.microsoft.com/office/powerpoint/2010/main" val="5519798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a:extLst>
              <a:ext uri="{FF2B5EF4-FFF2-40B4-BE49-F238E27FC236}">
                <a16:creationId xmlns:a16="http://schemas.microsoft.com/office/drawing/2014/main" id="{47457DC5-49D5-4F3F-975A-FB0B1762E8E4}"/>
              </a:ext>
            </a:extLst>
          </p:cNvPr>
          <p:cNvSpPr>
            <a:spLocks noGrp="1" noRot="1" noChangeAspect="1" noChangeArrowheads="1" noTextEdit="1"/>
          </p:cNvSpPr>
          <p:nvPr>
            <p:ph type="sldImg"/>
          </p:nvPr>
        </p:nvSpPr>
        <p:spPr>
          <a:ln/>
        </p:spPr>
      </p:sp>
      <p:sp>
        <p:nvSpPr>
          <p:cNvPr id="175107" name="Notes Placeholder 2">
            <a:extLst>
              <a:ext uri="{FF2B5EF4-FFF2-40B4-BE49-F238E27FC236}">
                <a16:creationId xmlns:a16="http://schemas.microsoft.com/office/drawing/2014/main" id="{774FC7AF-891C-40FC-80C2-20035EC8AD8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solidFill>
                  <a:schemeClr val="tx2"/>
                </a:solidFill>
                <a:latin typeface="Helvetica Neue" pitchFamily="2" charset="0"/>
              </a:rPr>
              <a:t>As your company ingests an unprecedented amount of data through the use of emerging technologies, you will begin to realize bandwidth and storage issues occurring more and more. To combat this issue, FlexPod enables companies to deploy resources 8x faster and scale-up to 10x faster non-disruptively. These capabilities are invaluable to stay competitive in the market.</a:t>
            </a:r>
          </a:p>
          <a:p>
            <a:endParaRPr lang="en-US" altLang="en-US" dirty="0">
              <a:solidFill>
                <a:schemeClr val="tx2"/>
              </a:solidFill>
              <a:latin typeface="Helvetica Neue" pitchFamily="2" charset="0"/>
            </a:endParaRPr>
          </a:p>
          <a:p>
            <a:r>
              <a:rPr lang="en-US" altLang="en-US" dirty="0" err="1">
                <a:solidFill>
                  <a:schemeClr val="tx2"/>
                </a:solidFill>
                <a:latin typeface="Helvetica Neue" pitchFamily="2" charset="0"/>
              </a:rPr>
              <a:t>FlexPod’s</a:t>
            </a:r>
            <a:r>
              <a:rPr lang="en-US" altLang="en-US" dirty="0">
                <a:solidFill>
                  <a:schemeClr val="tx2"/>
                </a:solidFill>
                <a:latin typeface="Helvetica Neue" pitchFamily="2" charset="0"/>
              </a:rPr>
              <a:t> level of performance has taken the market by storm as demonstrated by its 5 quarters of consecutive growth as the fastest growing CI platform among major vendors. </a:t>
            </a:r>
          </a:p>
          <a:p>
            <a:endParaRPr lang="en-US" altLang="en-US" dirty="0">
              <a:solidFill>
                <a:schemeClr val="tx2"/>
              </a:solidFill>
              <a:latin typeface="Helvetica Neue" pitchFamily="2" charset="0"/>
            </a:endParaRPr>
          </a:p>
          <a:p>
            <a:r>
              <a:rPr lang="en-US" altLang="en-US" dirty="0">
                <a:solidFill>
                  <a:schemeClr val="tx2"/>
                </a:solidFill>
                <a:latin typeface="Helvetica Neue" pitchFamily="2" charset="0"/>
              </a:rPr>
              <a:t>Customers of ours are found all around the world, in over 9000 enterprises. These customers have already grown to realize the value that FlexPod provides as an enabler for their ecosystem.</a:t>
            </a:r>
          </a:p>
          <a:p>
            <a:endParaRPr lang="en-US" altLang="en-US" dirty="0">
              <a:solidFill>
                <a:schemeClr val="tx2"/>
              </a:solidFill>
              <a:latin typeface="Helvetica Neue" pitchFamily="2" charset="0"/>
            </a:endParaRPr>
          </a:p>
          <a:p>
            <a:r>
              <a:rPr lang="en-US" altLang="en-US" dirty="0">
                <a:solidFill>
                  <a:schemeClr val="tx2"/>
                </a:solidFill>
                <a:latin typeface="Helvetica Neue" pitchFamily="2" charset="0"/>
              </a:rPr>
              <a:t>What’s more, customers have been relying on FlexPod for over 8 years in their production environments. It has handled some of the most complex technical ecosystems to deliver when companies need it most.</a:t>
            </a:r>
          </a:p>
          <a:p>
            <a:endParaRPr lang="en-US" altLang="en-US" dirty="0">
              <a:solidFill>
                <a:schemeClr val="tx2"/>
              </a:solidFill>
              <a:latin typeface="Helvetica Neue" pitchFamily="2" charset="0"/>
            </a:endParaRPr>
          </a:p>
          <a:p>
            <a:r>
              <a:rPr lang="en-US" altLang="en-US" dirty="0">
                <a:solidFill>
                  <a:schemeClr val="tx2"/>
                </a:solidFill>
                <a:latin typeface="Helvetica Neue" pitchFamily="2" charset="0"/>
              </a:rPr>
              <a:t>&lt;click&gt;</a:t>
            </a:r>
          </a:p>
          <a:p>
            <a:endParaRPr lang="en-US" altLang="en-US" dirty="0">
              <a:latin typeface="Arial" panose="020B0604020202020204" pitchFamily="34" charset="0"/>
            </a:endParaRPr>
          </a:p>
        </p:txBody>
      </p:sp>
      <p:sp>
        <p:nvSpPr>
          <p:cNvPr id="175108" name="Slide Number Placeholder 3">
            <a:extLst>
              <a:ext uri="{FF2B5EF4-FFF2-40B4-BE49-F238E27FC236}">
                <a16:creationId xmlns:a16="http://schemas.microsoft.com/office/drawing/2014/main" id="{EA1E9924-FCD7-4985-923B-DD87CBBCC17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40004BE-7661-43ED-8B32-E57B5AB0A3CD}" type="slidenum">
              <a:rPr lang="en-US" altLang="en-US" smtClean="0"/>
              <a:pPr/>
              <a:t>38</a:t>
            </a:fld>
            <a:endParaRPr lang="en-US" altLang="en-US"/>
          </a:p>
        </p:txBody>
      </p:sp>
    </p:spTree>
    <p:extLst>
      <p:ext uri="{BB962C8B-B14F-4D97-AF65-F5344CB8AC3E}">
        <p14:creationId xmlns:p14="http://schemas.microsoft.com/office/powerpoint/2010/main" val="27307682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sz="1350" b="1" dirty="0"/>
              <a:t>What:</a:t>
            </a:r>
            <a:r>
              <a:rPr lang="en-US" altLang="en-US" sz="1350" dirty="0"/>
              <a:t>  NetApp Solution Support provides full stack support</a:t>
            </a:r>
          </a:p>
          <a:p>
            <a:pPr lvl="1">
              <a:defRPr/>
            </a:pPr>
            <a:r>
              <a:rPr lang="en-US" altLang="en-US" dirty="0"/>
              <a:t>Solutions Support for </a:t>
            </a:r>
            <a:r>
              <a:rPr lang="en-US" altLang="en-US" dirty="0" err="1"/>
              <a:t>FlexPod</a:t>
            </a:r>
            <a:r>
              <a:rPr lang="en-US" altLang="en-US" dirty="0"/>
              <a:t> extends beyond storage-only support to cover the complete </a:t>
            </a:r>
            <a:r>
              <a:rPr lang="en-US" altLang="en-US" dirty="0" err="1"/>
              <a:t>FlexPod</a:t>
            </a:r>
            <a:r>
              <a:rPr lang="en-US" altLang="en-US" dirty="0"/>
              <a:t> infrastructure</a:t>
            </a:r>
          </a:p>
          <a:p>
            <a:pPr>
              <a:defRPr/>
            </a:pPr>
            <a:r>
              <a:rPr lang="en-US" altLang="en-US" sz="1350" b="1" dirty="0"/>
              <a:t>Why</a:t>
            </a:r>
            <a:r>
              <a:rPr lang="en-US" altLang="en-US" sz="1350" dirty="0"/>
              <a:t>:  Many customers prefer a single vendor to assume support responsibility for the full solution </a:t>
            </a:r>
            <a:r>
              <a:rPr lang="en-US" altLang="en-US" sz="1050" dirty="0"/>
              <a:t>(reduced time-to-resolution)</a:t>
            </a:r>
            <a:endParaRPr lang="en-US" altLang="en-US" sz="1350" dirty="0"/>
          </a:p>
          <a:p>
            <a:pPr>
              <a:defRPr/>
            </a:pPr>
            <a:r>
              <a:rPr lang="en-US" altLang="en-US" sz="1350" b="1" dirty="0"/>
              <a:t>Positioning:</a:t>
            </a:r>
            <a:r>
              <a:rPr lang="en-US" altLang="en-US" sz="1350" dirty="0"/>
              <a:t>  Ideal when the customer prefers single-vendor support</a:t>
            </a:r>
          </a:p>
          <a:p>
            <a:pPr>
              <a:defRPr/>
            </a:pPr>
            <a:r>
              <a:rPr lang="en-US" altLang="en-US" sz="1350" b="1" dirty="0"/>
              <a:t>Differentiation: </a:t>
            </a:r>
            <a:r>
              <a:rPr lang="en-US" altLang="en-US" sz="1350" dirty="0"/>
              <a:t>CSA software is included, offering unique        value to </a:t>
            </a:r>
            <a:r>
              <a:rPr lang="en-US" altLang="en-US" sz="1350" i="1" dirty="0"/>
              <a:t>both </a:t>
            </a:r>
            <a:r>
              <a:rPr lang="en-US" altLang="en-US" sz="1350" dirty="0"/>
              <a:t>the customer and the support experience</a:t>
            </a:r>
            <a:endParaRPr lang="en-US" altLang="en-US" sz="1350" b="1" dirty="0"/>
          </a:p>
          <a:p>
            <a:pPr>
              <a:defRPr/>
            </a:pPr>
            <a:r>
              <a:rPr lang="en-US" altLang="en-US" sz="1350" b="1" dirty="0"/>
              <a:t>Pricing:  </a:t>
            </a:r>
            <a:r>
              <a:rPr lang="en-US" altLang="en-US" sz="1350" dirty="0"/>
              <a:t>A layered product “on top” of </a:t>
            </a:r>
            <a:r>
              <a:rPr lang="en-US" altLang="en-US" sz="1350" dirty="0" err="1"/>
              <a:t>SupportEdge</a:t>
            </a:r>
            <a:r>
              <a:rPr lang="en-US" altLang="en-US" sz="1350" dirty="0"/>
              <a:t> Premium </a:t>
            </a:r>
            <a:r>
              <a:rPr lang="en-US" altLang="en-US" sz="1050" i="1" dirty="0"/>
              <a:t> </a:t>
            </a:r>
            <a:endParaRPr lang="en-US" altLang="en-US" sz="1350" i="1" dirty="0">
              <a:solidFill>
                <a:schemeClr val="bg1">
                  <a:lumMod val="50000"/>
                </a:schemeClr>
              </a:solidFill>
            </a:endParaRPr>
          </a:p>
          <a:p>
            <a:endParaRPr lang="en-US" dirty="0"/>
          </a:p>
        </p:txBody>
      </p:sp>
      <p:sp>
        <p:nvSpPr>
          <p:cNvPr id="4" name="Slide Number Placeholder 3"/>
          <p:cNvSpPr>
            <a:spLocks noGrp="1"/>
          </p:cNvSpPr>
          <p:nvPr>
            <p:ph type="sldNum" sz="quarter" idx="5"/>
          </p:nvPr>
        </p:nvSpPr>
        <p:spPr/>
        <p:txBody>
          <a:bodyPr/>
          <a:lstStyle/>
          <a:p>
            <a:pPr>
              <a:defRPr/>
            </a:pPr>
            <a:fld id="{49D12D3B-2285-4EF0-BE2E-2E3F8E2A59C3}" type="slidenum">
              <a:rPr lang="en-US" altLang="en-US" smtClean="0"/>
              <a:pPr>
                <a:defRPr/>
              </a:pPr>
              <a:t>39</a:t>
            </a:fld>
            <a:endParaRPr lang="en-US" altLang="en-US"/>
          </a:p>
        </p:txBody>
      </p:sp>
    </p:spTree>
    <p:extLst>
      <p:ext uri="{BB962C8B-B14F-4D97-AF65-F5344CB8AC3E}">
        <p14:creationId xmlns:p14="http://schemas.microsoft.com/office/powerpoint/2010/main" val="462524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a:extLst>
              <a:ext uri="{FF2B5EF4-FFF2-40B4-BE49-F238E27FC236}">
                <a16:creationId xmlns:a16="http://schemas.microsoft.com/office/drawing/2014/main" id="{53C5A7B4-9C48-476F-86A8-E37922D27635}"/>
              </a:ext>
            </a:extLst>
          </p:cNvPr>
          <p:cNvSpPr>
            <a:spLocks noGrp="1" noRot="1" noChangeAspect="1" noChangeArrowheads="1" noTextEdit="1"/>
          </p:cNvSpPr>
          <p:nvPr>
            <p:ph type="sldImg"/>
          </p:nvPr>
        </p:nvSpPr>
        <p:spPr>
          <a:ln/>
        </p:spPr>
      </p:sp>
      <p:sp>
        <p:nvSpPr>
          <p:cNvPr id="179203" name="Notes Placeholder 2">
            <a:extLst>
              <a:ext uri="{FF2B5EF4-FFF2-40B4-BE49-F238E27FC236}">
                <a16:creationId xmlns:a16="http://schemas.microsoft.com/office/drawing/2014/main" id="{A902EA21-C1E9-40BE-9451-A72691C2FCC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200">
                <a:latin typeface="Arial" panose="020B0604020202020204" pitchFamily="34" charset="0"/>
                <a:cs typeface="Arial" panose="020B0604020202020204" pitchFamily="34" charset="0"/>
              </a:rPr>
              <a:t>The Integrated Systems market covers solutions referred to as either converged infrastructure or integrated system. Over the past year, this market averages about 30 reports per quarter with Gartner as the most significant firm followed by a tie between IDC and 451 Research. ESG accounts for about 20% of coverage, though in the current quarter, ESG published a host of reports following the various analyst days and increased to almost 50% of coverage.</a:t>
            </a:r>
            <a:endParaRPr lang="en-US" altLang="en-US">
              <a:latin typeface="Arial" panose="020B0604020202020204" pitchFamily="34" charset="0"/>
            </a:endParaRPr>
          </a:p>
          <a:p>
            <a:endParaRPr lang="en-US" altLang="en-US">
              <a:latin typeface="Arial" panose="020B0604020202020204" pitchFamily="34" charset="0"/>
            </a:endParaRPr>
          </a:p>
        </p:txBody>
      </p:sp>
      <p:sp>
        <p:nvSpPr>
          <p:cNvPr id="179204" name="Slide Number Placeholder 3">
            <a:extLst>
              <a:ext uri="{FF2B5EF4-FFF2-40B4-BE49-F238E27FC236}">
                <a16:creationId xmlns:a16="http://schemas.microsoft.com/office/drawing/2014/main" id="{AF05EB41-DBB5-4C69-BBDC-26AB0B8A774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9C0707A-5503-40D3-9101-F6460735FBE5}" type="slidenum">
              <a:rPr lang="en-US" altLang="en-US" smtClean="0"/>
              <a:pPr/>
              <a:t>40</a:t>
            </a:fld>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Slide Image Placeholder 1">
            <a:extLst>
              <a:ext uri="{FF2B5EF4-FFF2-40B4-BE49-F238E27FC236}">
                <a16:creationId xmlns:a16="http://schemas.microsoft.com/office/drawing/2014/main" id="{0587E186-3727-432D-88F8-05C867D226A1}"/>
              </a:ext>
            </a:extLst>
          </p:cNvPr>
          <p:cNvSpPr>
            <a:spLocks noGrp="1" noRot="1" noChangeAspect="1" noChangeArrowheads="1" noTextEdit="1"/>
          </p:cNvSpPr>
          <p:nvPr>
            <p:ph type="sldImg"/>
          </p:nvPr>
        </p:nvSpPr>
        <p:spPr>
          <a:ln/>
        </p:spPr>
      </p:sp>
      <p:sp>
        <p:nvSpPr>
          <p:cNvPr id="181251" name="Notes Placeholder 2">
            <a:extLst>
              <a:ext uri="{FF2B5EF4-FFF2-40B4-BE49-F238E27FC236}">
                <a16:creationId xmlns:a16="http://schemas.microsoft.com/office/drawing/2014/main" id="{6AF280D9-33F3-426D-B496-8DFD20BE0D9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81252" name="Slide Number Placeholder 3">
            <a:extLst>
              <a:ext uri="{FF2B5EF4-FFF2-40B4-BE49-F238E27FC236}">
                <a16:creationId xmlns:a16="http://schemas.microsoft.com/office/drawing/2014/main" id="{FA6C9E79-546B-4845-8DF8-4769D6F0C5A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B85D79EF-C7E6-49A1-9D8F-EAAC4A6EC4EB}" type="slidenum">
              <a:rPr lang="en-US" altLang="en-US" sz="1000" smtClean="0">
                <a:solidFill>
                  <a:schemeClr val="bg2"/>
                </a:solidFill>
              </a:rPr>
              <a:pPr/>
              <a:t>41</a:t>
            </a:fld>
            <a:endParaRPr lang="en-US" altLang="en-US" sz="1000">
              <a:solidFill>
                <a:schemeClr val="bg2"/>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ChangeArrowheads="1" noTextEdit="1"/>
          </p:cNvSpPr>
          <p:nvPr>
            <p:ph type="sldImg"/>
          </p:nvPr>
        </p:nvSpPr>
        <p:spPr>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neteffect technologies shares their story of improving internal applications by up to 10 times faster with FlexPod. </a:t>
            </a:r>
          </a:p>
          <a:p>
            <a:r>
              <a:rPr lang="en-US" altLang="en-US" dirty="0"/>
              <a:t>Read more here:</a:t>
            </a:r>
          </a:p>
          <a:p>
            <a:r>
              <a:rPr lang="en-US" altLang="en-US" dirty="0"/>
              <a:t>http://www.netapp.com/us/media/cs-neteffect.pdf</a:t>
            </a:r>
          </a:p>
          <a:p>
            <a:endParaRPr lang="en-US" altLang="en-US" dirty="0"/>
          </a:p>
        </p:txBody>
      </p:sp>
      <p:sp>
        <p:nvSpPr>
          <p:cNvPr id="798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AE2EE74-7880-2C43-81C9-9495104D93B1}" type="slidenum">
              <a:rPr lang="en-US" altLang="en-US"/>
              <a:pPr/>
              <a:t>42</a:t>
            </a:fld>
            <a:endParaRPr lang="en-US" altLang="en-US" dirty="0"/>
          </a:p>
        </p:txBody>
      </p:sp>
    </p:spTree>
    <p:extLst>
      <p:ext uri="{BB962C8B-B14F-4D97-AF65-F5344CB8AC3E}">
        <p14:creationId xmlns:p14="http://schemas.microsoft.com/office/powerpoint/2010/main" val="6808727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customers.netapp.com/en/tasnetworks-flexpod-case-study/</a:t>
            </a:r>
            <a:endParaRPr lang="en-US" dirty="0"/>
          </a:p>
        </p:txBody>
      </p:sp>
      <p:sp>
        <p:nvSpPr>
          <p:cNvPr id="4" name="Slide Number Placeholder 3"/>
          <p:cNvSpPr>
            <a:spLocks noGrp="1"/>
          </p:cNvSpPr>
          <p:nvPr>
            <p:ph type="sldNum" sz="quarter" idx="5"/>
          </p:nvPr>
        </p:nvSpPr>
        <p:spPr/>
        <p:txBody>
          <a:bodyPr/>
          <a:lstStyle/>
          <a:p>
            <a:pPr>
              <a:defRPr/>
            </a:pPr>
            <a:fld id="{49D12D3B-2285-4EF0-BE2E-2E3F8E2A59C3}" type="slidenum">
              <a:rPr lang="en-US" altLang="en-US" smtClean="0"/>
              <a:pPr>
                <a:defRPr/>
              </a:pPr>
              <a:t>44</a:t>
            </a:fld>
            <a:endParaRPr lang="en-US" altLang="en-US"/>
          </a:p>
        </p:txBody>
      </p:sp>
    </p:spTree>
    <p:extLst>
      <p:ext uri="{BB962C8B-B14F-4D97-AF65-F5344CB8AC3E}">
        <p14:creationId xmlns:p14="http://schemas.microsoft.com/office/powerpoint/2010/main" val="1818579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ChangeArrowheads="1" noTextEdit="1"/>
          </p:cNvSpPr>
          <p:nvPr>
            <p:ph type="sldImg"/>
          </p:nvPr>
        </p:nvSpPr>
        <p:spPr>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Baylor College of Medicine has shared their story on saving $1.5 million in hardware costs with FlexPod.</a:t>
            </a:r>
          </a:p>
          <a:p>
            <a:r>
              <a:rPr lang="en-US" altLang="en-US" dirty="0"/>
              <a:t>You can read more here:</a:t>
            </a:r>
          </a:p>
          <a:p>
            <a:r>
              <a:rPr lang="en-US" altLang="en-US" dirty="0"/>
              <a:t>http://www.netapp.com/us/media/cs-6822.pdf</a:t>
            </a:r>
          </a:p>
        </p:txBody>
      </p:sp>
      <p:sp>
        <p:nvSpPr>
          <p:cNvPr id="798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AE2EE74-7880-2C43-81C9-9495104D93B1}" type="slidenum">
              <a:rPr lang="en-US" altLang="en-US"/>
              <a:pPr/>
              <a:t>45</a:t>
            </a:fld>
            <a:endParaRPr lang="en-US" altLang="en-US" dirty="0"/>
          </a:p>
        </p:txBody>
      </p:sp>
    </p:spTree>
    <p:extLst>
      <p:ext uri="{BB962C8B-B14F-4D97-AF65-F5344CB8AC3E}">
        <p14:creationId xmlns:p14="http://schemas.microsoft.com/office/powerpoint/2010/main" val="1632603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28016911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a:extLst>
              <a:ext uri="{FF2B5EF4-FFF2-40B4-BE49-F238E27FC236}">
                <a16:creationId xmlns:a16="http://schemas.microsoft.com/office/drawing/2014/main" id="{9D82776C-456A-4CD8-8538-7C662F4CEC1A}"/>
              </a:ext>
            </a:extLst>
          </p:cNvPr>
          <p:cNvSpPr>
            <a:spLocks noGrp="1"/>
          </p:cNvSpPr>
          <p:nvPr>
            <p:ph type="body" idx="1"/>
          </p:nvPr>
        </p:nvSpPr>
        <p:spPr/>
        <p:txBody>
          <a:bodyPr>
            <a:normAutofit/>
          </a:bodyPr>
          <a:lstStyle/>
          <a:p>
            <a:pPr defTabSz="932605">
              <a:defRPr/>
            </a:pPr>
            <a:r>
              <a:rPr lang="en-US" sz="1200"/>
              <a:t>Through the data gathered from this study, we were able to identify a worldwide group of our “Most Profitable” partners. Let’s look at the top findings from this group so that you can gain insights to what they are doing to drive profitability and leverage those success factors in your business.  </a:t>
            </a:r>
          </a:p>
          <a:p>
            <a:pPr>
              <a:defRPr/>
            </a:pPr>
            <a:endParaRPr lang="en-US"/>
          </a:p>
          <a:p>
            <a:pPr marL="171450" indent="-171450">
              <a:buFont typeface="Arial" panose="020B0604020202020204" pitchFamily="34" charset="0"/>
              <a:buChar char="•"/>
              <a:defRPr/>
            </a:pPr>
            <a:r>
              <a:rPr lang="en-US"/>
              <a:t>Partners that focus on services and particularly partner branded services increases profitability.</a:t>
            </a:r>
          </a:p>
          <a:p>
            <a:pPr marL="171450" indent="-171450">
              <a:buFont typeface="Arial" panose="020B0604020202020204" pitchFamily="34" charset="0"/>
              <a:buChar char="•"/>
              <a:defRPr/>
            </a:pPr>
            <a:r>
              <a:rPr lang="en-US"/>
              <a:t>For every $1 of NetApp they sell, they are attaching on average of $7.41 of additional revenue including hardware, software and services. This was an increase of 15% compared to last year.</a:t>
            </a:r>
          </a:p>
          <a:p>
            <a:pPr marL="171450" indent="-171450">
              <a:buFont typeface="Arial" panose="020B0604020202020204" pitchFamily="34" charset="0"/>
              <a:buChar char="•"/>
              <a:defRPr/>
            </a:pPr>
            <a:r>
              <a:rPr lang="en-US"/>
              <a:t>The top three workloads are All Flash storage, CI and Backup and recovery.</a:t>
            </a:r>
          </a:p>
          <a:p>
            <a:pPr marL="171450" indent="-171450">
              <a:buFont typeface="Arial" panose="020B0604020202020204" pitchFamily="34" charset="0"/>
              <a:buChar char="•"/>
              <a:defRPr/>
            </a:pPr>
            <a:r>
              <a:rPr lang="en-US"/>
              <a:t>These partners focus mostly on new infrastructure deals and and competitive </a:t>
            </a:r>
            <a:r>
              <a:rPr lang="en-US" err="1"/>
              <a:t>takeouts</a:t>
            </a:r>
            <a:r>
              <a:rPr lang="en-US"/>
              <a:t> – these kinds of sales engagements often include services that drive higher margins.</a:t>
            </a:r>
          </a:p>
          <a:p>
            <a:pPr marL="171450" indent="-171450">
              <a:buFont typeface="Arial" panose="020B0604020202020204" pitchFamily="34" charset="0"/>
              <a:buChar char="•"/>
              <a:defRPr/>
            </a:pPr>
            <a:r>
              <a:rPr lang="en-US"/>
              <a:t>We continue to see that Line of Business owners have a say in IT decision. You need to work with a buyers in both Corp IT and Line of Business owners to close sales…</a:t>
            </a:r>
          </a:p>
          <a:p>
            <a:pPr marL="171450" indent="-171450">
              <a:buFont typeface="Arial" panose="020B0604020202020204" pitchFamily="34" charset="0"/>
              <a:buChar char="•"/>
              <a:defRPr/>
            </a:pPr>
            <a:r>
              <a:rPr lang="en-US"/>
              <a:t>This year we included new data points about cloud revenue. The top 3 cloud offerings by revenue are on-</a:t>
            </a:r>
            <a:r>
              <a:rPr lang="en-US" err="1"/>
              <a:t>prem</a:t>
            </a:r>
            <a:r>
              <a:rPr lang="en-US"/>
              <a:t>, off </a:t>
            </a:r>
            <a:r>
              <a:rPr lang="en-US" err="1"/>
              <a:t>prem</a:t>
            </a:r>
            <a:r>
              <a:rPr lang="en-US"/>
              <a:t> and multi-tenant cloud. We did notice that across most of the geos there is a shift from on-prem to multi-tenant and off-prem.</a:t>
            </a:r>
          </a:p>
          <a:p>
            <a:pPr marL="171450" indent="-171450">
              <a:buFont typeface="Arial" panose="020B0604020202020204" pitchFamily="34" charset="0"/>
              <a:buChar char="•"/>
              <a:defRPr/>
            </a:pPr>
            <a:endParaRPr lang="en-US"/>
          </a:p>
          <a:p>
            <a:pPr>
              <a:defRPr/>
            </a:pPr>
            <a:r>
              <a:rPr lang="en-US" sz="1200" b="1"/>
              <a:t>Discussion points:</a:t>
            </a:r>
          </a:p>
          <a:p>
            <a:pPr marL="171450" indent="-171450">
              <a:buFont typeface="Arial" panose="020B0604020202020204" pitchFamily="34" charset="0"/>
              <a:buChar char="•"/>
              <a:defRPr/>
            </a:pPr>
            <a:r>
              <a:rPr lang="en-US" sz="1200"/>
              <a:t>How does your company’s strategic workloads and vertical markets compare with those of the Most Profitable partners?</a:t>
            </a:r>
          </a:p>
          <a:p>
            <a:pPr marL="171450" indent="-171450">
              <a:buFont typeface="Arial" panose="020B0604020202020204" pitchFamily="34" charset="0"/>
              <a:buChar char="•"/>
              <a:defRPr/>
            </a:pPr>
            <a:r>
              <a:rPr lang="en-US" sz="1200"/>
              <a:t>Is your company sales focus in line with the Most Profitable partners’ focus of competitive takeout and new infrastructure? What will it take to shift your company’s sales focus more towards competitive takeout and new infrastructure?</a:t>
            </a:r>
          </a:p>
          <a:p>
            <a:pPr marL="171450" indent="-171450">
              <a:buFont typeface="Arial" panose="020B0604020202020204" pitchFamily="34" charset="0"/>
              <a:buChar char="•"/>
              <a:defRPr/>
            </a:pPr>
            <a:r>
              <a:rPr lang="en-US" sz="1200"/>
              <a:t>Do you see the LOB becoming an influencer or a decision maker in your customer’s IT investment choices? If yes, how does the conversation change?</a:t>
            </a:r>
          </a:p>
          <a:p>
            <a:pPr marL="171450" indent="-171450">
              <a:buFont typeface="Arial" panose="020B0604020202020204" pitchFamily="34" charset="0"/>
              <a:buChar char="•"/>
              <a:defRPr/>
            </a:pPr>
            <a:endParaRPr lang="en-US"/>
          </a:p>
          <a:p>
            <a:pPr>
              <a:defRPr/>
            </a:pPr>
            <a:endParaRPr lang="en-US"/>
          </a:p>
        </p:txBody>
      </p:sp>
      <p:sp>
        <p:nvSpPr>
          <p:cNvPr id="186371" name="Footer Placeholder 3">
            <a:extLst>
              <a:ext uri="{FF2B5EF4-FFF2-40B4-BE49-F238E27FC236}">
                <a16:creationId xmlns:a16="http://schemas.microsoft.com/office/drawing/2014/main" id="{7FA1BA8D-B151-485D-9A5A-2AF72A92124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2018 NetApp, Inc. All rights reserved. NetApp Proprietary – Internal Use Only </a:t>
            </a:r>
          </a:p>
        </p:txBody>
      </p:sp>
      <p:sp>
        <p:nvSpPr>
          <p:cNvPr id="186372" name="Header Placeholder 5">
            <a:extLst>
              <a:ext uri="{FF2B5EF4-FFF2-40B4-BE49-F238E27FC236}">
                <a16:creationId xmlns:a16="http://schemas.microsoft.com/office/drawing/2014/main" id="{D3159B85-D38F-4CD6-9651-323E4C56D1E2}"/>
              </a:ext>
            </a:extLst>
          </p:cNvPr>
          <p:cNvSpPr>
            <a:spLocks noGrp="1" noChangeArrowheads="1"/>
          </p:cNvSpPr>
          <p:nvPr>
            <p:ph type="hdr"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18 Partner Profitability Study</a:t>
            </a:r>
          </a:p>
        </p:txBody>
      </p:sp>
      <p:sp>
        <p:nvSpPr>
          <p:cNvPr id="186373" name="Slide Number Placeholder 6">
            <a:extLst>
              <a:ext uri="{FF2B5EF4-FFF2-40B4-BE49-F238E27FC236}">
                <a16:creationId xmlns:a16="http://schemas.microsoft.com/office/drawing/2014/main" id="{71494C06-9AB4-4F85-9B0B-35CFE0CB91B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BFD1302-94C6-4AA2-986E-38FC3F1D47BD}" type="slidenum">
              <a:rPr kumimoji="0" lang="en-US" altLang="en-US" sz="10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
        <p:nvSpPr>
          <p:cNvPr id="186374" name="Slide Image Placeholder 11">
            <a:extLst>
              <a:ext uri="{FF2B5EF4-FFF2-40B4-BE49-F238E27FC236}">
                <a16:creationId xmlns:a16="http://schemas.microsoft.com/office/drawing/2014/main" id="{8BB520C2-867F-4B0E-8241-288AC1DD3740}"/>
              </a:ext>
            </a:extLst>
          </p:cNvPr>
          <p:cNvSpPr>
            <a:spLocks noGrp="1" noRot="1" noChangeAspect="1" noChangeArrowheads="1" noTextEdit="1"/>
          </p:cNvSpPr>
          <p:nvPr>
            <p:ph type="sldImg"/>
          </p:nvPr>
        </p:nvSpPr>
        <p:spPr>
          <a:ln/>
        </p:spPr>
      </p:sp>
    </p:spTree>
    <p:extLst>
      <p:ext uri="{BB962C8B-B14F-4D97-AF65-F5344CB8AC3E}">
        <p14:creationId xmlns:p14="http://schemas.microsoft.com/office/powerpoint/2010/main" val="13966594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92213"/>
            <a:ext cx="5486400" cy="3086100"/>
          </a:xfrm>
        </p:spPr>
      </p:sp>
      <p:sp>
        <p:nvSpPr>
          <p:cNvPr id="3" name="Notes Placeholder 2"/>
          <p:cNvSpPr>
            <a:spLocks noGrp="1"/>
          </p:cNvSpPr>
          <p:nvPr>
            <p:ph type="body" idx="1"/>
          </p:nvPr>
        </p:nvSpPr>
        <p:spPr/>
        <p:txBody>
          <a:bodyPr/>
          <a:lstStyle/>
          <a:p>
            <a:endParaRPr lang="en-US">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pic>
        <p:nvPicPr>
          <p:cNvPr id="5" name="Picture 4">
            <a:extLst>
              <a:ext uri="{FF2B5EF4-FFF2-40B4-BE49-F238E27FC236}">
                <a16:creationId xmlns:a16="http://schemas.microsoft.com/office/drawing/2014/main" id="{178687EC-7D07-4BDD-8507-80AD71337601}"/>
              </a:ext>
            </a:extLst>
          </p:cNvPr>
          <p:cNvPicPr>
            <a:picLocks noChangeAspect="1"/>
          </p:cNvPicPr>
          <p:nvPr/>
        </p:nvPicPr>
        <p:blipFill>
          <a:blip r:embed="rId3"/>
          <a:stretch>
            <a:fillRect/>
          </a:stretch>
        </p:blipFill>
        <p:spPr>
          <a:xfrm>
            <a:off x="259870" y="4781440"/>
            <a:ext cx="6521140" cy="3170347"/>
          </a:xfrm>
          <a:prstGeom prst="rect">
            <a:avLst/>
          </a:prstGeom>
        </p:spPr>
      </p:pic>
    </p:spTree>
    <p:extLst>
      <p:ext uri="{BB962C8B-B14F-4D97-AF65-F5344CB8AC3E}">
        <p14:creationId xmlns:p14="http://schemas.microsoft.com/office/powerpoint/2010/main" val="2815316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
        <p:cNvGrpSpPr/>
        <p:nvPr/>
      </p:nvGrpSpPr>
      <p:grpSpPr>
        <a:xfrm>
          <a:off x="0" y="0"/>
          <a:ext cx="0" cy="0"/>
          <a:chOff x="0" y="0"/>
          <a:chExt cx="0" cy="0"/>
        </a:xfrm>
      </p:grpSpPr>
      <p:sp>
        <p:nvSpPr>
          <p:cNvPr id="150" name="Shape 1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51" name="Shape 151"/>
          <p:cNvSpPr txBox="1">
            <a:spLocks noGrp="1"/>
          </p:cNvSpPr>
          <p:nvPr>
            <p:ph type="body" idx="1"/>
          </p:nvPr>
        </p:nvSpPr>
        <p:spPr>
          <a:xfrm>
            <a:off x="685800" y="4343400"/>
            <a:ext cx="5486399" cy="4114800"/>
          </a:xfrm>
          <a:prstGeom prst="rect">
            <a:avLst/>
          </a:prstGeom>
          <a:noFill/>
          <a:ln>
            <a:noFill/>
          </a:ln>
        </p:spPr>
        <p:txBody>
          <a:bodyPr lIns="91425" tIns="91425" rIns="91425" bIns="91425" anchor="ctr"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Source: IDC </a:t>
            </a:r>
            <a:r>
              <a:rPr lang="en-US" sz="1800" dirty="0" err="1"/>
              <a:t>MarketScape</a:t>
            </a:r>
            <a:r>
              <a:rPr lang="en-US" sz="1800" dirty="0"/>
              <a:t>: Worldwide Scale-out File-Based Storage 2019 Vendor Assessment, Doc # US45355019, December 201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rgbClr val="FF0000"/>
                </a:solidFill>
              </a:rPr>
              <a:t>Note - This slide may not be modified nor may the data be reused in any other format without permission from the analyst firm.</a:t>
            </a:r>
            <a:endParaRPr lang="en-US" sz="1800" b="0" dirty="0"/>
          </a:p>
          <a:p>
            <a:pPr marL="0" marR="0" lvl="0" indent="0" algn="l" rtl="0">
              <a:spcBef>
                <a:spcPts val="0"/>
              </a:spcBef>
              <a:buSzPct val="25000"/>
              <a:buFont typeface="Arial"/>
              <a:buNone/>
            </a:pPr>
            <a:endParaRPr lang="en-US" sz="1800" b="0" dirty="0"/>
          </a:p>
        </p:txBody>
      </p:sp>
    </p:spTree>
    <p:extLst>
      <p:ext uri="{BB962C8B-B14F-4D97-AF65-F5344CB8AC3E}">
        <p14:creationId xmlns:p14="http://schemas.microsoft.com/office/powerpoint/2010/main" val="6141133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EC0ABFA2-B092-431F-976D-66AB266C0C0B}"/>
              </a:ext>
            </a:extLst>
          </p:cNvPr>
          <p:cNvSpPr>
            <a:spLocks noGrp="1" noRot="1" noChangeAspect="1" noChangeArrowheads="1" noTextEdit="1"/>
          </p:cNvSpPr>
          <p:nvPr>
            <p:ph type="sldImg"/>
          </p:nvPr>
        </p:nvSpPr>
        <p:spPr>
          <a:ln/>
        </p:spPr>
      </p:sp>
      <p:sp>
        <p:nvSpPr>
          <p:cNvPr id="166915" name="Notes Placeholder 2">
            <a:extLst>
              <a:ext uri="{FF2B5EF4-FFF2-40B4-BE49-F238E27FC236}">
                <a16:creationId xmlns:a16="http://schemas.microsoft.com/office/drawing/2014/main" id="{80566BF2-13A5-42A3-8563-10552BAD1A0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66916" name="Slide Number Placeholder 3">
            <a:extLst>
              <a:ext uri="{FF2B5EF4-FFF2-40B4-BE49-F238E27FC236}">
                <a16:creationId xmlns:a16="http://schemas.microsoft.com/office/drawing/2014/main" id="{D49BBA5C-91E8-4C59-96BA-F154B8E22D8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11B95DDD-04BC-4933-B111-8995EDF64C8A}" type="slidenum">
              <a:rPr lang="en-US" altLang="en-US" sz="1000" smtClean="0">
                <a:solidFill>
                  <a:schemeClr val="bg2"/>
                </a:solidFill>
              </a:rPr>
              <a:pPr/>
              <a:t>50</a:t>
            </a:fld>
            <a:endParaRPr lang="en-US" altLang="en-US" sz="1000">
              <a:solidFill>
                <a:schemeClr val="bg2"/>
              </a:solidFill>
            </a:endParaRPr>
          </a:p>
        </p:txBody>
      </p:sp>
    </p:spTree>
    <p:extLst>
      <p:ext uri="{BB962C8B-B14F-4D97-AF65-F5344CB8AC3E}">
        <p14:creationId xmlns:p14="http://schemas.microsoft.com/office/powerpoint/2010/main" val="1326249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kern="1200" dirty="0">
                <a:solidFill>
                  <a:schemeClr val="tx1"/>
                </a:solidFill>
                <a:latin typeface="Arial" charset="0"/>
                <a:ea typeface="+mn-ea"/>
                <a:cs typeface="+mn-cs"/>
              </a:rPr>
              <a:t>Digital transformation is driving new applications and consumption models that are shaping enterprise IT infrastructure strategies. IT needs to deliver applications, both new and traditional, faster than ever before. The business will not wait, and users demand a proven, simplified experience. The public cloud is now a requirement, and the capability for on-premises resources to be connected with a portfolio of clouds (public, SaaS, etc.) to optimize cost, performance, SLAs, etc., is crucial for success. In this </a:t>
            </a:r>
            <a:r>
              <a:rPr lang="en-US" sz="1000" kern="1200" dirty="0" err="1">
                <a:solidFill>
                  <a:schemeClr val="tx1"/>
                </a:solidFill>
                <a:latin typeface="Arial" charset="0"/>
                <a:ea typeface="+mn-ea"/>
                <a:cs typeface="+mn-cs"/>
              </a:rPr>
              <a:t>multicloud</a:t>
            </a:r>
            <a:r>
              <a:rPr lang="en-US" sz="1000" kern="1200" dirty="0">
                <a:solidFill>
                  <a:schemeClr val="tx1"/>
                </a:solidFill>
                <a:latin typeface="Arial" charset="0"/>
                <a:ea typeface="+mn-ea"/>
                <a:cs typeface="+mn-cs"/>
              </a:rPr>
              <a:t> world, IT teams need to be able to easily deploy and manage applications in multiple data center, private cloud, and public cloud environments. These trends are driving the need for new platforms and solutions with secure connectivity, accelerated computing, </a:t>
            </a:r>
            <a:r>
              <a:rPr lang="en-US" sz="1000" kern="1200" dirty="0" err="1">
                <a:solidFill>
                  <a:schemeClr val="tx1"/>
                </a:solidFill>
                <a:latin typeface="Arial" charset="0"/>
                <a:ea typeface="+mn-ea"/>
                <a:cs typeface="+mn-cs"/>
              </a:rPr>
              <a:t>multicloud</a:t>
            </a:r>
            <a:r>
              <a:rPr lang="en-US" sz="1000" kern="1200" dirty="0">
                <a:solidFill>
                  <a:schemeClr val="tx1"/>
                </a:solidFill>
                <a:latin typeface="Arial" charset="0"/>
                <a:ea typeface="+mn-ea"/>
                <a:cs typeface="+mn-cs"/>
              </a:rPr>
              <a:t> orchestration, and operational analytics capabilities. </a:t>
            </a:r>
            <a:r>
              <a:rPr lang="en-US" sz="1000" kern="1200" dirty="0" err="1">
                <a:solidFill>
                  <a:schemeClr val="tx1"/>
                </a:solidFill>
                <a:latin typeface="Arial" charset="0"/>
                <a:ea typeface="+mn-ea"/>
                <a:cs typeface="+mn-cs"/>
              </a:rPr>
              <a:t>FlexPod</a:t>
            </a:r>
            <a:r>
              <a:rPr lang="en-US" sz="1000" kern="1200" dirty="0">
                <a:solidFill>
                  <a:schemeClr val="tx1"/>
                </a:solidFill>
                <a:latin typeface="Arial" charset="0"/>
                <a:ea typeface="+mn-ea"/>
                <a:cs typeface="+mn-cs"/>
              </a:rPr>
              <a:t> integrates the latest innovations from Cisco and NetApp, helping IT unleash the potential of your data and accelerate the delivery of modern applications with a trusted platform for innovation that is tailored to meet the needs of your business and unmatched versatility to support your </a:t>
            </a:r>
            <a:r>
              <a:rPr lang="en-US" sz="1000" kern="1200" dirty="0" err="1">
                <a:solidFill>
                  <a:schemeClr val="tx1"/>
                </a:solidFill>
                <a:latin typeface="Arial" charset="0"/>
                <a:ea typeface="+mn-ea"/>
                <a:cs typeface="+mn-cs"/>
              </a:rPr>
              <a:t>multicloud</a:t>
            </a:r>
            <a:r>
              <a:rPr lang="en-US" sz="1000" kern="1200" dirty="0">
                <a:solidFill>
                  <a:schemeClr val="tx1"/>
                </a:solidFill>
                <a:latin typeface="Arial" charset="0"/>
                <a:ea typeface="+mn-ea"/>
                <a:cs typeface="+mn-cs"/>
              </a:rPr>
              <a:t> strategy. </a:t>
            </a:r>
            <a:endParaRPr lang="en-US" sz="1800" dirty="0">
              <a:solidFill>
                <a:srgbClr val="000000"/>
              </a:solidFill>
              <a:ea typeface="Arial Rounded MT Bold"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000" b="0" i="0" u="none" strike="noStrike" kern="1200" cap="none" spc="0" normalizeH="0" baseline="0" noProof="0" dirty="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3556734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err="1">
                <a:latin typeface="Arial" panose="020B0604020202020204" pitchFamily="34" charset="0"/>
              </a:rPr>
              <a:t>FlexPod</a:t>
            </a:r>
            <a:r>
              <a:rPr lang="en-US" altLang="en-US" dirty="0">
                <a:latin typeface="Arial" panose="020B0604020202020204" pitchFamily="34" charset="0"/>
              </a:rPr>
              <a:t> is the platform that will enable you to unleash the potential of your data—a platform for innovation that provides unmatched versatility and is trusted worldwide.</a:t>
            </a:r>
          </a:p>
          <a:p>
            <a:endParaRPr lang="en-US" altLang="en-US" dirty="0">
              <a:latin typeface="Arial" panose="020B0604020202020204" pitchFamily="34" charset="0"/>
            </a:endParaRPr>
          </a:p>
          <a:p>
            <a:r>
              <a:rPr lang="en-US" altLang="en-US" dirty="0" err="1">
                <a:latin typeface="Arial" panose="020B0604020202020204" pitchFamily="34" charset="0"/>
              </a:rPr>
              <a:t>FlexPod</a:t>
            </a:r>
            <a:r>
              <a:rPr lang="en-US" altLang="en-US" dirty="0">
                <a:latin typeface="Arial" panose="020B0604020202020204" pitchFamily="34" charset="0"/>
              </a:rPr>
              <a:t> fuels your adoption of innovative technologies with a core platform for your cloud strategy. With </a:t>
            </a:r>
            <a:r>
              <a:rPr lang="en-US" altLang="en-US" dirty="0" err="1">
                <a:latin typeface="Arial" panose="020B0604020202020204" pitchFamily="34" charset="0"/>
              </a:rPr>
              <a:t>FlexPod</a:t>
            </a:r>
            <a:r>
              <a:rPr lang="en-US" altLang="en-US" dirty="0">
                <a:latin typeface="Arial" panose="020B0604020202020204" pitchFamily="34" charset="0"/>
              </a:rPr>
              <a:t> you can easily implement cloud solutions to extend your infrastructure while taking advantage of next-generation technologies like ML and AI.</a:t>
            </a:r>
          </a:p>
          <a:p>
            <a:endParaRPr lang="en-US" altLang="en-US" dirty="0">
              <a:latin typeface="Arial" panose="020B0604020202020204" pitchFamily="34" charset="0"/>
            </a:endParaRPr>
          </a:p>
          <a:p>
            <a:r>
              <a:rPr lang="en-US" altLang="en-US" dirty="0" err="1">
                <a:latin typeface="Arial" panose="020B0604020202020204" pitchFamily="34" charset="0"/>
              </a:rPr>
              <a:t>FlexPod</a:t>
            </a:r>
            <a:r>
              <a:rPr lang="en-US" altLang="en-US" dirty="0">
                <a:latin typeface="Arial" panose="020B0604020202020204" pitchFamily="34" charset="0"/>
              </a:rPr>
              <a:t> also provides unmatched versatility in the marketplace, as multiple, flexible configurations and models ensure that your </a:t>
            </a:r>
            <a:r>
              <a:rPr lang="en-US" altLang="en-US" dirty="0" err="1">
                <a:latin typeface="Arial" panose="020B0604020202020204" pitchFamily="34" charset="0"/>
              </a:rPr>
              <a:t>FlexPod</a:t>
            </a:r>
            <a:r>
              <a:rPr lang="en-US" altLang="en-US" dirty="0">
                <a:latin typeface="Arial" panose="020B0604020202020204" pitchFamily="34" charset="0"/>
              </a:rPr>
              <a:t> is tailored to meet the unique needs of your business.</a:t>
            </a:r>
          </a:p>
          <a:p>
            <a:endParaRPr lang="en-US" altLang="en-US" dirty="0">
              <a:latin typeface="Arial" panose="020B0604020202020204" pitchFamily="34" charset="0"/>
            </a:endParaRPr>
          </a:p>
          <a:p>
            <a:r>
              <a:rPr lang="en-US" altLang="en-US" dirty="0">
                <a:latin typeface="Arial" panose="020B0604020202020204" pitchFamily="34" charset="0"/>
              </a:rPr>
              <a:t>Finally, </a:t>
            </a:r>
            <a:r>
              <a:rPr lang="en-US" altLang="en-US" dirty="0" err="1">
                <a:latin typeface="Arial" panose="020B0604020202020204" pitchFamily="34" charset="0"/>
              </a:rPr>
              <a:t>FlexPod</a:t>
            </a:r>
            <a:r>
              <a:rPr lang="en-US" altLang="en-US" dirty="0">
                <a:latin typeface="Arial" panose="020B0604020202020204" pitchFamily="34" charset="0"/>
              </a:rPr>
              <a:t> is a field-proven platform that is trusted worldwide—as evidenced by its continued growth and momentum in the marketplace. </a:t>
            </a:r>
          </a:p>
          <a:p>
            <a:endParaRPr lang="en-US" altLang="en-US" dirty="0">
              <a:latin typeface="Arial" panose="020B0604020202020204" pitchFamily="34" charset="0"/>
            </a:endParaRPr>
          </a:p>
          <a:p>
            <a:r>
              <a:rPr lang="en-US" altLang="en-US" dirty="0">
                <a:latin typeface="Arial" panose="020B0604020202020204" pitchFamily="34" charset="0"/>
              </a:rPr>
              <a:t>Let’s drill into what </a:t>
            </a:r>
            <a:r>
              <a:rPr lang="en-US" altLang="en-US" dirty="0" err="1">
                <a:latin typeface="Arial" panose="020B0604020202020204" pitchFamily="34" charset="0"/>
              </a:rPr>
              <a:t>FlexPod</a:t>
            </a:r>
            <a:r>
              <a:rPr lang="en-US" altLang="en-US" dirty="0">
                <a:latin typeface="Arial" panose="020B0604020202020204" pitchFamily="34" charset="0"/>
              </a:rPr>
              <a:t> can offer your business.</a:t>
            </a:r>
          </a:p>
          <a:p>
            <a:endParaRPr lang="en-US" altLang="en-US" dirty="0">
              <a:latin typeface="Arial" panose="020B0604020202020204" pitchFamily="34" charset="0"/>
            </a:endParaRPr>
          </a:p>
          <a:p>
            <a:r>
              <a:rPr lang="en-US" altLang="en-US" dirty="0">
                <a:latin typeface="Arial" panose="020B0604020202020204" pitchFamily="34" charset="0"/>
              </a:rPr>
              <a:t>&lt;click&g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000" b="0" i="0" u="none" strike="noStrike" kern="1200" cap="none" spc="0" normalizeH="0" baseline="0" noProof="0" dirty="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3204735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defRPr/>
            </a:pPr>
            <a:r>
              <a:rPr lang="en-US" altLang="en-US" dirty="0">
                <a:solidFill>
                  <a:srgbClr val="FFFFFF"/>
                </a:solidFill>
              </a:rPr>
              <a:t>170+ validated designs. 9,000+ </a:t>
            </a:r>
            <a:r>
              <a:rPr lang="en-US" altLang="en-US" dirty="0" err="1">
                <a:solidFill>
                  <a:srgbClr val="FFFFFF"/>
                </a:solidFill>
              </a:rPr>
              <a:t>FlexPod</a:t>
            </a:r>
            <a:r>
              <a:rPr lang="en-US" altLang="en-US" dirty="0">
                <a:solidFill>
                  <a:srgbClr val="FFFFFF"/>
                </a:solidFill>
              </a:rPr>
              <a:t> customers.</a:t>
            </a:r>
          </a:p>
          <a:p>
            <a:pPr eaLnBrk="1" hangingPunct="1">
              <a:lnSpc>
                <a:spcPct val="90000"/>
              </a:lnSpc>
              <a:defRPr/>
            </a:pPr>
            <a:endParaRPr lang="en-US" altLang="en-US" dirty="0">
              <a:solidFill>
                <a:srgbClr val="FFFFFF"/>
              </a:solidFill>
            </a:endParaRPr>
          </a:p>
          <a:p>
            <a:pPr eaLnBrk="1" hangingPunct="1">
              <a:lnSpc>
                <a:spcPct val="90000"/>
              </a:lnSpc>
              <a:defRPr/>
            </a:pPr>
            <a:r>
              <a:rPr lang="en-US" altLang="en-US" dirty="0">
                <a:solidFill>
                  <a:srgbClr val="FFFFFF"/>
                </a:solidFill>
              </a:rPr>
              <a:t>Cisco and NetApp help manage </a:t>
            </a:r>
            <a:r>
              <a:rPr lang="en-US" altLang="en-US" dirty="0" err="1">
                <a:solidFill>
                  <a:srgbClr val="FFFFFF"/>
                </a:solidFill>
              </a:rPr>
              <a:t>FlexPod</a:t>
            </a:r>
            <a:r>
              <a:rPr lang="en-US" altLang="en-US" dirty="0">
                <a:solidFill>
                  <a:srgbClr val="FFFFFF"/>
                </a:solidFill>
              </a:rPr>
              <a:t>, protecting your customer’s investment throughout the entire lifecycle. Cisco and NetApp recreate customer environments in their labs for maximum support.</a:t>
            </a:r>
          </a:p>
          <a:p>
            <a:pPr marL="0" indent="0" eaLnBrk="1" hangingPunct="1">
              <a:lnSpc>
                <a:spcPct val="90000"/>
              </a:lnSpc>
              <a:buFont typeface="Arial" panose="020B0604020202020204" pitchFamily="34" charset="0"/>
              <a:buNone/>
              <a:defRPr/>
            </a:pPr>
            <a:endParaRPr lang="en-US" altLang="en-US" dirty="0">
              <a:solidFill>
                <a:srgbClr val="FFFFFF"/>
              </a:solidFill>
            </a:endParaRPr>
          </a:p>
          <a:p>
            <a:pPr eaLnBrk="1" hangingPunct="1">
              <a:lnSpc>
                <a:spcPct val="90000"/>
              </a:lnSpc>
              <a:defRPr/>
            </a:pPr>
            <a:r>
              <a:rPr lang="en-US" altLang="en-US" dirty="0">
                <a:solidFill>
                  <a:srgbClr val="FFFFFF"/>
                </a:solidFill>
              </a:rPr>
              <a:t>15+ years of partnership. Joint success: over $10B in revenue generated.</a:t>
            </a:r>
          </a:p>
          <a:p>
            <a:pPr eaLnBrk="1" hangingPunct="1">
              <a:lnSpc>
                <a:spcPct val="90000"/>
              </a:lnSpc>
              <a:defRPr/>
            </a:pPr>
            <a:endParaRPr lang="en-US" altLang="en-US" dirty="0">
              <a:solidFill>
                <a:srgbClr val="FFFFFF"/>
              </a:solidFill>
            </a:endParaRPr>
          </a:p>
          <a:p>
            <a:pPr eaLnBrk="1" hangingPunct="1">
              <a:lnSpc>
                <a:spcPct val="90000"/>
              </a:lnSpc>
              <a:defRPr/>
            </a:pPr>
            <a:r>
              <a:rPr lang="en-US" altLang="en-US" dirty="0">
                <a:solidFill>
                  <a:srgbClr val="FFFFFF"/>
                </a:solidFill>
              </a:rPr>
              <a:t>250+ person-years of joint engineering have gone into </a:t>
            </a:r>
            <a:r>
              <a:rPr lang="en-US" altLang="en-US" dirty="0" err="1">
                <a:solidFill>
                  <a:srgbClr val="FFFFFF"/>
                </a:solidFill>
              </a:rPr>
              <a:t>FlexPod</a:t>
            </a:r>
            <a:r>
              <a:rPr lang="en-US" altLang="en-US" dirty="0">
                <a:solidFill>
                  <a:srgbClr val="FFFFFF"/>
                </a:solidFill>
              </a:rPr>
              <a:t>® since its inception.</a:t>
            </a:r>
            <a:endParaRPr lang="en-US" dirty="0"/>
          </a:p>
        </p:txBody>
      </p:sp>
      <p:sp>
        <p:nvSpPr>
          <p:cNvPr id="4" name="Slide Number Placeholder 3"/>
          <p:cNvSpPr>
            <a:spLocks noGrp="1"/>
          </p:cNvSpPr>
          <p:nvPr>
            <p:ph type="sldNum" sz="quarter" idx="5"/>
          </p:nvPr>
        </p:nvSpPr>
        <p:spPr/>
        <p:txBody>
          <a:bodyPr/>
          <a:lstStyle/>
          <a:p>
            <a:pPr>
              <a:defRPr/>
            </a:pPr>
            <a:fld id="{55924FFC-41EC-40A6-8CA1-699214E4588D}" type="slidenum">
              <a:rPr lang="en-US" smtClean="0"/>
              <a:pPr>
                <a:defRPr/>
              </a:pPr>
              <a:t>8</a:t>
            </a:fld>
            <a:endParaRPr lang="en-US" dirty="0"/>
          </a:p>
        </p:txBody>
      </p:sp>
    </p:spTree>
    <p:extLst>
      <p:ext uri="{BB962C8B-B14F-4D97-AF65-F5344CB8AC3E}">
        <p14:creationId xmlns:p14="http://schemas.microsoft.com/office/powerpoint/2010/main" val="292084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2BCBBC1-09BD-6643-A535-D19D4D1ABB58}" type="slidenum">
              <a:rPr lang="en-US" smtClean="0"/>
              <a:pPr>
                <a:defRPr/>
              </a:pPr>
              <a:t>9</a:t>
            </a:fld>
            <a:endParaRPr lang="en-US" dirty="0"/>
          </a:p>
        </p:txBody>
      </p:sp>
    </p:spTree>
    <p:extLst>
      <p:ext uri="{BB962C8B-B14F-4D97-AF65-F5344CB8AC3E}">
        <p14:creationId xmlns:p14="http://schemas.microsoft.com/office/powerpoint/2010/main" val="1370899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309563"/>
            <a:ext cx="5991225" cy="3370262"/>
          </a:xfrm>
        </p:spPr>
      </p:sp>
      <p:sp>
        <p:nvSpPr>
          <p:cNvPr id="3" name="Notes Placeholder 2"/>
          <p:cNvSpPr>
            <a:spLocks noGrp="1"/>
          </p:cNvSpPr>
          <p:nvPr>
            <p:ph type="body" idx="1"/>
          </p:nvPr>
        </p:nvSpPr>
        <p:spPr/>
        <p:txBody>
          <a:bodyPr/>
          <a:lstStyle/>
          <a:p>
            <a:pPr eaLnBrk="1" hangingPunct="1"/>
            <a:r>
              <a:rPr lang="en-US" b="0" dirty="0">
                <a:solidFill>
                  <a:schemeClr val="tx1"/>
                </a:solidFill>
                <a:ea typeface="ＭＳ Ｐゴシック" pitchFamily="34" charset="-128"/>
                <a:cs typeface="Arial" charset="0"/>
              </a:rPr>
              <a:t>FlexPod is the converged</a:t>
            </a:r>
            <a:r>
              <a:rPr lang="en-US" b="0" baseline="0" dirty="0">
                <a:solidFill>
                  <a:schemeClr val="tx1"/>
                </a:solidFill>
                <a:ea typeface="ＭＳ Ｐゴシック" pitchFamily="34" charset="-128"/>
                <a:cs typeface="Arial" charset="0"/>
              </a:rPr>
              <a:t> infrastructure solution from NetApp and Cisco.</a:t>
            </a:r>
            <a:endParaRPr lang="en-US" b="0" dirty="0">
              <a:solidFill>
                <a:schemeClr val="tx1"/>
              </a:solidFill>
              <a:ea typeface="ＭＳ Ｐゴシック" pitchFamily="34" charset="-128"/>
              <a:cs typeface="Arial" charset="0"/>
            </a:endParaRPr>
          </a:p>
          <a:p>
            <a:pPr eaLnBrk="1" hangingPunct="1"/>
            <a:endParaRPr lang="en-US" b="0" dirty="0">
              <a:solidFill>
                <a:schemeClr val="tx1"/>
              </a:solidFill>
              <a:ea typeface="ＭＳ Ｐゴシック" pitchFamily="34" charset="-128"/>
              <a:cs typeface="Arial" charset="0"/>
            </a:endParaRPr>
          </a:p>
          <a:p>
            <a:pPr eaLnBrk="1" hangingPunct="1"/>
            <a:r>
              <a:rPr lang="en-US" b="0" dirty="0">
                <a:solidFill>
                  <a:schemeClr val="tx1"/>
                </a:solidFill>
                <a:ea typeface="ＭＳ Ｐゴシック" pitchFamily="34" charset="-128"/>
                <a:cs typeface="Arial" charset="0"/>
              </a:rPr>
              <a:t>FlexPod accelerates the transformation from infrastructure silos to a virtualized, shared environment with prevalidated, standardized, scalable building blocks that leverage a next-generation data center solution from Cisco, NetApp, and leading OS and hypervisor partners.</a:t>
            </a:r>
          </a:p>
          <a:p>
            <a:pPr eaLnBrk="1" hangingPunct="1"/>
            <a:endParaRPr lang="en-US" b="0" dirty="0">
              <a:solidFill>
                <a:schemeClr val="tx1"/>
              </a:solidFill>
              <a:ea typeface="ＭＳ Ｐゴシック" pitchFamily="34" charset="-128"/>
              <a:cs typeface="Arial" charset="0"/>
            </a:endParaRPr>
          </a:p>
          <a:p>
            <a:pPr defTabSz="912937" eaLnBrk="1" fontAlgn="auto" hangingPunct="1">
              <a:spcBef>
                <a:spcPts val="0"/>
              </a:spcBef>
              <a:spcAft>
                <a:spcPts val="0"/>
              </a:spcAft>
              <a:defRPr/>
            </a:pPr>
            <a:r>
              <a:rPr lang="en-US" b="0" dirty="0">
                <a:solidFill>
                  <a:schemeClr val="tx1"/>
                </a:solidFill>
                <a:ea typeface="ＭＳ Ｐゴシック" pitchFamily="34" charset="-128"/>
                <a:cs typeface="Arial" charset="0"/>
              </a:rPr>
              <a:t>The solution</a:t>
            </a:r>
            <a:r>
              <a:rPr lang="en-US" b="0" baseline="0" dirty="0">
                <a:solidFill>
                  <a:schemeClr val="tx1"/>
                </a:solidFill>
                <a:ea typeface="ＭＳ Ｐゴシック" pitchFamily="34" charset="-128"/>
                <a:cs typeface="Arial" charset="0"/>
              </a:rPr>
              <a:t> is</a:t>
            </a:r>
            <a:r>
              <a:rPr lang="en-US" b="0" dirty="0">
                <a:solidFill>
                  <a:schemeClr val="tx1"/>
                </a:solidFill>
                <a:ea typeface="ＭＳ Ｐゴシック" pitchFamily="34" charset="-128"/>
                <a:cs typeface="Arial" charset="0"/>
              </a:rPr>
              <a:t> prevalidated integrated, so customers can count on an effective</a:t>
            </a:r>
            <a:r>
              <a:rPr lang="en-US" b="0" baseline="0" dirty="0">
                <a:solidFill>
                  <a:schemeClr val="tx1"/>
                </a:solidFill>
                <a:ea typeface="ＭＳ Ｐゴシック" pitchFamily="34" charset="-128"/>
                <a:cs typeface="Arial" charset="0"/>
              </a:rPr>
              <a:t> infrastructure, with </a:t>
            </a:r>
            <a:r>
              <a:rPr lang="en-US" b="0" dirty="0">
                <a:solidFill>
                  <a:schemeClr val="tx1"/>
                </a:solidFill>
                <a:ea typeface="ＭＳ Ｐゴシック" pitchFamily="34" charset="-128"/>
                <a:cs typeface="Arial" charset="0"/>
              </a:rPr>
              <a:t>rapid, repeatable deployment, and centralized and simplified management.</a:t>
            </a:r>
          </a:p>
          <a:p>
            <a:pPr>
              <a:spcBef>
                <a:spcPts val="306"/>
              </a:spcBef>
              <a:buClr>
                <a:srgbClr val="84BD00"/>
              </a:buClr>
              <a:defRPr/>
            </a:pPr>
            <a:endParaRPr lang="en-US" b="0" baseline="0" dirty="0">
              <a:solidFill>
                <a:schemeClr val="tx1"/>
              </a:solidFill>
            </a:endParaRPr>
          </a:p>
          <a:p>
            <a:pPr>
              <a:spcBef>
                <a:spcPts val="306"/>
              </a:spcBef>
              <a:buClr>
                <a:srgbClr val="84BD00"/>
              </a:buClr>
              <a:defRPr/>
            </a:pPr>
            <a:r>
              <a:rPr lang="en-US" b="0" baseline="0" dirty="0">
                <a:solidFill>
                  <a:schemeClr val="tx1"/>
                </a:solidFill>
              </a:rPr>
              <a:t>FlexPod includes Cisco </a:t>
            </a:r>
            <a:r>
              <a:rPr lang="en-US" sz="1200" dirty="0">
                <a:solidFill>
                  <a:schemeClr val="tx1"/>
                </a:solidFill>
              </a:rPr>
              <a:t>Unified Computing System (Cisco UCS) server systems, which provide programmable, virtualized compute with an open API and support for orchestration tools. It has its own policy-based management with service profiles and self-integrating components. And works with the Cisco Nexus series switches for a unified fabric, virtualization awareness, simple scaling and high performance I/O.</a:t>
            </a:r>
          </a:p>
          <a:p>
            <a:pPr>
              <a:spcBef>
                <a:spcPts val="306"/>
              </a:spcBef>
              <a:buClr>
                <a:srgbClr val="84BD00"/>
              </a:buClr>
              <a:defRPr/>
            </a:pPr>
            <a:endParaRPr lang="en-US" sz="1200" dirty="0">
              <a:solidFill>
                <a:schemeClr val="tx1"/>
              </a:solidFill>
            </a:endParaRPr>
          </a:p>
          <a:p>
            <a:pPr>
              <a:lnSpc>
                <a:spcPct val="80000"/>
              </a:lnSpc>
              <a:buClr>
                <a:schemeClr val="accent3"/>
              </a:buClr>
            </a:pPr>
            <a:r>
              <a:rPr lang="en-US" sz="1200" dirty="0">
                <a:solidFill>
                  <a:schemeClr val="tx1"/>
                </a:solidFill>
              </a:rPr>
              <a:t>FlexPod also features NetApp FAS storage, along with clustered Data ONTAP. FlexPod stands apart from similar solutions thanks to truly unified storage that can be virtualize into pools and nondisruptively managed. FlexPod also uses OnCommand storage software that delivers the built-in storage efficiencies of Data ONTAP, integrated data protection and intelligent management and automat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924FFC-41EC-40A6-8CA1-699214E4588D}" type="slidenum">
              <a:rPr kumimoji="0" 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000" b="0" i="0" u="none" strike="noStrike" kern="1200" cap="none" spc="0" normalizeH="0" baseline="0" noProof="0" dirty="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3631781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9.xml"/><Relationship Id="rId5" Type="http://schemas.openxmlformats.org/officeDocument/2006/relationships/image" Target="../media/image57.png"/><Relationship Id="rId4" Type="http://schemas.openxmlformats.org/officeDocument/2006/relationships/image" Target="../media/image5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jpe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jpe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8.jpe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9.jp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0.jpe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0.xml"/><Relationship Id="rId5" Type="http://schemas.openxmlformats.org/officeDocument/2006/relationships/image" Target="../media/image75.jpeg"/><Relationship Id="rId4" Type="http://schemas.openxmlformats.org/officeDocument/2006/relationships/image" Target="../media/image74.png"/></Relationships>
</file>

<file path=ppt/slideLayouts/_rels/slideLayout164.xml.rels><?xml version="1.0" encoding="UTF-8" standalone="yes"?>
<Relationships xmlns="http://schemas.openxmlformats.org/package/2006/relationships"><Relationship Id="rId2" Type="http://schemas.openxmlformats.org/officeDocument/2006/relationships/hyperlink" Target="https://learningcenter.netapp.com/content/public/production/extra/legal/LegalNotice_WBT.pdf" TargetMode="External"/><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3.jp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12.xml"/><Relationship Id="rId4" Type="http://schemas.openxmlformats.org/officeDocument/2006/relationships/image" Target="../media/image28.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5.jpeg"/><Relationship Id="rId1" Type="http://schemas.openxmlformats.org/officeDocument/2006/relationships/slideMaster" Target="../slideMasters/slideMaster12.xml"/><Relationship Id="rId4" Type="http://schemas.openxmlformats.org/officeDocument/2006/relationships/image" Target="../media/image31.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6.jpe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3.xml"/><Relationship Id="rId1" Type="http://schemas.openxmlformats.org/officeDocument/2006/relationships/tags" Target="../tags/tag2.xml"/><Relationship Id="rId5" Type="http://schemas.openxmlformats.org/officeDocument/2006/relationships/image" Target="../media/image90.png"/><Relationship Id="rId4" Type="http://schemas.openxmlformats.org/officeDocument/2006/relationships/image" Target="../media/image89.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4.xml"/><Relationship Id="rId4" Type="http://schemas.openxmlformats.org/officeDocument/2006/relationships/image" Target="../media/image93.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5.xml"/><Relationship Id="rId5" Type="http://schemas.openxmlformats.org/officeDocument/2006/relationships/image" Target="../media/image57.png"/><Relationship Id="rId4" Type="http://schemas.openxmlformats.org/officeDocument/2006/relationships/image" Target="../media/image56.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jpe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0.jpe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4.pn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6.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3.jp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16.xml"/><Relationship Id="rId4" Type="http://schemas.openxmlformats.org/officeDocument/2006/relationships/image" Target="../media/image28.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5.jpeg"/><Relationship Id="rId1" Type="http://schemas.openxmlformats.org/officeDocument/2006/relationships/slideMaster" Target="../slideMasters/slideMaster16.xml"/><Relationship Id="rId4" Type="http://schemas.openxmlformats.org/officeDocument/2006/relationships/image" Target="../media/image31.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6.jpeg"/><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7.xml"/><Relationship Id="rId5" Type="http://schemas.openxmlformats.org/officeDocument/2006/relationships/image" Target="../media/image57.png"/><Relationship Id="rId4" Type="http://schemas.openxmlformats.org/officeDocument/2006/relationships/image" Target="../media/image56.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jpe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4.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5.jpe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e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7.jpe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
    <p:spTree>
      <p:nvGrpSpPr>
        <p:cNvPr id="1" name=""/>
        <p:cNvGrpSpPr/>
        <p:nvPr/>
      </p:nvGrpSpPr>
      <p:grpSpPr>
        <a:xfrm>
          <a:off x="0" y="0"/>
          <a:ext cx="0" cy="0"/>
          <a:chOff x="0" y="0"/>
          <a:chExt cx="0" cy="0"/>
        </a:xfrm>
      </p:grpSpPr>
      <p:pic>
        <p:nvPicPr>
          <p:cNvPr id="4" name="Picture 7" descr="FlexPod-shipping-containers-2.jpg">
            <a:extLst>
              <a:ext uri="{FF2B5EF4-FFF2-40B4-BE49-F238E27FC236}">
                <a16:creationId xmlns:a16="http://schemas.microsoft.com/office/drawing/2014/main" id="{19EAC570-2A00-42C4-89AF-F508D9D5BE5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8449E220-1C0F-4D0B-B4B0-E64E43C0470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3624162"/>
            <a:ext cx="5740498" cy="633663"/>
          </a:xfrm>
          <a:prstGeom prst="rect">
            <a:avLst/>
          </a:prstGeom>
        </p:spPr>
        <p:txBody>
          <a:bodyPr/>
          <a:lstStyle>
            <a:lvl1pPr>
              <a:defRPr sz="4500" b="1">
                <a:solidFill>
                  <a:schemeClr val="tx2"/>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055859869"/>
      </p:ext>
    </p:extLst>
  </p:cSld>
  <p:clrMapOvr>
    <a:masterClrMapping/>
  </p:clrMapOvr>
  <p:transition spd="slow">
    <p:circl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4" name="Picture 7" descr="FlexPod-Flash-3.jpg">
            <a:extLst>
              <a:ext uri="{FF2B5EF4-FFF2-40B4-BE49-F238E27FC236}">
                <a16:creationId xmlns:a16="http://schemas.microsoft.com/office/drawing/2014/main" id="{BA9A38E1-EE33-403B-8D94-343B5EA82C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024B1C5A-2950-405D-82CF-30A5BEF5C5E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3624162"/>
            <a:ext cx="6400579"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58947683"/>
      </p:ext>
    </p:extLst>
  </p:cSld>
  <p:clrMapOvr>
    <a:masterClrMapping/>
  </p:clrMapOvr>
  <p:transition spd="slow">
    <p:circl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4" name="Picture 7" descr="FlexPod-Flash-3.jpg">
            <a:extLst>
              <a:ext uri="{FF2B5EF4-FFF2-40B4-BE49-F238E27FC236}">
                <a16:creationId xmlns:a16="http://schemas.microsoft.com/office/drawing/2014/main" id="{3D32B398-1E49-4DD2-92C5-8389A25D86B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702A6AA5-FE89-4FF3-A2C7-DB023CBD765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
            <a:extLst>
              <a:ext uri="{FF2B5EF4-FFF2-40B4-BE49-F238E27FC236}">
                <a16:creationId xmlns:a16="http://schemas.microsoft.com/office/drawing/2014/main" id="{210455B8-C60D-44EC-A3AF-5E98FDEEA600}"/>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9" name="Title 1"/>
          <p:cNvSpPr>
            <a:spLocks noGrp="1"/>
          </p:cNvSpPr>
          <p:nvPr>
            <p:ph type="ctrTitle"/>
          </p:nvPr>
        </p:nvSpPr>
        <p:spPr>
          <a:xfrm>
            <a:off x="634714" y="3624163"/>
            <a:ext cx="6400579" cy="633663"/>
          </a:xfrm>
          <a:prstGeom prst="rect">
            <a:avLst/>
          </a:prstGeom>
        </p:spPr>
        <p:txBody>
          <a:bodyPr anchor="b"/>
          <a:lstStyle>
            <a:lvl1pPr>
              <a:defRPr sz="4500" b="1">
                <a:solidFill>
                  <a:schemeClr val="bg1"/>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3" y="4313980"/>
            <a:ext cx="5529263" cy="829520"/>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194277171"/>
      </p:ext>
    </p:extLst>
  </p:cSld>
  <p:clrMapOvr>
    <a:masterClrMapping/>
  </p:clrMapOvr>
  <p:transition spd="slow">
    <p:circl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4" name="Picture 7" descr="FlexPod-shipping-containers-2.jpg">
            <a:extLst>
              <a:ext uri="{FF2B5EF4-FFF2-40B4-BE49-F238E27FC236}">
                <a16:creationId xmlns:a16="http://schemas.microsoft.com/office/drawing/2014/main" id="{CC3F6F15-7AFE-4ADD-99B9-15B91301D44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A3F7B237-802E-431A-B695-A4F9B904A9D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
            <a:extLst>
              <a:ext uri="{FF2B5EF4-FFF2-40B4-BE49-F238E27FC236}">
                <a16:creationId xmlns:a16="http://schemas.microsoft.com/office/drawing/2014/main" id="{56246C71-D68B-4860-A230-E63FE74DC596}"/>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dirty="0">
                <a:solidFill>
                  <a:schemeClr val="bg1"/>
                </a:solidFill>
                <a:cs typeface="Calibri" panose="020F0502020204030204" pitchFamily="34" charset="0"/>
              </a:rPr>
              <a:t>© 2020 NetApp, Inc. Cisco, Inc. All rights reserved.    </a:t>
            </a:r>
          </a:p>
        </p:txBody>
      </p:sp>
      <p:sp>
        <p:nvSpPr>
          <p:cNvPr id="9" name="Title 1"/>
          <p:cNvSpPr>
            <a:spLocks noGrp="1"/>
          </p:cNvSpPr>
          <p:nvPr>
            <p:ph type="ctrTitle"/>
          </p:nvPr>
        </p:nvSpPr>
        <p:spPr>
          <a:xfrm>
            <a:off x="634715" y="3624163"/>
            <a:ext cx="5740498" cy="633663"/>
          </a:xfrm>
          <a:prstGeom prst="rect">
            <a:avLst/>
          </a:prstGeom>
        </p:spPr>
        <p:txBody>
          <a:bodyPr anchor="b"/>
          <a:lstStyle>
            <a:lvl1pPr>
              <a:defRPr sz="4500" b="1">
                <a:solidFill>
                  <a:schemeClr val="tx2"/>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3" y="4313980"/>
            <a:ext cx="5529263" cy="829520"/>
          </a:xfrm>
          <a:prstGeom prst="rect">
            <a:avLst/>
          </a:prstGeom>
        </p:spPr>
        <p:txBody>
          <a:bodyPr/>
          <a:lstStyle>
            <a:lvl1pPr marL="0" indent="0" algn="l">
              <a:buNone/>
              <a:defRPr sz="1800">
                <a:solidFill>
                  <a:schemeClr val="tx2"/>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99033379"/>
      </p:ext>
    </p:extLst>
  </p:cSld>
  <p:clrMapOvr>
    <a:masterClrMapping/>
  </p:clrMapOvr>
  <p:transition spd="slow">
    <p:circl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4" name="Picture 7" descr="FlexPod-LA-2.jpg">
            <a:extLst>
              <a:ext uri="{FF2B5EF4-FFF2-40B4-BE49-F238E27FC236}">
                <a16:creationId xmlns:a16="http://schemas.microsoft.com/office/drawing/2014/main" id="{8873CE55-F25C-4B5E-BF03-63229EABD5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175B7C63-E9F7-4CFF-A6B2-59FF82E0928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
            <a:extLst>
              <a:ext uri="{FF2B5EF4-FFF2-40B4-BE49-F238E27FC236}">
                <a16:creationId xmlns:a16="http://schemas.microsoft.com/office/drawing/2014/main" id="{71F058D1-EF17-4BB3-9DC7-F46A271C4885}"/>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9" name="Title 1"/>
          <p:cNvSpPr>
            <a:spLocks noGrp="1"/>
          </p:cNvSpPr>
          <p:nvPr>
            <p:ph type="ctrTitle"/>
          </p:nvPr>
        </p:nvSpPr>
        <p:spPr>
          <a:xfrm>
            <a:off x="634714" y="1382546"/>
            <a:ext cx="5707077" cy="633663"/>
          </a:xfrm>
          <a:prstGeom prst="rect">
            <a:avLst/>
          </a:prstGeom>
        </p:spPr>
        <p:txBody>
          <a:bodyPr anchor="b"/>
          <a:lstStyle>
            <a:lvl1pPr>
              <a:defRPr sz="4500" b="1">
                <a:solidFill>
                  <a:schemeClr val="bg1"/>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3" y="2072364"/>
            <a:ext cx="5529263" cy="829520"/>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518762144"/>
      </p:ext>
    </p:extLst>
  </p:cSld>
  <p:clrMapOvr>
    <a:masterClrMapping/>
  </p:clrMapOvr>
  <p:transition spd="slow">
    <p:circl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4" name="Picture 7" descr="FSA-Image-2.jpg">
            <a:extLst>
              <a:ext uri="{FF2B5EF4-FFF2-40B4-BE49-F238E27FC236}">
                <a16:creationId xmlns:a16="http://schemas.microsoft.com/office/drawing/2014/main" id="{7FB37FDB-8467-4C32-99C4-8B58297B9E3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3AF524C8-EC22-4DBE-912B-379583FBCFC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
            <a:extLst>
              <a:ext uri="{FF2B5EF4-FFF2-40B4-BE49-F238E27FC236}">
                <a16:creationId xmlns:a16="http://schemas.microsoft.com/office/drawing/2014/main" id="{9268ED9D-F06A-4E9F-B37C-0E4B4045CC36}"/>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9" name="Title 1"/>
          <p:cNvSpPr>
            <a:spLocks noGrp="1"/>
          </p:cNvSpPr>
          <p:nvPr>
            <p:ph type="ctrTitle"/>
          </p:nvPr>
        </p:nvSpPr>
        <p:spPr>
          <a:xfrm>
            <a:off x="634715" y="1382960"/>
            <a:ext cx="5840764" cy="633663"/>
          </a:xfrm>
          <a:prstGeom prst="rect">
            <a:avLst/>
          </a:prstGeom>
        </p:spPr>
        <p:txBody>
          <a:bodyPr anchor="b"/>
          <a:lstStyle>
            <a:lvl1pPr>
              <a:defRPr sz="4500" b="1">
                <a:solidFill>
                  <a:schemeClr val="tx2"/>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3" y="2072778"/>
            <a:ext cx="5529263" cy="829520"/>
          </a:xfrm>
          <a:prstGeom prst="rect">
            <a:avLst/>
          </a:prstGeom>
        </p:spPr>
        <p:txBody>
          <a:bodyPr/>
          <a:lstStyle>
            <a:lvl1pPr marL="0" indent="0" algn="l">
              <a:buNone/>
              <a:defRPr sz="1800">
                <a:solidFill>
                  <a:schemeClr val="tx2"/>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34323770"/>
      </p:ext>
    </p:extLst>
  </p:cSld>
  <p:clrMapOvr>
    <a:masterClrMapping/>
  </p:clrMapOvr>
  <p:transition spd="slow">
    <p:circl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3" name="Picture 7" descr="Screen Shot 2016-07-14 at 12.49.21 PM.png">
            <a:extLst>
              <a:ext uri="{FF2B5EF4-FFF2-40B4-BE49-F238E27FC236}">
                <a16:creationId xmlns:a16="http://schemas.microsoft.com/office/drawing/2014/main" id="{AEC67759-A3E8-4CB2-94B7-AEA04199A98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a:extLst>
              <a:ext uri="{FF2B5EF4-FFF2-40B4-BE49-F238E27FC236}">
                <a16:creationId xmlns:a16="http://schemas.microsoft.com/office/drawing/2014/main" id="{E7C48443-092D-4A7A-9C11-76DE548DCA21}"/>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5" name="Slide Number Placeholder 4">
            <a:extLst>
              <a:ext uri="{FF2B5EF4-FFF2-40B4-BE49-F238E27FC236}">
                <a16:creationId xmlns:a16="http://schemas.microsoft.com/office/drawing/2014/main" id="{C6C709C5-4E48-4A6D-8E7D-487298391272}"/>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F8FB6BA3-05E9-44F6-AFCE-F12305F7914F}"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3776987"/>
      </p:ext>
    </p:extLst>
  </p:cSld>
  <p:clrMapOvr>
    <a:masterClrMapping/>
  </p:clrMapOvr>
  <p:transition spd="slow">
    <p:circl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7" descr="Screen Shot 2016-07-13 at 2.49.37 PM.png">
            <a:extLst>
              <a:ext uri="{FF2B5EF4-FFF2-40B4-BE49-F238E27FC236}">
                <a16:creationId xmlns:a16="http://schemas.microsoft.com/office/drawing/2014/main" id="{D701D501-776F-4220-A8D2-183BB77F19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843203D6-E8C9-4005-BE0B-E48EA7524EA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2174D31B-E131-4F3F-8DFE-AEAB6BB8235E}"/>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6" name="Slide Number Placeholder 4">
            <a:extLst>
              <a:ext uri="{FF2B5EF4-FFF2-40B4-BE49-F238E27FC236}">
                <a16:creationId xmlns:a16="http://schemas.microsoft.com/office/drawing/2014/main" id="{067B30A6-C20E-473F-8349-41AC7E74F955}"/>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4243BE3A-466B-474E-A78E-5C7FE76E71E6}"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46881276"/>
      </p:ext>
    </p:extLst>
  </p:cSld>
  <p:clrMapOvr>
    <a:masterClrMapping/>
  </p:clrMapOvr>
  <p:transition spd="slow">
    <p:circl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3" name="Picture 7" descr="Screen Shot 2016-07-14 at 4.26.16 PM.png">
            <a:extLst>
              <a:ext uri="{FF2B5EF4-FFF2-40B4-BE49-F238E27FC236}">
                <a16:creationId xmlns:a16="http://schemas.microsoft.com/office/drawing/2014/main" id="{B7D7AFC8-FE72-4F78-B34E-3B1A4BD60BE3}"/>
              </a:ext>
            </a:extLst>
          </p:cNvPr>
          <p:cNvPicPr>
            <a:picLocks noChangeAspect="1"/>
          </p:cNvPicPr>
          <p:nvPr userDrawn="1"/>
        </p:nvPicPr>
        <p:blipFill>
          <a:blip r:embed="rId2">
            <a:extLst>
              <a:ext uri="{28A0092B-C50C-407E-A947-70E740481C1C}">
                <a14:useLocalDpi xmlns:a14="http://schemas.microsoft.com/office/drawing/2010/main" val="0"/>
              </a:ext>
            </a:extLst>
          </a:blip>
          <a:srcRect r="2107" b="66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BAAE1444-1C71-4E7D-A88E-4B333FF681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6AE7D154-C498-4E7C-AAAE-1CBA885D9DED}"/>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6" name="Slide Number Placeholder 4">
            <a:extLst>
              <a:ext uri="{FF2B5EF4-FFF2-40B4-BE49-F238E27FC236}">
                <a16:creationId xmlns:a16="http://schemas.microsoft.com/office/drawing/2014/main" id="{655196DB-E021-4694-959E-03D57CEAEC6B}"/>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5CC40D1B-367B-4100-A9BF-5939F6334D73}"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498207"/>
      </p:ext>
    </p:extLst>
  </p:cSld>
  <p:clrMapOvr>
    <a:masterClrMapping/>
  </p:clrMapOvr>
  <p:transition spd="slow">
    <p:circl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7" descr="Screen Shot 2016-07-14 at 2.40.14 PM.png">
            <a:extLst>
              <a:ext uri="{FF2B5EF4-FFF2-40B4-BE49-F238E27FC236}">
                <a16:creationId xmlns:a16="http://schemas.microsoft.com/office/drawing/2014/main" id="{03034B11-F8B6-46F3-9C6D-936E5C30A0D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9663EEDA-78C2-48B8-AEB2-7F6B9A542BE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322A9F54-8F43-4DC0-99F8-7E0AD18691F4}"/>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solidFill>
                  <a:schemeClr val="bg1"/>
                </a:solidFill>
                <a:cs typeface="Calibri" panose="020F0502020204030204" pitchFamily="34" charset="0"/>
              </a:rPr>
              <a:t>© 2019 NetApp, Inc. Cisco, Inc. All rights reserved. – CONFIDENTIAL –    </a:t>
            </a:r>
          </a:p>
        </p:txBody>
      </p:sp>
      <p:sp>
        <p:nvSpPr>
          <p:cNvPr id="6" name="Slide Number Placeholder 4">
            <a:extLst>
              <a:ext uri="{FF2B5EF4-FFF2-40B4-BE49-F238E27FC236}">
                <a16:creationId xmlns:a16="http://schemas.microsoft.com/office/drawing/2014/main" id="{C09BE0CB-79F6-4C5B-972C-F47673C013C1}"/>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1F8797BB-7AAF-4380-B243-6EAFDE846ED3}"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53521060"/>
      </p:ext>
    </p:extLst>
  </p:cSld>
  <p:clrMapOvr>
    <a:masterClrMapping/>
  </p:clrMapOvr>
  <p:transition spd="slow">
    <p:circl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7" descr="offset_379195.jpg">
            <a:extLst>
              <a:ext uri="{FF2B5EF4-FFF2-40B4-BE49-F238E27FC236}">
                <a16:creationId xmlns:a16="http://schemas.microsoft.com/office/drawing/2014/main" id="{2656A1F8-412C-455B-BCCF-9B49579A70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a:extLst>
              <a:ext uri="{FF2B5EF4-FFF2-40B4-BE49-F238E27FC236}">
                <a16:creationId xmlns:a16="http://schemas.microsoft.com/office/drawing/2014/main" id="{21F5D4D4-76B0-4259-9511-7456A73BE3C4}"/>
              </a:ext>
            </a:extLst>
          </p:cNvPr>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E62A3EE9-0FDE-426F-A2BF-E25AADB325D6}"/>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latin typeface="Arial" charset="0"/>
              </a:rPr>
              <a:t>© 2019 NetApp, Inc. Cisco, Inc. All rights reserved. </a:t>
            </a:r>
          </a:p>
        </p:txBody>
      </p:sp>
      <p:pic>
        <p:nvPicPr>
          <p:cNvPr id="6" name="Picture 10" descr="FlexPod_Reg_CMYK-withbubble.png">
            <a:extLst>
              <a:ext uri="{FF2B5EF4-FFF2-40B4-BE49-F238E27FC236}">
                <a16:creationId xmlns:a16="http://schemas.microsoft.com/office/drawing/2014/main" id="{47CAD84C-51B8-4A5C-A517-11FF1FB9100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4">
            <a:extLst>
              <a:ext uri="{FF2B5EF4-FFF2-40B4-BE49-F238E27FC236}">
                <a16:creationId xmlns:a16="http://schemas.microsoft.com/office/drawing/2014/main" id="{BBBDE315-E678-426E-B8D1-AB197BEF0379}"/>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3D7CED9B-6AAE-43B1-8A84-CAD8DCB45D1E}"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211620" y="800101"/>
            <a:ext cx="3725381" cy="1980785"/>
          </a:xfrm>
          <a:prstGeom prst="rect">
            <a:avLst/>
          </a:prstGeom>
        </p:spPr>
        <p:txBody>
          <a:bodyPr anchor="t"/>
          <a:lstStyle>
            <a:lvl1pPr>
              <a:defRPr sz="28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77550842"/>
      </p:ext>
    </p:extLst>
  </p:cSld>
  <p:clrMapOvr>
    <a:masterClrMapping/>
  </p:clrMapOvr>
  <p:transition spd="slow">
    <p:circl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7" descr="Screen Shot 2016-07-13 at 2.54.46 PM.png">
            <a:extLst>
              <a:ext uri="{FF2B5EF4-FFF2-40B4-BE49-F238E27FC236}">
                <a16:creationId xmlns:a16="http://schemas.microsoft.com/office/drawing/2014/main" id="{DDDA1749-29B8-4836-9C39-86D5077177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a:extLst>
              <a:ext uri="{FF2B5EF4-FFF2-40B4-BE49-F238E27FC236}">
                <a16:creationId xmlns:a16="http://schemas.microsoft.com/office/drawing/2014/main" id="{8BBB27B7-5C9D-4BC3-87B7-C74CB236ABE2}"/>
              </a:ext>
            </a:extLst>
          </p:cNvPr>
          <p:cNvSpPr>
            <a:spLocks noChangeArrowheads="1"/>
          </p:cNvSpPr>
          <p:nvPr userDrawn="1"/>
        </p:nvSpPr>
        <p:spPr bwMode="auto">
          <a:xfrm>
            <a:off x="0" y="0"/>
            <a:ext cx="6985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69441797-A962-46DD-9138-36CC1F2500C5}"/>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latin typeface="Arial" charset="0"/>
              </a:rPr>
              <a:t>© 2019 NetApp, Inc. Cisco, Inc. All rights reserved. </a:t>
            </a:r>
          </a:p>
        </p:txBody>
      </p:sp>
      <p:pic>
        <p:nvPicPr>
          <p:cNvPr id="6" name="Picture 10" descr="FlexPod_Reg_CMYK-withbubble.png">
            <a:extLst>
              <a:ext uri="{FF2B5EF4-FFF2-40B4-BE49-F238E27FC236}">
                <a16:creationId xmlns:a16="http://schemas.microsoft.com/office/drawing/2014/main" id="{86B280AF-6411-4F6B-B57C-8892F9081CC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4">
            <a:extLst>
              <a:ext uri="{FF2B5EF4-FFF2-40B4-BE49-F238E27FC236}">
                <a16:creationId xmlns:a16="http://schemas.microsoft.com/office/drawing/2014/main" id="{0FEC0026-034E-4444-BB9A-AFC5B008D556}"/>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C2A344E2-E7F4-41B8-A93B-395932D581E6}" type="slidenum">
              <a:rPr lang="en-US" sz="600" smtClean="0">
                <a:solidFill>
                  <a:schemeClr val="bg1"/>
                </a:solidFill>
                <a:latin typeface="+mn-lt"/>
              </a:rPr>
              <a:pPr>
                <a:defRPr/>
              </a:pPr>
              <a:t>‹#›</a:t>
            </a:fld>
            <a:endParaRPr lang="en-US" sz="600" dirty="0">
              <a:solidFill>
                <a:schemeClr val="bg1"/>
              </a:solidFill>
              <a:latin typeface="+mn-lt"/>
            </a:endParaRPr>
          </a:p>
        </p:txBody>
      </p:sp>
      <p:sp>
        <p:nvSpPr>
          <p:cNvPr id="9" name="Title 1"/>
          <p:cNvSpPr>
            <a:spLocks noGrp="1"/>
          </p:cNvSpPr>
          <p:nvPr>
            <p:ph type="ctrTitle"/>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313526701"/>
      </p:ext>
    </p:extLst>
  </p:cSld>
  <p:clrMapOvr>
    <a:masterClrMapping/>
  </p:clrMapOvr>
  <p:transition spd="slow">
    <p:circl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4" name="Picture 7" descr="FlexPod-shipping-containers-2.jpg">
            <a:extLst>
              <a:ext uri="{FF2B5EF4-FFF2-40B4-BE49-F238E27FC236}">
                <a16:creationId xmlns:a16="http://schemas.microsoft.com/office/drawing/2014/main" id="{A078DAEF-4DAA-48F0-8A86-C400802262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63367738-31A4-4DDF-9614-7CB8D6A04F6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3624162"/>
            <a:ext cx="5740498"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674881653"/>
      </p:ext>
    </p:extLst>
  </p:cSld>
  <p:clrMapOvr>
    <a:masterClrMapping/>
  </p:clrMapOvr>
  <p:transition spd="slow">
    <p:circl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41F4FA70-10B4-44F8-A833-A020E8DA6862}"/>
              </a:ext>
            </a:extLst>
          </p:cNvPr>
          <p:cNvSpPr>
            <a:spLocks noChangeArrowheads="1"/>
          </p:cNvSpPr>
          <p:nvPr userDrawn="1"/>
        </p:nvSpPr>
        <p:spPr bwMode="auto">
          <a:xfrm>
            <a:off x="5195888" y="0"/>
            <a:ext cx="3948112" cy="5143500"/>
          </a:xfrm>
          <a:prstGeom prst="rect">
            <a:avLst/>
          </a:prstGeom>
          <a:solidFill>
            <a:srgbClr val="3C3939"/>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DF776B77-8F8D-48C7-B72F-6BC6D5AAFC5F}"/>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latin typeface="Arial" charset="0"/>
              </a:rPr>
              <a:t>© 2019 NetApp, Inc. Cisco, Inc. All rights reserved. </a:t>
            </a:r>
          </a:p>
        </p:txBody>
      </p:sp>
      <p:pic>
        <p:nvPicPr>
          <p:cNvPr id="6" name="Picture 9" descr="FlexPod_Reg_CMYK-withbubble-white.png">
            <a:extLst>
              <a:ext uri="{FF2B5EF4-FFF2-40B4-BE49-F238E27FC236}">
                <a16:creationId xmlns:a16="http://schemas.microsoft.com/office/drawing/2014/main" id="{4C7A0CA4-5F74-405E-B099-3BDD8993C45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6" y="1835150"/>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758326"/>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070732136"/>
      </p:ext>
    </p:extLst>
  </p:cSld>
  <p:clrMapOvr>
    <a:masterClrMapping/>
  </p:clrMapOvr>
  <p:transition spd="slow">
    <p:circl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63F319B7-11C0-42CD-805C-559283223A1B}"/>
              </a:ext>
            </a:extLst>
          </p:cNvPr>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E3AED3CD-0B42-4DC1-A3C7-80A7EC6BBF5D}"/>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latin typeface="Arial" charset="0"/>
              </a:rPr>
              <a:t>© 2019 NetApp, Inc. Cisco, Inc. All rights reserved. </a:t>
            </a:r>
          </a:p>
        </p:txBody>
      </p:sp>
      <p:pic>
        <p:nvPicPr>
          <p:cNvPr id="6" name="Picture 9" descr="FlexPod_Reg_CMYK-withbubble-white.png">
            <a:extLst>
              <a:ext uri="{FF2B5EF4-FFF2-40B4-BE49-F238E27FC236}">
                <a16:creationId xmlns:a16="http://schemas.microsoft.com/office/drawing/2014/main" id="{1CC66062-E5A1-43B0-B804-32C14217E8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6" y="1835150"/>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758326"/>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1848562232"/>
      </p:ext>
    </p:extLst>
  </p:cSld>
  <p:clrMapOvr>
    <a:masterClrMapping/>
  </p:clrMapOvr>
  <p:transition spd="slow">
    <p:circl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47B0195A-8147-4B5B-8C63-CBBE211A1F21}"/>
              </a:ext>
            </a:extLst>
          </p:cNvPr>
          <p:cNvSpPr>
            <a:spLocks noChangeArrowheads="1"/>
          </p:cNvSpPr>
          <p:nvPr userDrawn="1"/>
        </p:nvSpPr>
        <p:spPr bwMode="auto">
          <a:xfrm>
            <a:off x="5195888" y="0"/>
            <a:ext cx="3948112" cy="5143500"/>
          </a:xfrm>
          <a:prstGeom prst="rect">
            <a:avLst/>
          </a:prstGeom>
          <a:solidFill>
            <a:srgbClr val="6FB533"/>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A41A32CD-ACE8-4074-B8A8-35155357F3B6}"/>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latin typeface="Arial" charset="0"/>
              </a:rPr>
              <a:t>© 2019 NetApp, Inc. Cisco, Inc. All rights reserved. </a:t>
            </a:r>
          </a:p>
        </p:txBody>
      </p:sp>
      <p:pic>
        <p:nvPicPr>
          <p:cNvPr id="6" name="Picture 9" descr="FlexPod_Reg_CMYK-withbubble-white.png">
            <a:extLst>
              <a:ext uri="{FF2B5EF4-FFF2-40B4-BE49-F238E27FC236}">
                <a16:creationId xmlns:a16="http://schemas.microsoft.com/office/drawing/2014/main" id="{BA9E602C-6CE6-4054-B910-F8B1E7FCDE8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6" y="1835150"/>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758326"/>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4001189907"/>
      </p:ext>
    </p:extLst>
  </p:cSld>
  <p:clrMapOvr>
    <a:masterClrMapping/>
  </p:clrMapOvr>
  <p:transition spd="slow">
    <p:circl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2" y="1846516"/>
            <a:ext cx="8696960" cy="2372961"/>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3246" y="758326"/>
            <a:ext cx="8617693" cy="419719"/>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1196010"/>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Edit Master text styles</a:t>
            </a:r>
          </a:p>
        </p:txBody>
      </p:sp>
    </p:spTree>
    <p:extLst>
      <p:ext uri="{BB962C8B-B14F-4D97-AF65-F5344CB8AC3E}">
        <p14:creationId xmlns:p14="http://schemas.microsoft.com/office/powerpoint/2010/main" val="1106979659"/>
      </p:ext>
    </p:extLst>
  </p:cSld>
  <p:clrMapOvr>
    <a:masterClrMapping/>
  </p:clrMapOvr>
  <p:transition spd="slow">
    <p:circl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5"/>
            <a:ext cx="8696960" cy="2871283"/>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1"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620412451"/>
      </p:ext>
    </p:extLst>
  </p:cSld>
  <p:clrMapOvr>
    <a:masterClrMapping/>
  </p:clrMapOvr>
  <p:transition spd="slow">
    <p:circl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Heading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6F9F80A8-1020-4CD0-89A5-C65DDC8911FC}"/>
              </a:ext>
            </a:extLst>
          </p:cNvPr>
          <p:cNvSpPr>
            <a:spLocks noGrp="1"/>
          </p:cNvSpPr>
          <p:nvPr>
            <p:ph type="ftr" sz="quarter" idx="10"/>
          </p:nvPr>
        </p:nvSpPr>
        <p:spPr>
          <a:xfrm>
            <a:off x="0" y="0"/>
            <a:ext cx="0" cy="0"/>
          </a:xfrm>
        </p:spPr>
        <p:txBody>
          <a:bodyPr/>
          <a:lstStyle>
            <a:lvl1pPr>
              <a:defRPr dirty="0">
                <a:hlinkClick r:id="" action="ppaction://noaction"/>
              </a:defRPr>
            </a:lvl1pPr>
          </a:lstStyle>
          <a:p>
            <a:pPr>
              <a:defRPr/>
            </a:pPr>
            <a:r>
              <a:rPr lang="en-US"/>
              <a:t>© 2015 NetApp, Inc. All rights reserved. NetApp Proprietary - Limited Use Only</a:t>
            </a:r>
          </a:p>
        </p:txBody>
      </p:sp>
    </p:spTree>
    <p:extLst>
      <p:ext uri="{BB962C8B-B14F-4D97-AF65-F5344CB8AC3E}">
        <p14:creationId xmlns:p14="http://schemas.microsoft.com/office/powerpoint/2010/main" val="27561618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44501" y="1002507"/>
            <a:ext cx="4051300" cy="3594894"/>
          </a:xfrm>
        </p:spPr>
        <p:txBody>
          <a:bodyPr/>
          <a:lstStyle>
            <a:lvl1pPr>
              <a:defRPr sz="2400">
                <a:solidFill>
                  <a:schemeClr val="tx1"/>
                </a:solidFill>
              </a:defRPr>
            </a:lvl1pPr>
            <a:lvl2pPr>
              <a:defRPr sz="2200">
                <a:solidFill>
                  <a:schemeClr val="tx1"/>
                </a:solidFill>
              </a:defRPr>
            </a:lvl2pPr>
            <a:lvl3pPr>
              <a:defRPr sz="22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72000" y="1002507"/>
            <a:ext cx="4222750" cy="3594894"/>
          </a:xfrm>
        </p:spPr>
        <p:txBody>
          <a:bodyPr/>
          <a:lstStyle>
            <a:lvl1pPr>
              <a:defRPr sz="2400">
                <a:solidFill>
                  <a:srgbClr val="4C4948"/>
                </a:solidFill>
              </a:defRPr>
            </a:lvl1pPr>
            <a:lvl2pPr>
              <a:defRPr sz="2200">
                <a:solidFill>
                  <a:srgbClr val="4C4948"/>
                </a:solidFill>
              </a:defRPr>
            </a:lvl2pPr>
            <a:lvl3pPr>
              <a:defRPr sz="2200">
                <a:solidFill>
                  <a:srgbClr val="4C4948"/>
                </a:solidFill>
              </a:defRPr>
            </a:lvl3pPr>
            <a:lvl4pPr>
              <a:defRPr sz="1800">
                <a:solidFill>
                  <a:srgbClr val="4C4948"/>
                </a:solidFill>
              </a:defRPr>
            </a:lvl4pPr>
            <a:lvl5pPr>
              <a:defRPr sz="1800">
                <a:solidFill>
                  <a:srgbClr val="4C4948"/>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a:extLst>
              <a:ext uri="{FF2B5EF4-FFF2-40B4-BE49-F238E27FC236}">
                <a16:creationId xmlns:a16="http://schemas.microsoft.com/office/drawing/2014/main" id="{DDFF136C-1A02-4367-80D4-2CD524C996BD}"/>
              </a:ext>
            </a:extLst>
          </p:cNvPr>
          <p:cNvSpPr>
            <a:spLocks noGrp="1" noChangeArrowheads="1"/>
          </p:cNvSpPr>
          <p:nvPr>
            <p:ph type="sldNum" sz="quarter" idx="10"/>
          </p:nvPr>
        </p:nvSpPr>
        <p:spPr bwMode="auto">
          <a:xfrm>
            <a:off x="8188325" y="4862513"/>
            <a:ext cx="592138" cy="130175"/>
          </a:xfrm>
          <a:prstGeom prst="rect">
            <a:avLst/>
          </a:prstGeom>
          <a:ln>
            <a:miter lim="800000"/>
            <a:headEnd/>
            <a:tailEnd/>
          </a:ln>
        </p:spPr>
        <p:txBody>
          <a:bodyPr vert="horz" wrap="square" lIns="0" tIns="0" rIns="0" bIns="0" numCol="1" anchor="t" anchorCtr="0" compatLnSpc="1">
            <a:prstTxWarp prst="textNoShape">
              <a:avLst/>
            </a:prstTxWarp>
          </a:bodyPr>
          <a:lstStyle>
            <a:lvl1pPr algn="r">
              <a:buClrTx/>
              <a:buFontTx/>
              <a:buNone/>
              <a:defRPr sz="900" b="1">
                <a:solidFill>
                  <a:srgbClr val="7F7F7F"/>
                </a:solidFill>
              </a:defRPr>
            </a:lvl1pPr>
          </a:lstStyle>
          <a:p>
            <a:pPr>
              <a:defRPr/>
            </a:pPr>
            <a:fld id="{4EED8DCA-B048-4D00-B61E-FC02220A4C14}" type="slidenum">
              <a:rPr lang="en-US"/>
              <a:pPr>
                <a:defRPr/>
              </a:pPr>
              <a:t>‹#›</a:t>
            </a:fld>
            <a:endParaRPr lang="en-US" dirty="0"/>
          </a:p>
        </p:txBody>
      </p:sp>
      <p:sp>
        <p:nvSpPr>
          <p:cNvPr id="6" name="Rectangle 71">
            <a:extLst>
              <a:ext uri="{FF2B5EF4-FFF2-40B4-BE49-F238E27FC236}">
                <a16:creationId xmlns:a16="http://schemas.microsoft.com/office/drawing/2014/main" id="{24678F6C-5D08-4A74-8031-76796F9E83F8}"/>
              </a:ext>
            </a:extLst>
          </p:cNvPr>
          <p:cNvSpPr>
            <a:spLocks noGrp="1" noChangeArrowheads="1"/>
          </p:cNvSpPr>
          <p:nvPr>
            <p:ph type="ftr" sz="quarter" idx="11"/>
          </p:nvPr>
        </p:nvSpPr>
        <p:spPr bwMode="auto">
          <a:xfrm>
            <a:off x="454025" y="4856163"/>
            <a:ext cx="5051425" cy="190500"/>
          </a:xfrm>
          <a:prstGeom prst="rect">
            <a:avLst/>
          </a:prstGeom>
          <a:ln>
            <a:miter lim="800000"/>
            <a:headEnd/>
            <a:tailEnd/>
          </a:ln>
        </p:spPr>
        <p:txBody>
          <a:bodyPr vert="horz" wrap="square" lIns="0" tIns="0" rIns="0" bIns="0" numCol="1" anchor="t" anchorCtr="0" compatLnSpc="1">
            <a:prstTxWarp prst="textNoShape">
              <a:avLst/>
            </a:prstTxWarp>
          </a:bodyPr>
          <a:lstStyle>
            <a:lvl1pPr algn="l">
              <a:buClrTx/>
              <a:buFontTx/>
              <a:buNone/>
              <a:defRPr sz="900" dirty="0">
                <a:solidFill>
                  <a:srgbClr val="7F7F7F"/>
                </a:solidFill>
              </a:defRPr>
            </a:lvl1pPr>
          </a:lstStyle>
          <a:p>
            <a:pPr>
              <a:defRPr/>
            </a:pPr>
            <a:r>
              <a:rPr lang="en-US"/>
              <a:t>© 2015 Cisco and NetApp. All rights reserved. </a:t>
            </a:r>
          </a:p>
        </p:txBody>
      </p:sp>
    </p:spTree>
    <p:extLst>
      <p:ext uri="{BB962C8B-B14F-4D97-AF65-F5344CB8AC3E}">
        <p14:creationId xmlns:p14="http://schemas.microsoft.com/office/powerpoint/2010/main" val="34739631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NO BOTTOM STRIPE Title +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1108077" y="960835"/>
            <a:ext cx="7633253" cy="3577610"/>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Slide Number Placeholder 2">
            <a:extLst>
              <a:ext uri="{FF2B5EF4-FFF2-40B4-BE49-F238E27FC236}">
                <a16:creationId xmlns:a16="http://schemas.microsoft.com/office/drawing/2014/main" id="{3DAB90C4-70B1-4F11-AA62-8740232E694C}"/>
              </a:ext>
            </a:extLst>
          </p:cNvPr>
          <p:cNvSpPr>
            <a:spLocks noGrp="1"/>
          </p:cNvSpPr>
          <p:nvPr>
            <p:ph type="sldNum" sz="quarter" idx="13"/>
          </p:nvPr>
        </p:nvSpPr>
        <p:spPr>
          <a:xfrm>
            <a:off x="0" y="0"/>
            <a:ext cx="0" cy="0"/>
          </a:xfrm>
        </p:spPr>
        <p:txBody>
          <a:bodyPr/>
          <a:lstStyle>
            <a:lvl1pPr>
              <a:defRPr/>
            </a:lvl1pPr>
          </a:lstStyle>
          <a:p>
            <a:pPr>
              <a:defRPr/>
            </a:pPr>
            <a:fld id="{BA027521-DD10-471E-B488-BFB6CC715636}" type="slidenum">
              <a:rPr lang="en-US"/>
              <a:pPr>
                <a:defRPr/>
              </a:pPr>
              <a:t>‹#›</a:t>
            </a:fld>
            <a:endParaRPr lang="en-US" dirty="0"/>
          </a:p>
        </p:txBody>
      </p:sp>
      <p:sp>
        <p:nvSpPr>
          <p:cNvPr id="5" name="Footer Placeholder 3">
            <a:extLst>
              <a:ext uri="{FF2B5EF4-FFF2-40B4-BE49-F238E27FC236}">
                <a16:creationId xmlns:a16="http://schemas.microsoft.com/office/drawing/2014/main" id="{6879D39D-674D-4EC8-928C-C44148D86739}"/>
              </a:ext>
            </a:extLst>
          </p:cNvPr>
          <p:cNvSpPr>
            <a:spLocks noGrp="1"/>
          </p:cNvSpPr>
          <p:nvPr>
            <p:ph type="ftr" sz="quarter" idx="14"/>
          </p:nvPr>
        </p:nvSpPr>
        <p:spPr>
          <a:xfrm>
            <a:off x="0" y="0"/>
            <a:ext cx="0" cy="0"/>
          </a:xfrm>
        </p:spPr>
        <p:txBody>
          <a:bodyPr/>
          <a:lstStyle>
            <a:lvl1pPr>
              <a:defRPr dirty="0">
                <a:solidFill>
                  <a:srgbClr val="000000"/>
                </a:solidFill>
              </a:defRPr>
            </a:lvl1pPr>
          </a:lstStyle>
          <a:p>
            <a:pPr>
              <a:defRPr/>
            </a:pPr>
            <a:r>
              <a:rPr lang="en-US"/>
              <a:t>© 2015 Cisco and NetApp. All rights reserved. </a:t>
            </a:r>
          </a:p>
        </p:txBody>
      </p:sp>
    </p:spTree>
    <p:extLst>
      <p:ext uri="{BB962C8B-B14F-4D97-AF65-F5344CB8AC3E}">
        <p14:creationId xmlns:p14="http://schemas.microsoft.com/office/powerpoint/2010/main" val="8423199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3449-ACB4-44A2-B195-60C8E4CAAC2F}"/>
              </a:ext>
            </a:extLst>
          </p:cNvPr>
          <p:cNvSpPr>
            <a:spLocks noChangeArrowheads="1"/>
          </p:cNvSpPr>
          <p:nvPr userDrawn="1"/>
        </p:nvSpPr>
        <p:spPr bwMode="auto">
          <a:xfrm>
            <a:off x="0" y="4533900"/>
            <a:ext cx="9144000" cy="2286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91438" tIns="45719" rIns="91438" bIns="45719" anchor="ct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pic>
        <p:nvPicPr>
          <p:cNvPr id="5" name="Picture 7" descr="FlexPod_Dots_RGB.jpg">
            <a:extLst>
              <a:ext uri="{FF2B5EF4-FFF2-40B4-BE49-F238E27FC236}">
                <a16:creationId xmlns:a16="http://schemas.microsoft.com/office/drawing/2014/main" id="{398077DF-87B2-41BE-91C8-DB152CFA24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86050" y="0"/>
            <a:ext cx="6457950" cy="180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2"/>
          </p:nvPr>
        </p:nvSpPr>
        <p:spPr>
          <a:xfrm>
            <a:off x="1655764" y="2743201"/>
            <a:ext cx="5888036" cy="651896"/>
          </a:xfrm>
        </p:spPr>
        <p:txBody>
          <a:bodyPr/>
          <a:lstStyle>
            <a:lvl1pPr marL="228588" indent="-228588" algn="l">
              <a:lnSpc>
                <a:spcPct val="100000"/>
              </a:lnSpc>
              <a:spcAft>
                <a:spcPts val="0"/>
              </a:spcAft>
              <a:buFont typeface="Wingdings" pitchFamily="2" charset="2"/>
              <a:buNone/>
              <a:defRPr sz="2400">
                <a:solidFill>
                  <a:schemeClr val="tx1"/>
                </a:solidFill>
              </a:defRPr>
            </a:lvl1pPr>
            <a:lvl2pPr marL="300023" indent="0">
              <a:buFontTx/>
              <a:buNone/>
              <a:defRPr sz="2200">
                <a:solidFill>
                  <a:schemeClr val="tx1">
                    <a:lumMod val="65000"/>
                    <a:lumOff val="35000"/>
                  </a:schemeClr>
                </a:solidFill>
              </a:defRPr>
            </a:lvl2pPr>
            <a:lvl3pPr marL="638143" indent="0">
              <a:buFontTx/>
              <a:buNone/>
              <a:defRPr sz="2200">
                <a:solidFill>
                  <a:schemeClr val="tx1">
                    <a:lumMod val="65000"/>
                    <a:lumOff val="35000"/>
                  </a:schemeClr>
                </a:solidFill>
              </a:defRPr>
            </a:lvl3pPr>
            <a:lvl4pPr marL="928642" indent="0">
              <a:buFontTx/>
              <a:buNone/>
              <a:defRPr sz="2200">
                <a:solidFill>
                  <a:schemeClr val="tx1">
                    <a:lumMod val="65000"/>
                    <a:lumOff val="35000"/>
                  </a:schemeClr>
                </a:solidFill>
              </a:defRPr>
            </a:lvl4pPr>
            <a:lvl5pPr marL="1238188" indent="0">
              <a:buFontTx/>
              <a:buNone/>
              <a:defRPr sz="2200">
                <a:solidFill>
                  <a:schemeClr val="tx1">
                    <a:lumMod val="65000"/>
                    <a:lumOff val="35000"/>
                  </a:schemeClr>
                </a:solidFill>
              </a:defRPr>
            </a:lvl5pPr>
          </a:lstStyle>
          <a:p>
            <a:pPr lvl="0"/>
            <a:r>
              <a:rPr lang="en-US"/>
              <a:t>Edit Master text styles</a:t>
            </a:r>
          </a:p>
        </p:txBody>
      </p:sp>
      <p:sp>
        <p:nvSpPr>
          <p:cNvPr id="9" name="Title 6"/>
          <p:cNvSpPr>
            <a:spLocks noGrp="1"/>
          </p:cNvSpPr>
          <p:nvPr>
            <p:ph type="title"/>
          </p:nvPr>
        </p:nvSpPr>
        <p:spPr>
          <a:xfrm>
            <a:off x="1655774" y="2063756"/>
            <a:ext cx="6116637" cy="654845"/>
          </a:xfrm>
        </p:spPr>
        <p:txBody>
          <a:bodyPr anchor="t"/>
          <a:lstStyle>
            <a:lvl1pPr algn="l">
              <a:lnSpc>
                <a:spcPts val="4000"/>
              </a:lnSpc>
              <a:defRPr sz="3600" b="1">
                <a:solidFill>
                  <a:schemeClr val="tx1"/>
                </a:solidFill>
              </a:defRPr>
            </a:lvl1pPr>
          </a:lstStyle>
          <a:p>
            <a:r>
              <a:rPr lang="en-US"/>
              <a:t>Click to edit Master title style</a:t>
            </a:r>
            <a:endParaRPr lang="en-US" dirty="0"/>
          </a:p>
        </p:txBody>
      </p:sp>
      <p:sp>
        <p:nvSpPr>
          <p:cNvPr id="6" name="Rectangle 6">
            <a:extLst>
              <a:ext uri="{FF2B5EF4-FFF2-40B4-BE49-F238E27FC236}">
                <a16:creationId xmlns:a16="http://schemas.microsoft.com/office/drawing/2014/main" id="{A45CDAB0-F473-4C5B-B3B4-81F29626F541}"/>
              </a:ext>
            </a:extLst>
          </p:cNvPr>
          <p:cNvSpPr>
            <a:spLocks noGrp="1" noChangeArrowheads="1"/>
          </p:cNvSpPr>
          <p:nvPr>
            <p:ph type="sldNum" sz="quarter" idx="13"/>
          </p:nvPr>
        </p:nvSpPr>
        <p:spPr bwMode="auto">
          <a:xfrm>
            <a:off x="8188325" y="4862513"/>
            <a:ext cx="592138" cy="130175"/>
          </a:xfrm>
          <a:prstGeom prst="rect">
            <a:avLst/>
          </a:prstGeom>
          <a:ln>
            <a:miter lim="800000"/>
            <a:headEnd/>
            <a:tailEnd/>
          </a:ln>
        </p:spPr>
        <p:txBody>
          <a:bodyPr vert="horz" wrap="square" lIns="0" tIns="0" rIns="0" bIns="0" numCol="1" anchor="t" anchorCtr="0" compatLnSpc="1">
            <a:prstTxWarp prst="textNoShape">
              <a:avLst/>
            </a:prstTxWarp>
          </a:bodyPr>
          <a:lstStyle>
            <a:lvl1pPr algn="r">
              <a:buClrTx/>
              <a:buFontTx/>
              <a:buNone/>
              <a:defRPr sz="900" b="1">
                <a:solidFill>
                  <a:srgbClr val="7F7F7F"/>
                </a:solidFill>
              </a:defRPr>
            </a:lvl1pPr>
          </a:lstStyle>
          <a:p>
            <a:pPr>
              <a:defRPr/>
            </a:pPr>
            <a:fld id="{72B0978C-9297-4230-A45F-C18BA688AC97}" type="slidenum">
              <a:rPr lang="en-US"/>
              <a:pPr>
                <a:defRPr/>
              </a:pPr>
              <a:t>‹#›</a:t>
            </a:fld>
            <a:endParaRPr lang="en-US" dirty="0"/>
          </a:p>
        </p:txBody>
      </p:sp>
      <p:sp>
        <p:nvSpPr>
          <p:cNvPr id="7" name="Rectangle 71">
            <a:extLst>
              <a:ext uri="{FF2B5EF4-FFF2-40B4-BE49-F238E27FC236}">
                <a16:creationId xmlns:a16="http://schemas.microsoft.com/office/drawing/2014/main" id="{8C8BF758-FBAF-4FFB-A765-C82F4806F409}"/>
              </a:ext>
            </a:extLst>
          </p:cNvPr>
          <p:cNvSpPr>
            <a:spLocks noGrp="1" noChangeArrowheads="1"/>
          </p:cNvSpPr>
          <p:nvPr>
            <p:ph type="ftr" sz="quarter" idx="14"/>
          </p:nvPr>
        </p:nvSpPr>
        <p:spPr bwMode="auto">
          <a:xfrm>
            <a:off x="454025" y="4856163"/>
            <a:ext cx="5051425" cy="190500"/>
          </a:xfrm>
          <a:prstGeom prst="rect">
            <a:avLst/>
          </a:prstGeom>
          <a:ln>
            <a:miter lim="800000"/>
            <a:headEnd/>
            <a:tailEnd/>
          </a:ln>
        </p:spPr>
        <p:txBody>
          <a:bodyPr vert="horz" wrap="square" lIns="0" tIns="0" rIns="0" bIns="0" numCol="1" anchor="t" anchorCtr="0" compatLnSpc="1">
            <a:prstTxWarp prst="textNoShape">
              <a:avLst/>
            </a:prstTxWarp>
          </a:bodyPr>
          <a:lstStyle>
            <a:lvl1pPr algn="l">
              <a:buClrTx/>
              <a:buFontTx/>
              <a:buNone/>
              <a:defRPr sz="900" dirty="0">
                <a:solidFill>
                  <a:srgbClr val="7F7F7F"/>
                </a:solidFill>
              </a:defRPr>
            </a:lvl1pPr>
          </a:lstStyle>
          <a:p>
            <a:pPr>
              <a:defRPr/>
            </a:pPr>
            <a:r>
              <a:rPr lang="en-US"/>
              <a:t>© 2015 Cisco and NetApp. All rights reserved. </a:t>
            </a:r>
          </a:p>
        </p:txBody>
      </p:sp>
    </p:spTree>
    <p:extLst>
      <p:ext uri="{BB962C8B-B14F-4D97-AF65-F5344CB8AC3E}">
        <p14:creationId xmlns:p14="http://schemas.microsoft.com/office/powerpoint/2010/main" val="34634592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0" name="Text Placeholder 2"/>
          <p:cNvSpPr>
            <a:spLocks noGrp="1"/>
          </p:cNvSpPr>
          <p:nvPr>
            <p:ph type="body" idx="10"/>
          </p:nvPr>
        </p:nvSpPr>
        <p:spPr bwMode="gray">
          <a:xfrm>
            <a:off x="281252" y="829813"/>
            <a:ext cx="8574733" cy="300083"/>
          </a:xfrm>
        </p:spPr>
        <p:txBody>
          <a:bodyPr/>
          <a:lstStyle>
            <a:lvl1pPr marL="0" indent="0">
              <a:spcBef>
                <a:spcPts val="0"/>
              </a:spcBef>
              <a:spcAft>
                <a:spcPts val="0"/>
              </a:spcAft>
              <a:buNone/>
              <a:defRPr sz="1400" b="0">
                <a:solidFill>
                  <a:schemeClr val="accent1"/>
                </a:solidFill>
              </a:defRPr>
            </a:lvl1pPr>
            <a:lvl2pPr marL="342938" indent="0">
              <a:buNone/>
              <a:defRPr sz="1500" b="1"/>
            </a:lvl2pPr>
            <a:lvl3pPr marL="685874" indent="0">
              <a:buNone/>
              <a:defRPr sz="1400" b="1"/>
            </a:lvl3pPr>
            <a:lvl4pPr marL="1028811" indent="0">
              <a:buNone/>
              <a:defRPr sz="1200" b="1"/>
            </a:lvl4pPr>
            <a:lvl5pPr marL="1371749" indent="0">
              <a:buNone/>
              <a:defRPr sz="1200" b="1"/>
            </a:lvl5pPr>
            <a:lvl6pPr marL="1714686" indent="0">
              <a:buNone/>
              <a:defRPr sz="1200" b="1"/>
            </a:lvl6pPr>
            <a:lvl7pPr marL="2057623" indent="0">
              <a:buNone/>
              <a:defRPr sz="1200" b="1"/>
            </a:lvl7pPr>
            <a:lvl8pPr marL="2400560" indent="0">
              <a:buNone/>
              <a:defRPr sz="1200" b="1"/>
            </a:lvl8pPr>
            <a:lvl9pPr marL="2743498" indent="0">
              <a:buNone/>
              <a:defRPr sz="1200" b="1"/>
            </a:lvl9pPr>
          </a:lstStyle>
          <a:p>
            <a:pPr lvl="0"/>
            <a:r>
              <a:rPr lang="en-US"/>
              <a:t>Edit Master text styles</a:t>
            </a:r>
          </a:p>
        </p:txBody>
      </p:sp>
      <p:sp>
        <p:nvSpPr>
          <p:cNvPr id="36" name="Text Placeholder 6"/>
          <p:cNvSpPr>
            <a:spLocks noGrp="1"/>
          </p:cNvSpPr>
          <p:nvPr>
            <p:ph type="body" sz="quarter" idx="15"/>
          </p:nvPr>
        </p:nvSpPr>
        <p:spPr>
          <a:xfrm>
            <a:off x="281061" y="4660108"/>
            <a:ext cx="7842070" cy="192194"/>
          </a:xfrm>
        </p:spPr>
        <p:txBody>
          <a:bodyPr anchor="ctr"/>
          <a:lstStyle>
            <a:lvl1pPr marL="0" indent="0">
              <a:lnSpc>
                <a:spcPct val="100000"/>
              </a:lnSpc>
              <a:spcBef>
                <a:spcPts val="0"/>
              </a:spcBef>
              <a:spcAft>
                <a:spcPts val="0"/>
              </a:spcAft>
              <a:buFontTx/>
              <a:buNone/>
              <a:defRPr sz="600" baseline="0">
                <a:solidFill>
                  <a:schemeClr val="bg2"/>
                </a:solidFill>
              </a:defRPr>
            </a:lvl1pPr>
            <a:lvl2pPr marL="171469" indent="0">
              <a:buFontTx/>
              <a:buNone/>
              <a:defRPr sz="600">
                <a:solidFill>
                  <a:schemeClr val="bg2"/>
                </a:solidFill>
              </a:defRPr>
            </a:lvl2pPr>
            <a:lvl3pPr marL="342938" indent="0">
              <a:buFontTx/>
              <a:buNone/>
              <a:defRPr sz="600">
                <a:solidFill>
                  <a:schemeClr val="bg2"/>
                </a:solidFill>
              </a:defRPr>
            </a:lvl3pPr>
            <a:lvl4pPr marL="514406"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5" name="Footer Placeholder 1">
            <a:extLst>
              <a:ext uri="{FF2B5EF4-FFF2-40B4-BE49-F238E27FC236}">
                <a16:creationId xmlns:a16="http://schemas.microsoft.com/office/drawing/2014/main" id="{4E0913FC-DBA0-4E66-AA40-66CC359C01E2}"/>
              </a:ext>
            </a:extLst>
          </p:cNvPr>
          <p:cNvSpPr>
            <a:spLocks noGrp="1"/>
          </p:cNvSpPr>
          <p:nvPr>
            <p:ph type="ftr" sz="quarter" idx="16"/>
          </p:nvPr>
        </p:nvSpPr>
        <p:spPr>
          <a:xfrm>
            <a:off x="0" y="0"/>
            <a:ext cx="0" cy="0"/>
          </a:xfrm>
        </p:spPr>
        <p:txBody>
          <a:bodyPr/>
          <a:lstStyle>
            <a:lvl1pPr>
              <a:defRPr dirty="0">
                <a:solidFill>
                  <a:srgbClr val="9EA2A2"/>
                </a:solidFill>
              </a:defRPr>
            </a:lvl1pPr>
          </a:lstStyle>
          <a:p>
            <a:pPr>
              <a:defRPr/>
            </a:pPr>
            <a:r>
              <a:rPr lang="en-US"/>
              <a:t>© 2015 NetApp, Inc. All rights reserved. NetApp Proprietary - Limited Use Only</a:t>
            </a:r>
          </a:p>
        </p:txBody>
      </p:sp>
      <p:sp>
        <p:nvSpPr>
          <p:cNvPr id="6" name="Slide Number Placeholder 3">
            <a:extLst>
              <a:ext uri="{FF2B5EF4-FFF2-40B4-BE49-F238E27FC236}">
                <a16:creationId xmlns:a16="http://schemas.microsoft.com/office/drawing/2014/main" id="{5760891D-CEF3-48EC-B4E3-2F4C720E2A74}"/>
              </a:ext>
            </a:extLst>
          </p:cNvPr>
          <p:cNvSpPr>
            <a:spLocks noGrp="1"/>
          </p:cNvSpPr>
          <p:nvPr>
            <p:ph type="sldNum" sz="quarter" idx="17"/>
          </p:nvPr>
        </p:nvSpPr>
        <p:spPr>
          <a:xfrm>
            <a:off x="0" y="0"/>
            <a:ext cx="0" cy="0"/>
          </a:xfrm>
        </p:spPr>
        <p:txBody>
          <a:bodyPr/>
          <a:lstStyle>
            <a:lvl1pPr>
              <a:defRPr>
                <a:solidFill>
                  <a:srgbClr val="9EA2A2"/>
                </a:solidFill>
              </a:defRPr>
            </a:lvl1pPr>
          </a:lstStyle>
          <a:p>
            <a:pPr>
              <a:defRPr/>
            </a:pPr>
            <a:fld id="{0AFE2A26-9720-45AC-B337-403862B0CC83}" type="slidenum">
              <a:rPr lang="en-US"/>
              <a:pPr>
                <a:defRPr/>
              </a:pPr>
              <a:t>‹#›</a:t>
            </a:fld>
            <a:r>
              <a:rPr lang="en-US" dirty="0"/>
              <a:t> |</a:t>
            </a:r>
          </a:p>
        </p:txBody>
      </p:sp>
    </p:spTree>
    <p:extLst>
      <p:ext uri="{BB962C8B-B14F-4D97-AF65-F5344CB8AC3E}">
        <p14:creationId xmlns:p14="http://schemas.microsoft.com/office/powerpoint/2010/main" val="1851340608"/>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4" name="Picture 7" descr="FlexPod-LA-2.jpg">
            <a:extLst>
              <a:ext uri="{FF2B5EF4-FFF2-40B4-BE49-F238E27FC236}">
                <a16:creationId xmlns:a16="http://schemas.microsoft.com/office/drawing/2014/main" id="{D0DEC677-1DC2-4366-B919-5281D4DB828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DA145EFF-DDBB-4EC0-984C-0A96C65EDBA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1382545"/>
            <a:ext cx="5707077"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893030326"/>
      </p:ext>
    </p:extLst>
  </p:cSld>
  <p:clrMapOvr>
    <a:masterClrMapping/>
  </p:clrMapOvr>
  <p:transition spd="slow">
    <p:circl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DDA1ED2F-945E-4D13-A12B-D34AFEEB60A2}"/>
              </a:ext>
            </a:extLst>
          </p:cNvPr>
          <p:cNvSpPr>
            <a:spLocks noGrp="1"/>
          </p:cNvSpPr>
          <p:nvPr>
            <p:ph type="ftr" sz="quarter" idx="10"/>
          </p:nvPr>
        </p:nvSpPr>
        <p:spPr>
          <a:xfrm>
            <a:off x="5078413" y="4976813"/>
            <a:ext cx="1763712" cy="10953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dirty="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149182759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 Subtitle + Conten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1155700" y="996951"/>
            <a:ext cx="7683500" cy="38877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6"/>
          <p:cNvSpPr>
            <a:spLocks noGrp="1"/>
          </p:cNvSpPr>
          <p:nvPr>
            <p:ph sz="quarter" idx="11"/>
          </p:nvPr>
        </p:nvSpPr>
        <p:spPr>
          <a:xfrm>
            <a:off x="685801" y="537452"/>
            <a:ext cx="8153402" cy="296235"/>
          </a:xfrm>
          <a:noFill/>
        </p:spPr>
        <p:txBody>
          <a:bodyPr rtlCol="0">
            <a:spAutoFit/>
          </a:bodyPr>
          <a:lstStyle>
            <a:lvl1pPr marL="0" algn="l" defTabSz="457169" rtl="0" eaLnBrk="1" latinLnBrk="0" hangingPunct="1">
              <a:lnSpc>
                <a:spcPct val="90000"/>
              </a:lnSpc>
              <a:spcBef>
                <a:spcPts val="0"/>
              </a:spcBef>
              <a:buNone/>
              <a:defRPr lang="en-US" sz="2100" b="1" kern="1200" smtClean="0">
                <a:solidFill>
                  <a:schemeClr val="accent1"/>
                </a:solidFill>
                <a:latin typeface="Arial" charset="0"/>
                <a:ea typeface="Arial" charset="0"/>
                <a:cs typeface="Arial" charset="0"/>
                <a:sym typeface="Arial" charset="0"/>
              </a:defRPr>
            </a:lvl1pPr>
          </a:lstStyle>
          <a:p>
            <a:pPr lvl="0"/>
            <a:r>
              <a:rPr lang="en-US"/>
              <a:t>Edit Master text styles</a:t>
            </a:r>
          </a:p>
        </p:txBody>
      </p:sp>
      <p:sp>
        <p:nvSpPr>
          <p:cNvPr id="7" name="Title 6"/>
          <p:cNvSpPr>
            <a:spLocks noGrp="1"/>
          </p:cNvSpPr>
          <p:nvPr>
            <p:ph type="title"/>
          </p:nvPr>
        </p:nvSpPr>
        <p:spPr/>
        <p:txBody>
          <a:bodyPr/>
          <a:lstStyle/>
          <a:p>
            <a:r>
              <a:rPr lang="en-US"/>
              <a:t>Click to edit Master title style</a:t>
            </a:r>
          </a:p>
        </p:txBody>
      </p:sp>
      <p:sp>
        <p:nvSpPr>
          <p:cNvPr id="5" name="Footer Placeholder 3">
            <a:extLst>
              <a:ext uri="{FF2B5EF4-FFF2-40B4-BE49-F238E27FC236}">
                <a16:creationId xmlns:a16="http://schemas.microsoft.com/office/drawing/2014/main" id="{AA067D09-8E2A-429B-8D9B-AA30FAB8ACB7}"/>
              </a:ext>
            </a:extLst>
          </p:cNvPr>
          <p:cNvSpPr>
            <a:spLocks noGrp="1"/>
          </p:cNvSpPr>
          <p:nvPr>
            <p:ph type="ftr" sz="quarter" idx="12"/>
          </p:nvPr>
        </p:nvSpPr>
        <p:spPr>
          <a:xfrm>
            <a:off x="5078413" y="4976813"/>
            <a:ext cx="1763712" cy="10953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dirty="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246528305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155700" y="709129"/>
            <a:ext cx="7683500" cy="40454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67F9455-D2BD-45E8-9680-7A8D46DA9D52}"/>
              </a:ext>
            </a:extLst>
          </p:cNvPr>
          <p:cNvSpPr>
            <a:spLocks noGrp="1"/>
          </p:cNvSpPr>
          <p:nvPr>
            <p:ph type="ftr" sz="quarter" idx="11"/>
          </p:nvPr>
        </p:nvSpPr>
        <p:spPr>
          <a:xfrm>
            <a:off x="5078413" y="4976813"/>
            <a:ext cx="1763712" cy="10953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dirty="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29095372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FB21F2-DA1F-4D24-81E2-975F3D388A3A}"/>
              </a:ext>
            </a:extLst>
          </p:cNvPr>
          <p:cNvSpPr>
            <a:spLocks noChangeArrowheads="1"/>
          </p:cNvSpPr>
          <p:nvPr userDrawn="1"/>
        </p:nvSpPr>
        <p:spPr bwMode="white">
          <a:xfrm>
            <a:off x="0" y="0"/>
            <a:ext cx="9144000" cy="285750"/>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514350">
              <a:defRPr sz="2000">
                <a:solidFill>
                  <a:schemeClr val="tx1"/>
                </a:solidFill>
                <a:latin typeface="Arial" panose="020B0604020202020204" pitchFamily="34" charset="0"/>
              </a:defRPr>
            </a:lvl1pPr>
            <a:lvl2pPr defTabSz="514350">
              <a:defRPr sz="2000">
                <a:solidFill>
                  <a:schemeClr val="tx1"/>
                </a:solidFill>
                <a:latin typeface="Arial" panose="020B0604020202020204" pitchFamily="34" charset="0"/>
              </a:defRPr>
            </a:lvl2pPr>
            <a:lvl3pPr defTabSz="514350">
              <a:defRPr sz="2000">
                <a:solidFill>
                  <a:schemeClr val="tx1"/>
                </a:solidFill>
                <a:latin typeface="Arial" panose="020B0604020202020204" pitchFamily="34" charset="0"/>
              </a:defRPr>
            </a:lvl3pPr>
            <a:lvl4pPr defTabSz="514350">
              <a:defRPr sz="2000">
                <a:solidFill>
                  <a:schemeClr val="tx1"/>
                </a:solidFill>
                <a:latin typeface="Arial" panose="020B0604020202020204" pitchFamily="34" charset="0"/>
              </a:defRPr>
            </a:lvl4pPr>
            <a:lvl5pPr defTabSz="514350">
              <a:defRPr sz="2000">
                <a:solidFill>
                  <a:schemeClr val="tx1"/>
                </a:solidFill>
                <a:latin typeface="Arial" panose="020B0604020202020204" pitchFamily="34" charset="0"/>
              </a:defRPr>
            </a:lvl5pPr>
            <a:lvl6pPr marL="2284413" indent="1588" defTabSz="514350"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4350"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4350"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4350" eaLnBrk="0" fontAlgn="base" hangingPunct="0">
              <a:spcBef>
                <a:spcPct val="0"/>
              </a:spcBef>
              <a:spcAft>
                <a:spcPct val="0"/>
              </a:spcAft>
              <a:defRPr sz="2000">
                <a:solidFill>
                  <a:schemeClr val="tx1"/>
                </a:solidFill>
                <a:latin typeface="Arial" panose="020B0604020202020204" pitchFamily="34" charset="0"/>
              </a:defRPr>
            </a:lvl9pPr>
          </a:lstStyle>
          <a:p>
            <a:pPr algn="ctr">
              <a:defRPr/>
            </a:pPr>
            <a:endParaRPr lang="en-US" altLang="en-US" sz="1400" dirty="0">
              <a:solidFill>
                <a:schemeClr val="bg1"/>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4799" y="155577"/>
            <a:ext cx="8513064" cy="434974"/>
          </a:xfrm>
        </p:spPr>
        <p:txBody>
          <a:bodyPr/>
          <a:lstStyle>
            <a:lvl1pPr>
              <a:defRPr baseline="0"/>
            </a:lvl1p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2C3EFA92-9DFD-42A5-8929-BC384EA02CF0}"/>
              </a:ext>
            </a:extLst>
          </p:cNvPr>
          <p:cNvSpPr>
            <a:spLocks noGrp="1"/>
          </p:cNvSpPr>
          <p:nvPr>
            <p:ph type="sldNum" sz="quarter" idx="10"/>
          </p:nvPr>
        </p:nvSpPr>
        <p:spPr bwMode="auto">
          <a:xfrm>
            <a:off x="0" y="0"/>
            <a:ext cx="0" cy="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defTabSz="514337">
              <a:defRPr>
                <a:solidFill>
                  <a:srgbClr val="595959"/>
                </a:solidFill>
                <a:sym typeface="Arial" panose="020B0604020202020204" pitchFamily="34" charset="0"/>
              </a:defRPr>
            </a:lvl1pPr>
          </a:lstStyle>
          <a:p>
            <a:pPr>
              <a:defRPr/>
            </a:pPr>
            <a:fld id="{C935136A-98B0-40BC-ABAF-63B2EA245B70}" type="slidenum">
              <a:rPr lang="en-US" altLang="en-US"/>
              <a:pPr>
                <a:defRPr/>
              </a:pPr>
              <a:t>‹#›</a:t>
            </a:fld>
            <a:endParaRPr lang="en-US" altLang="en-US" dirty="0"/>
          </a:p>
        </p:txBody>
      </p:sp>
    </p:spTree>
    <p:extLst>
      <p:ext uri="{BB962C8B-B14F-4D97-AF65-F5344CB8AC3E}">
        <p14:creationId xmlns:p14="http://schemas.microsoft.com/office/powerpoint/2010/main" val="1336780120"/>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Subtitle and Two Columns">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4114800" cy="3474252"/>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400">
                <a:solidFill>
                  <a:srgbClr val="000000"/>
                </a:solidFill>
              </a:defRPr>
            </a:lvl3pPr>
            <a:lvl4pPr marL="917391" indent="-228552">
              <a:spcBef>
                <a:spcPts val="400"/>
              </a:spcBef>
              <a:defRPr sz="1200">
                <a:solidFill>
                  <a:srgbClr val="000000"/>
                </a:solidFill>
              </a:defRPr>
            </a:lvl4pPr>
            <a:lvl5pPr marL="1150710" indent="-228552">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3246" y="190828"/>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678642"/>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Edit Master text styles</a:t>
            </a:r>
          </a:p>
        </p:txBody>
      </p:sp>
      <p:sp>
        <p:nvSpPr>
          <p:cNvPr id="5" name="Content Placeholder 4"/>
          <p:cNvSpPr>
            <a:spLocks noGrp="1"/>
          </p:cNvSpPr>
          <p:nvPr>
            <p:ph sz="quarter" idx="12"/>
          </p:nvPr>
        </p:nvSpPr>
        <p:spPr>
          <a:xfrm>
            <a:off x="4670227" y="1305596"/>
            <a:ext cx="4114800" cy="3474252"/>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400">
                <a:solidFill>
                  <a:srgbClr val="000000"/>
                </a:solidFill>
              </a:defRPr>
            </a:lvl3pPr>
            <a:lvl4pPr marL="917391" indent="-228552">
              <a:spcBef>
                <a:spcPts val="400"/>
              </a:spcBef>
              <a:defRPr sz="1200">
                <a:solidFill>
                  <a:srgbClr val="000000"/>
                </a:solidFill>
              </a:defRPr>
            </a:lvl4pPr>
            <a:lvl5pPr marL="1150710" indent="-228552">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171064"/>
      </p:ext>
    </p:extLst>
  </p:cSld>
  <p:clrMapOvr>
    <a:masterClrMapping/>
  </p:clrMapOvr>
  <p:transition spd="slow">
    <p:circl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9" name="Title 6"/>
          <p:cNvSpPr>
            <a:spLocks noGrp="1"/>
          </p:cNvSpPr>
          <p:nvPr>
            <p:ph type="title"/>
          </p:nvPr>
        </p:nvSpPr>
        <p:spPr>
          <a:xfrm>
            <a:off x="153246" y="190828"/>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678642"/>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Edit Master text styles</a:t>
            </a:r>
          </a:p>
        </p:txBody>
      </p:sp>
    </p:spTree>
    <p:extLst>
      <p:ext uri="{BB962C8B-B14F-4D97-AF65-F5344CB8AC3E}">
        <p14:creationId xmlns:p14="http://schemas.microsoft.com/office/powerpoint/2010/main" val="3530394436"/>
      </p:ext>
    </p:extLst>
  </p:cSld>
  <p:clrMapOvr>
    <a:masterClrMapping/>
  </p:clrMapOvr>
  <p:transition spd="slow">
    <p:circl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14"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endParaRPr lang="en-US" dirty="0"/>
          </a:p>
        </p:txBody>
      </p:sp>
      <p:sp>
        <p:nvSpPr>
          <p:cNvPr id="6" name="Text Placeholder 3"/>
          <p:cNvSpPr>
            <a:spLocks noGrp="1"/>
          </p:cNvSpPr>
          <p:nvPr>
            <p:ph type="body" sz="quarter" idx="10"/>
          </p:nvPr>
        </p:nvSpPr>
        <p:spPr>
          <a:xfrm>
            <a:off x="245457" y="1249964"/>
            <a:ext cx="4169632" cy="3266034"/>
          </a:xfrm>
          <a:prstGeom prst="rect">
            <a:avLst/>
          </a:prstGeom>
        </p:spPr>
        <p:txBody>
          <a:bodyPr>
            <a:noAutofit/>
          </a:bodyPr>
          <a:lstStyle>
            <a:lvl1pPr marL="228594" indent="-171446">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89" indent="-21589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34" indent="-171446">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080" indent="-171446">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26" indent="-171446">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4640994" y="1249964"/>
            <a:ext cx="4169632" cy="3266034"/>
          </a:xfrm>
          <a:prstGeom prst="rect">
            <a:avLst/>
          </a:prstGeom>
        </p:spPr>
        <p:txBody>
          <a:bodyPr>
            <a:noAutofit/>
          </a:bodyPr>
          <a:lstStyle>
            <a:lvl1pPr marL="228594" indent="-171446">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89" indent="-21589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34" indent="-171446">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080" indent="-171446">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26" indent="-171446">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1390126"/>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8174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10" name="Picture 3" descr="Z:\2018 Projects\NetApp\Demand Gen campaigns\FlexPod campaign (18-CL-0370-00287)\4815_Campaign Imagery (x4)\6_Final Files\NET_4784_FlexPod Demand Gen_Image_B_100518.png">
            <a:extLst>
              <a:ext uri="{FF2B5EF4-FFF2-40B4-BE49-F238E27FC236}">
                <a16:creationId xmlns:a16="http://schemas.microsoft.com/office/drawing/2014/main" id="{F2CA5487-D4F7-DD4F-B8A7-9E4D6E77BD9F}"/>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ctrTitle" hasCustomPrompt="1"/>
          </p:nvPr>
        </p:nvSpPr>
        <p:spPr>
          <a:xfrm>
            <a:off x="634713" y="3239835"/>
            <a:ext cx="6400579" cy="633663"/>
          </a:xfrm>
          <a:prstGeom prst="rect">
            <a:avLst/>
          </a:prstGeom>
        </p:spPr>
        <p:txBody>
          <a:bodyPr anchor="b"/>
          <a:lstStyle>
            <a:lvl1pPr>
              <a:defRPr sz="4500" b="1">
                <a:solidFill>
                  <a:schemeClr val="bg1"/>
                </a:solidFill>
              </a:defRPr>
            </a:lvl1pPr>
          </a:lstStyle>
          <a:p>
            <a:r>
              <a:rPr lang="en-US" dirty="0"/>
              <a:t>Click To Edit Master Title Style</a:t>
            </a:r>
          </a:p>
        </p:txBody>
      </p:sp>
      <p:sp>
        <p:nvSpPr>
          <p:cNvPr id="12" name="Subtitle 2"/>
          <p:cNvSpPr>
            <a:spLocks noGrp="1"/>
          </p:cNvSpPr>
          <p:nvPr>
            <p:ph type="subTitle" idx="1"/>
          </p:nvPr>
        </p:nvSpPr>
        <p:spPr>
          <a:xfrm>
            <a:off x="634712" y="392965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pic>
        <p:nvPicPr>
          <p:cNvPr id="6" name="Picture 5" descr="Cisco_CMYKReversedLogo.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0669" y="4615716"/>
            <a:ext cx="573883" cy="301950"/>
          </a:xfrm>
          <a:prstGeom prst="rect">
            <a:avLst/>
          </a:prstGeom>
        </p:spPr>
      </p:pic>
      <p:pic>
        <p:nvPicPr>
          <p:cNvPr id="8" name="Picture 7" descr="na_logo_hrz_1c-rev_rgb_lrg.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12681" y="4738783"/>
            <a:ext cx="763962" cy="139366"/>
          </a:xfrm>
          <a:prstGeom prst="rect">
            <a:avLst/>
          </a:prstGeom>
        </p:spPr>
      </p:pic>
    </p:spTree>
    <p:extLst>
      <p:ext uri="{BB962C8B-B14F-4D97-AF65-F5344CB8AC3E}">
        <p14:creationId xmlns:p14="http://schemas.microsoft.com/office/powerpoint/2010/main" val="67898883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3" name="Picture 2" descr="FlexPod-shipping-containers-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4" y="3624162"/>
            <a:ext cx="5740498" cy="633663"/>
          </a:xfrm>
          <a:prstGeom prst="rect">
            <a:avLst/>
          </a:prstGeom>
        </p:spPr>
        <p:txBody>
          <a:bodyPr anchor="b"/>
          <a:lstStyle>
            <a:lvl1pPr>
              <a:defRPr sz="4500" b="1">
                <a:solidFill>
                  <a:schemeClr val="tx2"/>
                </a:solidFill>
              </a:defRPr>
            </a:lvl1pPr>
          </a:lstStyle>
          <a:p>
            <a:r>
              <a:rPr lang="en-US" dirty="0"/>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61459698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4" name="Picture 7" descr="FSA-Image-2.jpg">
            <a:extLst>
              <a:ext uri="{FF2B5EF4-FFF2-40B4-BE49-F238E27FC236}">
                <a16:creationId xmlns:a16="http://schemas.microsoft.com/office/drawing/2014/main" id="{AA723932-E905-479E-976D-322582ED21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548AE4E8-082C-4BFB-967A-283E48D3972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1382959"/>
            <a:ext cx="5840764"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76407218"/>
      </p:ext>
    </p:extLst>
  </p:cSld>
  <p:clrMapOvr>
    <a:masterClrMapping/>
  </p:clrMapOvr>
  <p:transition spd="slow">
    <p:circl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2" name="Picture 1" descr="FlexPod-LA-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3" y="1382545"/>
            <a:ext cx="5707077" cy="633663"/>
          </a:xfrm>
          <a:prstGeom prst="rect">
            <a:avLst/>
          </a:prstGeom>
        </p:spPr>
        <p:txBody>
          <a:bodyPr anchor="b"/>
          <a:lstStyle>
            <a:lvl1pPr>
              <a:defRPr sz="4500" b="1">
                <a:solidFill>
                  <a:schemeClr val="bg1"/>
                </a:solidFill>
              </a:defRPr>
            </a:lvl1pPr>
          </a:lstStyle>
          <a:p>
            <a:r>
              <a:rPr lang="en-US" dirty="0"/>
              <a:t>Click To Edit Master Title Style</a:t>
            </a:r>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18934239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2" name="Picture 1" descr="FSA-Image-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4" y="1382959"/>
            <a:ext cx="5840764" cy="633663"/>
          </a:xfrm>
          <a:prstGeom prst="rect">
            <a:avLst/>
          </a:prstGeom>
        </p:spPr>
        <p:txBody>
          <a:bodyPr anchor="b"/>
          <a:lstStyle>
            <a:lvl1pPr>
              <a:defRPr sz="4500" b="1">
                <a:solidFill>
                  <a:schemeClr val="tx2"/>
                </a:solidFill>
              </a:defRPr>
            </a:lvl1pPr>
          </a:lstStyle>
          <a:p>
            <a:r>
              <a:rPr lang="en-US" dirty="0"/>
              <a:t>Click To Edit Master Title Style</a:t>
            </a:r>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364184625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2" name="Picture 1" descr="Screen Shot 2016-07-14 at 12.49.21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dirty="0"/>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414156387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2" descr="Screen Shot 2016-07-13 at 2.49.37 PM.png"/>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a:stretch/>
        </p:blipFill>
        <p:spPr>
          <a:xfrm>
            <a:off x="0" y="1"/>
            <a:ext cx="9144000" cy="5166178"/>
          </a:xfrm>
          <a:prstGeom prst="rect">
            <a:avLst/>
          </a:prstGeom>
          <a:ln>
            <a:noFill/>
          </a:ln>
          <a:effectLst/>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dirty="0"/>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05086037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2" name="Picture 1" descr="Screen Shot 2016-07-14 at 4.26.1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dirty="0"/>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76504664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2" descr="Screen Shot 2016-07-14 at 2.40.14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dirty="0"/>
              <a:t>Click to edit master title style</a:t>
            </a:r>
          </a:p>
        </p:txBody>
      </p:sp>
      <p:sp>
        <p:nvSpPr>
          <p:cNvPr id="10" name="TextBox 9"/>
          <p:cNvSpPr txBox="1"/>
          <p:nvPr userDrawn="1"/>
        </p:nvSpPr>
        <p:spPr>
          <a:xfrm>
            <a:off x="5514975" y="4897259"/>
            <a:ext cx="3329393"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9 Cisco and NetApp. All rights reserved. NetApp Confidential - Limited Use Only</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93428650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2" name="Picture 1" descr="offset_379195.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4" name="Rectangle 3"/>
          <p:cNvSpPr/>
          <p:nvPr userDrawn="1"/>
        </p:nvSpPr>
        <p:spPr bwMode="auto">
          <a:xfrm>
            <a:off x="1" y="0"/>
            <a:ext cx="4775200" cy="5143500"/>
          </a:xfrm>
          <a:prstGeom prst="rect">
            <a:avLst/>
          </a:prstGeom>
          <a:solidFill>
            <a:srgbClr val="000000">
              <a:alpha val="66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1619" y="800100"/>
            <a:ext cx="3725381" cy="1980785"/>
          </a:xfrm>
          <a:prstGeom prst="rect">
            <a:avLst/>
          </a:prstGeom>
        </p:spPr>
        <p:txBody>
          <a:bodyPr anchor="t"/>
          <a:lstStyle>
            <a:lvl1pPr>
              <a:defRPr sz="2800" b="1">
                <a:solidFill>
                  <a:schemeClr val="bg1"/>
                </a:solidFill>
              </a:defRPr>
            </a:lvl1pPr>
          </a:lstStyle>
          <a:p>
            <a:r>
              <a:rPr lang="en-US" dirty="0"/>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spTree>
    <p:extLst>
      <p:ext uri="{BB962C8B-B14F-4D97-AF65-F5344CB8AC3E}">
        <p14:creationId xmlns:p14="http://schemas.microsoft.com/office/powerpoint/2010/main" val="212492678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2" name="Picture 1" descr="Screen Shot 2016-07-13 at 2.54.4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6" y="0"/>
            <a:ext cx="9144006" cy="5143500"/>
          </a:xfrm>
          <a:prstGeom prst="rect">
            <a:avLst/>
          </a:prstGeom>
        </p:spPr>
      </p:pic>
      <p:sp>
        <p:nvSpPr>
          <p:cNvPr id="7" name="Rectangle 6"/>
          <p:cNvSpPr/>
          <p:nvPr userDrawn="1"/>
        </p:nvSpPr>
        <p:spPr bwMode="auto">
          <a:xfrm>
            <a:off x="0" y="0"/>
            <a:ext cx="6984775" cy="5143500"/>
          </a:xfrm>
          <a:prstGeom prst="rect">
            <a:avLst/>
          </a:prstGeom>
          <a:solidFill>
            <a:srgbClr val="000000">
              <a:alpha val="77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9074" y="800100"/>
            <a:ext cx="6415155" cy="1221792"/>
          </a:xfrm>
          <a:prstGeom prst="rect">
            <a:avLst/>
          </a:prstGeom>
        </p:spPr>
        <p:txBody>
          <a:bodyPr anchor="t"/>
          <a:lstStyle>
            <a:lvl1pPr>
              <a:defRPr sz="2800" b="1">
                <a:solidFill>
                  <a:schemeClr val="bg1"/>
                </a:solidFill>
              </a:defRPr>
            </a:lvl1pPr>
          </a:lstStyle>
          <a:p>
            <a:r>
              <a:rPr lang="en-US" dirty="0"/>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spTree>
    <p:extLst>
      <p:ext uri="{BB962C8B-B14F-4D97-AF65-F5344CB8AC3E}">
        <p14:creationId xmlns:p14="http://schemas.microsoft.com/office/powerpoint/2010/main" val="312883848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2763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bwMode="auto">
          <a:xfrm>
            <a:off x="5195455" y="0"/>
            <a:ext cx="3948545" cy="5143500"/>
          </a:xfrm>
          <a:prstGeom prst="rect">
            <a:avLst/>
          </a:prstGeom>
          <a:solidFill>
            <a:srgbClr val="3C3939"/>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576835" y="4897259"/>
            <a:ext cx="3267533"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9 Cisco and NetApp. All rights reserved. NetApp Confidential - Limited Use Only</a:t>
            </a: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3" name="Title 2">
            <a:extLst>
              <a:ext uri="{FF2B5EF4-FFF2-40B4-BE49-F238E27FC236}">
                <a16:creationId xmlns:a16="http://schemas.microsoft.com/office/drawing/2014/main" id="{0F7570A9-27A2-EF4A-B40C-6B709109FBF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9749831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bwMode="auto">
          <a:xfrm>
            <a:off x="5195455" y="0"/>
            <a:ext cx="3948545" cy="5143500"/>
          </a:xfrm>
          <a:prstGeom prst="rect">
            <a:avLst/>
          </a:prstGeom>
          <a:solidFill>
            <a:srgbClr val="0B568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7" name="TextBox 6">
            <a:extLst>
              <a:ext uri="{FF2B5EF4-FFF2-40B4-BE49-F238E27FC236}">
                <a16:creationId xmlns:a16="http://schemas.microsoft.com/office/drawing/2014/main" id="{D6CC2215-1C1C-5340-AA56-E2E60613F0BC}"/>
              </a:ext>
            </a:extLst>
          </p:cNvPr>
          <p:cNvSpPr txBox="1"/>
          <p:nvPr userDrawn="1"/>
        </p:nvSpPr>
        <p:spPr>
          <a:xfrm>
            <a:off x="5722570" y="4897259"/>
            <a:ext cx="3121798"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9 Cisco and NetApp. All rights reserved. NetApp Confidential - Limited Use Only</a:t>
            </a:r>
          </a:p>
        </p:txBody>
      </p:sp>
      <p:sp>
        <p:nvSpPr>
          <p:cNvPr id="2" name="Title 1">
            <a:extLst>
              <a:ext uri="{FF2B5EF4-FFF2-40B4-BE49-F238E27FC236}">
                <a16:creationId xmlns:a16="http://schemas.microsoft.com/office/drawing/2014/main" id="{49E42035-9EFD-1340-A1C6-49745E7FBAC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960507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3" name="Picture 7" descr="Screen Shot 2016-07-14 at 12.49.21 PM.png">
            <a:extLst>
              <a:ext uri="{FF2B5EF4-FFF2-40B4-BE49-F238E27FC236}">
                <a16:creationId xmlns:a16="http://schemas.microsoft.com/office/drawing/2014/main" id="{0E1C38AC-9332-445F-82F1-5110C1D1F004}"/>
              </a:ext>
            </a:extLst>
          </p:cNvPr>
          <p:cNvPicPr>
            <a:picLocks noChangeAspect="1"/>
          </p:cNvPicPr>
          <p:nvPr userDrawn="1"/>
        </p:nvPicPr>
        <p:blipFill>
          <a:blip r:embed="rId2">
            <a:extLst>
              <a:ext uri="{28A0092B-C50C-407E-A947-70E740481C1C}">
                <a14:useLocalDpi xmlns:a14="http://schemas.microsoft.com/office/drawing/2010/main" val="0"/>
              </a:ext>
            </a:extLst>
          </a:blip>
          <a:srcRect l="7857" r="15912" b="143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96C40ECC-360D-4142-B6FA-0A47E2A859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29E178A8-0818-44F9-AD82-EBCBEFF1C366}"/>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7EF210E2-B184-494B-AEA5-2C7B318A9D77}"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3891213179"/>
      </p:ext>
    </p:extLst>
  </p:cSld>
  <p:clrMapOvr>
    <a:masterClrMapping/>
  </p:clrMapOvr>
  <p:transition spd="slow">
    <p:circl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bwMode="auto">
          <a:xfrm>
            <a:off x="5195455" y="0"/>
            <a:ext cx="3948545" cy="5143500"/>
          </a:xfrm>
          <a:prstGeom prst="rect">
            <a:avLst/>
          </a:prstGeom>
          <a:solidFill>
            <a:srgbClr val="6FB53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320602" y="4897259"/>
            <a:ext cx="3523766"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solidFill>
              </a:rPr>
              <a:t>© 2019 Cisco and NetApp. All rights reserved. NetApp Confidential - Limited Use Only</a:t>
            </a:r>
          </a:p>
        </p:txBody>
      </p:sp>
      <p:pic>
        <p:nvPicPr>
          <p:cNvPr id="11" name="Picture 10"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2" name="Title 1">
            <a:extLst>
              <a:ext uri="{FF2B5EF4-FFF2-40B4-BE49-F238E27FC236}">
                <a16:creationId xmlns:a16="http://schemas.microsoft.com/office/drawing/2014/main" id="{18035722-CC8A-6342-B3F0-EE6ED4ABE1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11458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hasCustomPrompt="1"/>
          </p:nvPr>
        </p:nvSpPr>
        <p:spPr>
          <a:xfrm>
            <a:off x="228600" y="1846515"/>
            <a:ext cx="853440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1" hasCustomPrompt="1"/>
          </p:nvPr>
        </p:nvSpPr>
        <p:spPr bwMode="gray">
          <a:xfrm>
            <a:off x="153245" y="1023962"/>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dirty="0"/>
              <a:t>Click to edit master text styles</a:t>
            </a:r>
          </a:p>
        </p:txBody>
      </p:sp>
      <p:sp>
        <p:nvSpPr>
          <p:cNvPr id="2" name="Title 1">
            <a:extLst>
              <a:ext uri="{FF2B5EF4-FFF2-40B4-BE49-F238E27FC236}">
                <a16:creationId xmlns:a16="http://schemas.microsoft.com/office/drawing/2014/main" id="{4CEB9B17-8DEB-D64E-A562-77A793E139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083655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534245"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CA4722D9-D1DB-A447-BC8C-87FE2BDBE7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87957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Virtual Cloud">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110034"/>
      </p:ext>
    </p:extLst>
  </p:cSld>
  <p:clrMapOvr>
    <a:masterClrMapping/>
  </p:clrMapOvr>
  <p:transition spd="slow">
    <p:circl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Virtual Cloud">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
        <p:nvSpPr>
          <p:cNvPr id="4" name="Text Placeholder 2">
            <a:extLst>
              <a:ext uri="{FF2B5EF4-FFF2-40B4-BE49-F238E27FC236}">
                <a16:creationId xmlns:a16="http://schemas.microsoft.com/office/drawing/2014/main" id="{F92D8BE6-5C54-284A-B4C2-991079421B9F}"/>
              </a:ext>
            </a:extLst>
          </p:cNvPr>
          <p:cNvSpPr>
            <a:spLocks noGrp="1"/>
          </p:cNvSpPr>
          <p:nvPr>
            <p:ph type="body" idx="11" hasCustomPrompt="1"/>
          </p:nvPr>
        </p:nvSpPr>
        <p:spPr bwMode="gray">
          <a:xfrm>
            <a:off x="153245" y="1023962"/>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dirty="0"/>
              <a:t>Click to edit master text styles</a:t>
            </a:r>
          </a:p>
        </p:txBody>
      </p:sp>
    </p:spTree>
    <p:extLst>
      <p:ext uri="{BB962C8B-B14F-4D97-AF65-F5344CB8AC3E}">
        <p14:creationId xmlns:p14="http://schemas.microsoft.com/office/powerpoint/2010/main" val="2007280752"/>
      </p:ext>
    </p:extLst>
  </p:cSld>
  <p:clrMapOvr>
    <a:masterClrMapping/>
  </p:clrMapOvr>
  <p:transition spd="slow">
    <p:circl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5D54838-B1F2-E94B-858C-5245DCE923D8}"/>
              </a:ext>
            </a:extLst>
          </p:cNvPr>
          <p:cNvSpPr>
            <a:spLocks noGrp="1"/>
          </p:cNvSpPr>
          <p:nvPr>
            <p:ph type="sldNum" sz="quarter" idx="11"/>
          </p:nvPr>
        </p:nvSpPr>
        <p:spPr/>
        <p:txBody>
          <a:bodyPr rtlCol="0"/>
          <a:lstStyle>
            <a:lvl1pPr>
              <a:defRPr lang="en-US" sz="788" b="1">
                <a:solidFill>
                  <a:srgbClr val="A2A5A2">
                    <a:lumMod val="50000"/>
                  </a:srgbClr>
                </a:solidFill>
              </a:defRPr>
            </a:lvl1pPr>
          </a:lstStyle>
          <a:p>
            <a:pPr>
              <a:defRPr/>
            </a:pPr>
            <a:endParaRPr dirty="0"/>
          </a:p>
        </p:txBody>
      </p:sp>
      <p:sp>
        <p:nvSpPr>
          <p:cNvPr id="2" name="Title 1">
            <a:extLst>
              <a:ext uri="{FF2B5EF4-FFF2-40B4-BE49-F238E27FC236}">
                <a16:creationId xmlns:a16="http://schemas.microsoft.com/office/drawing/2014/main" id="{84F03DDB-B52E-2444-A079-665749B70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811130"/>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61030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353415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4" name="Picture 7" descr="FlexPod-Flash-3.jpg"/>
          <p:cNvPicPr>
            <a:picLocks noChangeAspect="1"/>
          </p:cNvPicPr>
          <p:nvPr userDrawn="1"/>
        </p:nvPicPr>
        <p:blipFill>
          <a:blip r:embed="rId2" cstate="print">
            <a:extLst>
              <a:ext uri="{28A0092B-C50C-407E-A947-70E740481C1C}">
                <a14:useLocalDpi xmlns:a14="http://schemas.microsoft.com/office/drawing/2010/main" val="0"/>
              </a:ext>
            </a:extLst>
          </a:blip>
          <a:srcRect t="16733" r="7880" b="5812"/>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3624162"/>
            <a:ext cx="6400579"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8" name="Rectangle 7">
            <a:extLst>
              <a:ext uri="{FF2B5EF4-FFF2-40B4-BE49-F238E27FC236}">
                <a16:creationId xmlns:a16="http://schemas.microsoft.com/office/drawing/2014/main" id="{CC6581EF-680C-4EF3-B9A3-E15209C6DC7F}"/>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dirty="0">
                <a:solidFill>
                  <a:schemeClr val="bg1"/>
                </a:solidFill>
                <a:latin typeface="+mn-lt"/>
                <a:ea typeface="Calibri" panose="020F0502020204030204" pitchFamily="34" charset="0"/>
                <a:cs typeface="Calibri" panose="020F0502020204030204" pitchFamily="34" charset="0"/>
              </a:rPr>
              <a:t>© 2020 NetApp, Inc. Cisco, Inc. All rights reserved.</a:t>
            </a:r>
          </a:p>
        </p:txBody>
      </p:sp>
    </p:spTree>
    <p:extLst>
      <p:ext uri="{BB962C8B-B14F-4D97-AF65-F5344CB8AC3E}">
        <p14:creationId xmlns:p14="http://schemas.microsoft.com/office/powerpoint/2010/main" val="3258312708"/>
      </p:ext>
    </p:extLst>
  </p:cSld>
  <p:clrMapOvr>
    <a:masterClrMapping/>
  </p:clrMapOvr>
  <p:transition spd="slow">
    <p:circl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4" name="Picture 7" descr="FlexPod-shipping-containers-2.jpg"/>
          <p:cNvPicPr>
            <a:picLocks noChangeAspect="1"/>
          </p:cNvPicPr>
          <p:nvPr userDrawn="1"/>
        </p:nvPicPr>
        <p:blipFill>
          <a:blip r:embed="rId2" cstate="print">
            <a:extLst>
              <a:ext uri="{28A0092B-C50C-407E-A947-70E740481C1C}">
                <a14:useLocalDpi xmlns:a14="http://schemas.microsoft.com/office/drawing/2010/main" val="0"/>
              </a:ext>
            </a:extLst>
          </a:blip>
          <a:srcRect t="10516" r="10075" b="13304"/>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3624162"/>
            <a:ext cx="5740498"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6" name="Rectangle 5">
            <a:extLst>
              <a:ext uri="{FF2B5EF4-FFF2-40B4-BE49-F238E27FC236}">
                <a16:creationId xmlns:a16="http://schemas.microsoft.com/office/drawing/2014/main" id="{472C3974-E03D-48A5-8968-0F73D8DC83E6}"/>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dirty="0">
                <a:solidFill>
                  <a:schemeClr val="bg1"/>
                </a:solidFill>
                <a:latin typeface="+mn-lt"/>
                <a:ea typeface="Calibri" panose="020F0502020204030204" pitchFamily="34" charset="0"/>
                <a:cs typeface="Calibri" panose="020F0502020204030204" pitchFamily="34" charset="0"/>
              </a:rPr>
              <a:t>© 2020 NetApp, Inc. Cisco, Inc. All rights reserved.</a:t>
            </a:r>
          </a:p>
        </p:txBody>
      </p:sp>
    </p:spTree>
    <p:extLst>
      <p:ext uri="{BB962C8B-B14F-4D97-AF65-F5344CB8AC3E}">
        <p14:creationId xmlns:p14="http://schemas.microsoft.com/office/powerpoint/2010/main" val="3764067259"/>
      </p:ext>
    </p:extLst>
  </p:cSld>
  <p:clrMapOvr>
    <a:masterClrMapping/>
  </p:clrMapOvr>
  <p:transition spd="slow">
    <p:circl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7" descr="Screen Shot 2016-07-13 at 2.49.37 PM.png">
            <a:extLst>
              <a:ext uri="{FF2B5EF4-FFF2-40B4-BE49-F238E27FC236}">
                <a16:creationId xmlns:a16="http://schemas.microsoft.com/office/drawing/2014/main" id="{6E92BA73-A8BE-4B7F-932F-EBA5B652A83F}"/>
              </a:ext>
            </a:extLst>
          </p:cNvPr>
          <p:cNvPicPr>
            <a:picLocks noChangeAspect="1"/>
          </p:cNvPicPr>
          <p:nvPr userDrawn="1"/>
        </p:nvPicPr>
        <p:blipFill>
          <a:blip r:embed="rId2">
            <a:extLst>
              <a:ext uri="{28A0092B-C50C-407E-A947-70E740481C1C}">
                <a14:useLocalDpi xmlns:a14="http://schemas.microsoft.com/office/drawing/2010/main" val="0"/>
              </a:ext>
            </a:extLst>
          </a:blip>
          <a:srcRect l="19165" t="1654" r="893" b="4549"/>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541AD65A-37D6-4D26-BFDF-876A3ECF1CF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FF3F76FF-A552-488B-92EB-EB16EC2CD24B}"/>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924BE25A-EFF2-47F0-B9CF-514D6BF0F16F}"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2720778560"/>
      </p:ext>
    </p:extLst>
  </p:cSld>
  <p:clrMapOvr>
    <a:masterClrMapping/>
  </p:clrMapOvr>
  <p:transition spd="slow">
    <p:circl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4" name="Picture 7" descr="FlexPod-LA-2.jpg"/>
          <p:cNvPicPr>
            <a:picLocks noChangeAspect="1"/>
          </p:cNvPicPr>
          <p:nvPr userDrawn="1"/>
        </p:nvPicPr>
        <p:blipFill>
          <a:blip r:embed="rId2" cstate="print">
            <a:extLst>
              <a:ext uri="{28A0092B-C50C-407E-A947-70E740481C1C}">
                <a14:useLocalDpi xmlns:a14="http://schemas.microsoft.com/office/drawing/2010/main" val="0"/>
              </a:ext>
            </a:extLst>
          </a:blip>
          <a:srcRect t="5482" b="1014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1382545"/>
            <a:ext cx="5707077"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6" name="Rectangle 5">
            <a:extLst>
              <a:ext uri="{FF2B5EF4-FFF2-40B4-BE49-F238E27FC236}">
                <a16:creationId xmlns:a16="http://schemas.microsoft.com/office/drawing/2014/main" id="{F1669B84-B737-42F5-AC73-35C7F9B20D48}"/>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Tree>
    <p:extLst>
      <p:ext uri="{BB962C8B-B14F-4D97-AF65-F5344CB8AC3E}">
        <p14:creationId xmlns:p14="http://schemas.microsoft.com/office/powerpoint/2010/main" val="1053401193"/>
      </p:ext>
    </p:extLst>
  </p:cSld>
  <p:clrMapOvr>
    <a:masterClrMapping/>
  </p:clrMapOvr>
  <p:transition spd="slow">
    <p:circl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4" name="Picture 7" descr="FSA-Image-2.jpg"/>
          <p:cNvPicPr>
            <a:picLocks noChangeAspect="1"/>
          </p:cNvPicPr>
          <p:nvPr userDrawn="1"/>
        </p:nvPicPr>
        <p:blipFill>
          <a:blip r:embed="rId2" cstate="print">
            <a:extLst>
              <a:ext uri="{28A0092B-C50C-407E-A947-70E740481C1C}">
                <a14:useLocalDpi xmlns:a14="http://schemas.microsoft.com/office/drawing/2010/main" val="0"/>
              </a:ext>
            </a:extLst>
          </a:blip>
          <a:srcRect b="1428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1382959"/>
            <a:ext cx="5840764"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6" name="Rectangle 5">
            <a:extLst>
              <a:ext uri="{FF2B5EF4-FFF2-40B4-BE49-F238E27FC236}">
                <a16:creationId xmlns:a16="http://schemas.microsoft.com/office/drawing/2014/main" id="{48E1B754-9BAF-48FB-9538-BB7B292FB4AF}"/>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Tree>
    <p:extLst>
      <p:ext uri="{BB962C8B-B14F-4D97-AF65-F5344CB8AC3E}">
        <p14:creationId xmlns:p14="http://schemas.microsoft.com/office/powerpoint/2010/main" val="2496023848"/>
      </p:ext>
    </p:extLst>
  </p:cSld>
  <p:clrMapOvr>
    <a:masterClrMapping/>
  </p:clrMapOvr>
  <p:transition spd="slow">
    <p:circl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3" name="Picture 7" descr="Screen Shot 2016-07-14 at 12.49.21 PM.png"/>
          <p:cNvPicPr>
            <a:picLocks noChangeAspect="1"/>
          </p:cNvPicPr>
          <p:nvPr userDrawn="1"/>
        </p:nvPicPr>
        <p:blipFill>
          <a:blip r:embed="rId2" cstate="print">
            <a:extLst>
              <a:ext uri="{28A0092B-C50C-407E-A947-70E740481C1C}">
                <a14:useLocalDpi xmlns:a14="http://schemas.microsoft.com/office/drawing/2010/main" val="0"/>
              </a:ext>
            </a:extLst>
          </a:blip>
          <a:srcRect l="7857" r="15912" b="143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
        <p:nvSpPr>
          <p:cNvPr id="8" name="Rectangle 7">
            <a:extLst>
              <a:ext uri="{FF2B5EF4-FFF2-40B4-BE49-F238E27FC236}">
                <a16:creationId xmlns:a16="http://schemas.microsoft.com/office/drawing/2014/main" id="{13767433-54CB-48B1-A515-C013229B38F5}"/>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
        <p:nvSpPr>
          <p:cNvPr id="10" name="Slide Number Placeholder 4">
            <a:extLst>
              <a:ext uri="{FF2B5EF4-FFF2-40B4-BE49-F238E27FC236}">
                <a16:creationId xmlns:a16="http://schemas.microsoft.com/office/drawing/2014/main" id="{3FDB4F66-20FF-48D5-939C-0CF95727B8E2}"/>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662081510"/>
      </p:ext>
    </p:extLst>
  </p:cSld>
  <p:clrMapOvr>
    <a:masterClrMapping/>
  </p:clrMapOvr>
  <p:transition spd="slow">
    <p:circl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7" descr="Screen Shot 2016-07-13 at 2.49.37 PM.png"/>
          <p:cNvPicPr>
            <a:picLocks noChangeAspect="1"/>
          </p:cNvPicPr>
          <p:nvPr userDrawn="1"/>
        </p:nvPicPr>
        <p:blipFill>
          <a:blip r:embed="rId2" cstate="print">
            <a:extLst>
              <a:ext uri="{28A0092B-C50C-407E-A947-70E740481C1C}">
                <a14:useLocalDpi xmlns:a14="http://schemas.microsoft.com/office/drawing/2010/main" val="0"/>
              </a:ext>
            </a:extLst>
          </a:blip>
          <a:srcRect l="19165" t="1654" r="893" b="4549"/>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
        <p:nvSpPr>
          <p:cNvPr id="6" name="Rectangle 5">
            <a:extLst>
              <a:ext uri="{FF2B5EF4-FFF2-40B4-BE49-F238E27FC236}">
                <a16:creationId xmlns:a16="http://schemas.microsoft.com/office/drawing/2014/main" id="{3196747B-ADD1-4AEF-BC4A-16B2B38D56E6}"/>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
        <p:nvSpPr>
          <p:cNvPr id="7" name="Slide Number Placeholder 4">
            <a:extLst>
              <a:ext uri="{FF2B5EF4-FFF2-40B4-BE49-F238E27FC236}">
                <a16:creationId xmlns:a16="http://schemas.microsoft.com/office/drawing/2014/main" id="{66A24E00-5CCD-47C2-80C5-2CC2CBC94A6A}"/>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866005727"/>
      </p:ext>
    </p:extLst>
  </p:cSld>
  <p:clrMapOvr>
    <a:masterClrMapping/>
  </p:clrMapOvr>
  <p:transition spd="slow">
    <p:circl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3" name="Picture 7" descr="Screen Shot 2016-07-14 at 4.26.16 PM.png"/>
          <p:cNvPicPr>
            <a:picLocks noChangeAspect="1"/>
          </p:cNvPicPr>
          <p:nvPr userDrawn="1"/>
        </p:nvPicPr>
        <p:blipFill>
          <a:blip r:embed="rId2" cstate="print">
            <a:extLst>
              <a:ext uri="{28A0092B-C50C-407E-A947-70E740481C1C}">
                <a14:useLocalDpi xmlns:a14="http://schemas.microsoft.com/office/drawing/2010/main" val="0"/>
              </a:ext>
            </a:extLst>
          </a:blip>
          <a:srcRect r="2107" b="66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
        <p:nvSpPr>
          <p:cNvPr id="6" name="Rectangle 5">
            <a:extLst>
              <a:ext uri="{FF2B5EF4-FFF2-40B4-BE49-F238E27FC236}">
                <a16:creationId xmlns:a16="http://schemas.microsoft.com/office/drawing/2014/main" id="{6807C2C0-639F-4ADC-A2C2-3C3BB2F7F58B}"/>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
        <p:nvSpPr>
          <p:cNvPr id="7" name="Slide Number Placeholder 4">
            <a:extLst>
              <a:ext uri="{FF2B5EF4-FFF2-40B4-BE49-F238E27FC236}">
                <a16:creationId xmlns:a16="http://schemas.microsoft.com/office/drawing/2014/main" id="{31348AC3-E48E-441B-B969-7D9584F338E8}"/>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731408138"/>
      </p:ext>
    </p:extLst>
  </p:cSld>
  <p:clrMapOvr>
    <a:masterClrMapping/>
  </p:clrMapOvr>
  <p:transition spd="slow">
    <p:circl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7" descr="Screen Shot 2016-07-14 at 2.40.14 PM.png"/>
          <p:cNvPicPr>
            <a:picLocks noChangeAspect="1"/>
          </p:cNvPicPr>
          <p:nvPr userDrawn="1"/>
        </p:nvPicPr>
        <p:blipFill>
          <a:blip r:embed="rId2" cstate="print">
            <a:extLst>
              <a:ext uri="{28A0092B-C50C-407E-A947-70E740481C1C}">
                <a14:useLocalDpi xmlns:a14="http://schemas.microsoft.com/office/drawing/2010/main" val="0"/>
              </a:ext>
            </a:extLst>
          </a:blip>
          <a:srcRect l="11494" r="7607"/>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FlexPod_Reg_CMYK-withbubble-whit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
        <p:nvSpPr>
          <p:cNvPr id="6" name="Rectangle 5">
            <a:extLst>
              <a:ext uri="{FF2B5EF4-FFF2-40B4-BE49-F238E27FC236}">
                <a16:creationId xmlns:a16="http://schemas.microsoft.com/office/drawing/2014/main" id="{CF048D37-5D15-452C-8FB1-CF825AF35A4A}"/>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a:solidFill>
                  <a:schemeClr val="bg1"/>
                </a:solidFill>
                <a:latin typeface="+mn-lt"/>
                <a:ea typeface="Calibri" panose="020F0502020204030204" pitchFamily="34" charset="0"/>
                <a:cs typeface="Calibri" panose="020F0502020204030204" pitchFamily="34" charset="0"/>
              </a:rPr>
              <a:t>© 2017 NetApp, Inc. Cisco, Inc. All rights reserved. – CONFIDENTIAL –    </a:t>
            </a:r>
          </a:p>
        </p:txBody>
      </p:sp>
      <p:sp>
        <p:nvSpPr>
          <p:cNvPr id="7" name="Slide Number Placeholder 4">
            <a:extLst>
              <a:ext uri="{FF2B5EF4-FFF2-40B4-BE49-F238E27FC236}">
                <a16:creationId xmlns:a16="http://schemas.microsoft.com/office/drawing/2014/main" id="{138E3FFB-23F1-4EB0-9289-44C7E1214AE0}"/>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1324306194"/>
      </p:ext>
    </p:extLst>
  </p:cSld>
  <p:clrMapOvr>
    <a:masterClrMapping/>
  </p:clrMapOvr>
  <p:transition spd="slow">
    <p:circl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7" descr="offset_379195.jpg"/>
          <p:cNvPicPr>
            <a:picLocks noChangeAspect="1"/>
          </p:cNvPicPr>
          <p:nvPr userDrawn="1"/>
        </p:nvPicPr>
        <p:blipFill>
          <a:blip r:embed="rId2" cstate="print">
            <a:extLst>
              <a:ext uri="{28A0092B-C50C-407E-A947-70E740481C1C}">
                <a14:useLocalDpi xmlns:a14="http://schemas.microsoft.com/office/drawing/2010/main" val="0"/>
              </a:ext>
            </a:extLst>
          </a:blip>
          <a:srcRect t="11598" r="12871" b="14888"/>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sp>
        <p:nvSpPr>
          <p:cNvPr id="5" name="TextBox 4"/>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a:solidFill>
                  <a:schemeClr val="bg1">
                    <a:lumMod val="50000"/>
                  </a:schemeClr>
                </a:solidFill>
                <a:latin typeface="Arial" charset="0"/>
              </a:rPr>
              <a:t>© 2017 NetApp, Inc. Cisco, Inc. All rights reserved. </a:t>
            </a:r>
          </a:p>
        </p:txBody>
      </p:sp>
      <p:pic>
        <p:nvPicPr>
          <p:cNvPr id="6" name="Picture 10" descr="FlexPod_Reg_CMYK-withbubbl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211619" y="800100"/>
            <a:ext cx="3725381" cy="1980785"/>
          </a:xfrm>
          <a:prstGeom prst="rect">
            <a:avLst/>
          </a:prstGeom>
        </p:spPr>
        <p:txBody>
          <a:bodyPr anchor="t"/>
          <a:lstStyle>
            <a:lvl1pPr>
              <a:defRPr sz="2800" b="1">
                <a:solidFill>
                  <a:schemeClr val="bg1"/>
                </a:solidFill>
              </a:defRPr>
            </a:lvl1pPr>
          </a:lstStyle>
          <a:p>
            <a:r>
              <a:rPr lang="en-US"/>
              <a:t>Click to edit Master title style</a:t>
            </a:r>
          </a:p>
        </p:txBody>
      </p:sp>
      <p:sp>
        <p:nvSpPr>
          <p:cNvPr id="11" name="Slide Number Placeholder 4">
            <a:extLst>
              <a:ext uri="{FF2B5EF4-FFF2-40B4-BE49-F238E27FC236}">
                <a16:creationId xmlns:a16="http://schemas.microsoft.com/office/drawing/2014/main" id="{373C279B-ACEF-41F2-9CA4-1013B63CE9D0}"/>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1973852284"/>
      </p:ext>
    </p:extLst>
  </p:cSld>
  <p:clrMapOvr>
    <a:masterClrMapping/>
  </p:clrMapOvr>
  <p:transition spd="slow">
    <p:circl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7" descr="Screen Shot 2016-07-13 at 2.54.46 PM.png"/>
          <p:cNvPicPr>
            <a:picLocks noChangeAspect="1"/>
          </p:cNvPicPr>
          <p:nvPr userDrawn="1"/>
        </p:nvPicPr>
        <p:blipFill>
          <a:blip r:embed="rId2" cstate="print">
            <a:extLst>
              <a:ext uri="{28A0092B-C50C-407E-A947-70E740481C1C}">
                <a14:useLocalDpi xmlns:a14="http://schemas.microsoft.com/office/drawing/2010/main" val="0"/>
              </a:ext>
            </a:extLst>
          </a:blip>
          <a:srcRect t="22597" r="31123" b="17479"/>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p:cNvSpPr>
            <a:spLocks noChangeArrowheads="1"/>
          </p:cNvSpPr>
          <p:nvPr userDrawn="1"/>
        </p:nvSpPr>
        <p:spPr bwMode="auto">
          <a:xfrm>
            <a:off x="0" y="0"/>
            <a:ext cx="6985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sp>
        <p:nvSpPr>
          <p:cNvPr id="5" name="TextBox 4"/>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a:solidFill>
                  <a:schemeClr val="bg1">
                    <a:lumMod val="50000"/>
                  </a:schemeClr>
                </a:solidFill>
                <a:latin typeface="Arial" charset="0"/>
              </a:rPr>
              <a:t>© 2017 NetApp, Inc. Cisco, Inc. All rights reserved. </a:t>
            </a:r>
          </a:p>
        </p:txBody>
      </p:sp>
      <p:pic>
        <p:nvPicPr>
          <p:cNvPr id="6" name="Picture 10" descr="FlexPod_Reg_CMYK-withbubbl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p>
        </p:txBody>
      </p:sp>
      <p:sp>
        <p:nvSpPr>
          <p:cNvPr id="11" name="Slide Number Placeholder 4">
            <a:extLst>
              <a:ext uri="{FF2B5EF4-FFF2-40B4-BE49-F238E27FC236}">
                <a16:creationId xmlns:a16="http://schemas.microsoft.com/office/drawing/2014/main" id="{8975AA7C-7A5E-4C98-B11A-EAB4A8F260E1}"/>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bg1"/>
                </a:solidFill>
                <a:latin typeface="+mn-lt"/>
              </a:rPr>
              <a:pPr/>
              <a:t>‹#›</a:t>
            </a:fld>
            <a:endParaRPr lang="en-US" sz="600">
              <a:solidFill>
                <a:schemeClr val="bg1"/>
              </a:solidFill>
              <a:latin typeface="+mn-lt"/>
            </a:endParaRPr>
          </a:p>
        </p:txBody>
      </p:sp>
    </p:spTree>
    <p:extLst>
      <p:ext uri="{BB962C8B-B14F-4D97-AF65-F5344CB8AC3E}">
        <p14:creationId xmlns:p14="http://schemas.microsoft.com/office/powerpoint/2010/main" val="2791019250"/>
      </p:ext>
    </p:extLst>
  </p:cSld>
  <p:clrMapOvr>
    <a:masterClrMapping/>
  </p:clrMapOvr>
  <p:transition spd="slow">
    <p:circl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5195888" y="0"/>
            <a:ext cx="3948112" cy="5143500"/>
          </a:xfrm>
          <a:prstGeom prst="rect">
            <a:avLst/>
          </a:prstGeom>
          <a:solidFill>
            <a:srgbClr val="3C3939"/>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sp>
        <p:nvSpPr>
          <p:cNvPr id="5" name="TextBox 4"/>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a:solidFill>
                  <a:schemeClr val="bg1"/>
                </a:solidFill>
                <a:latin typeface="Arial" charset="0"/>
              </a:rPr>
              <a:t>© 2017 NetApp, Inc. Cisco, Inc. All rights reserved. </a:t>
            </a:r>
          </a:p>
        </p:txBody>
      </p:sp>
      <p:pic>
        <p:nvPicPr>
          <p:cNvPr id="6" name="Picture 9" descr="FlexPod_Reg_CMYK-withbubble-white.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1706964257"/>
      </p:ext>
    </p:extLst>
  </p:cSld>
  <p:clrMapOvr>
    <a:masterClrMapping/>
  </p:clrMapOvr>
  <p:transition spd="slow">
    <p:circl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sp>
        <p:nvSpPr>
          <p:cNvPr id="5" name="TextBox 4"/>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a:solidFill>
                  <a:schemeClr val="bg1"/>
                </a:solidFill>
                <a:latin typeface="Arial" charset="0"/>
              </a:rPr>
              <a:t>© 2017 NetApp, Inc. Cisco, Inc. All rights reserved. </a:t>
            </a:r>
          </a:p>
        </p:txBody>
      </p:sp>
      <p:pic>
        <p:nvPicPr>
          <p:cNvPr id="6" name="Picture 9" descr="FlexPod_Reg_CMYK-withbubble-white.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1117595769"/>
      </p:ext>
    </p:extLst>
  </p:cSld>
  <p:clrMapOvr>
    <a:masterClrMapping/>
  </p:clrMapOvr>
  <p:transition spd="slow">
    <p:circl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3" name="Picture 7" descr="Screen Shot 2016-07-14 at 4.26.16 PM.png">
            <a:extLst>
              <a:ext uri="{FF2B5EF4-FFF2-40B4-BE49-F238E27FC236}">
                <a16:creationId xmlns:a16="http://schemas.microsoft.com/office/drawing/2014/main" id="{428063E9-F870-408D-8C3C-BF5ED75F9115}"/>
              </a:ext>
            </a:extLst>
          </p:cNvPr>
          <p:cNvPicPr>
            <a:picLocks noChangeAspect="1"/>
          </p:cNvPicPr>
          <p:nvPr userDrawn="1"/>
        </p:nvPicPr>
        <p:blipFill>
          <a:blip r:embed="rId2">
            <a:extLst>
              <a:ext uri="{28A0092B-C50C-407E-A947-70E740481C1C}">
                <a14:useLocalDpi xmlns:a14="http://schemas.microsoft.com/office/drawing/2010/main" val="0"/>
              </a:ext>
            </a:extLst>
          </a:blip>
          <a:srcRect r="2107" b="66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000390F9-CD2B-4A77-A203-B0DE9458951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B25AF353-4753-4AE1-8AD7-46B19DA46EA3}"/>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2803D59-AE6D-411D-87B7-AACC391BC628}"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4012303525"/>
      </p:ext>
    </p:extLst>
  </p:cSld>
  <p:clrMapOvr>
    <a:masterClrMapping/>
  </p:clrMapOvr>
  <p:transition spd="slow">
    <p:circl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5195888" y="0"/>
            <a:ext cx="3948112" cy="5143500"/>
          </a:xfrm>
          <a:prstGeom prst="rect">
            <a:avLst/>
          </a:prstGeom>
          <a:solidFill>
            <a:srgbClr val="6FB533"/>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sp>
        <p:nvSpPr>
          <p:cNvPr id="5" name="TextBox 4"/>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a:solidFill>
                  <a:schemeClr val="bg1"/>
                </a:solidFill>
                <a:latin typeface="Arial" charset="0"/>
              </a:rPr>
              <a:t>© 2017 NetApp, Inc. Cisco, Inc. All rights reserved. </a:t>
            </a:r>
          </a:p>
        </p:txBody>
      </p:sp>
      <p:pic>
        <p:nvPicPr>
          <p:cNvPr id="6" name="Picture 9" descr="FlexPod_Reg_CMYK-withbubble-white.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983805688"/>
      </p:ext>
    </p:extLst>
  </p:cSld>
  <p:clrMapOvr>
    <a:masterClrMapping/>
  </p:clrMapOvr>
  <p:transition spd="slow">
    <p:circl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846515"/>
            <a:ext cx="869696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758325"/>
            <a:ext cx="8617693" cy="419719"/>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1196009"/>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3695640374"/>
      </p:ext>
    </p:extLst>
  </p:cSld>
  <p:clrMapOvr>
    <a:masterClrMapping/>
  </p:clrMapOvr>
  <p:transition spd="slow">
    <p:circl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696960"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3429653137"/>
      </p:ext>
    </p:extLst>
  </p:cSld>
  <p:clrMapOvr>
    <a:masterClrMapping/>
  </p:clrMapOvr>
  <p:transition spd="slow">
    <p:circl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6" descr="FlexPod_Dots_RGB.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3346450"/>
            <a:ext cx="6457950" cy="180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Cisco_Logo_RGB_Screen_Blue2925.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413" y="420688"/>
            <a:ext cx="7207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FlexPod_Logo_RGB.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84313" y="1501775"/>
            <a:ext cx="2684462"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userDrawn="1"/>
        </p:nvSpPr>
        <p:spPr bwMode="auto">
          <a:xfrm>
            <a:off x="4124325" y="1495425"/>
            <a:ext cx="123825" cy="10477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anchor="ctr"/>
          <a:lstStyle/>
          <a:p>
            <a:pPr algn="ctr" eaLnBrk="1" hangingPunct="1">
              <a:buClr>
                <a:schemeClr val="accent2"/>
              </a:buClr>
              <a:buFont typeface="Wingdings 2" pitchFamily="18" charset="2"/>
              <a:buNone/>
              <a:defRPr/>
            </a:pPr>
            <a:endParaRPr lang="en-US">
              <a:ln>
                <a:solidFill>
                  <a:schemeClr val="bg1"/>
                </a:solidFill>
              </a:ln>
              <a:solidFill>
                <a:srgbClr val="FFFFFF"/>
              </a:solidFill>
              <a:latin typeface="Arial" charset="0"/>
            </a:endParaRPr>
          </a:p>
        </p:txBody>
      </p:sp>
      <p:pic>
        <p:nvPicPr>
          <p:cNvPr id="8" name="Picture 10"/>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67575" y="539750"/>
            <a:ext cx="1187450"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 name="Rectangle 4"/>
          <p:cNvSpPr>
            <a:spLocks noGrp="1" noChangeArrowheads="1"/>
          </p:cNvSpPr>
          <p:nvPr>
            <p:ph type="subTitle" idx="1"/>
          </p:nvPr>
        </p:nvSpPr>
        <p:spPr bwMode="black">
          <a:xfrm>
            <a:off x="1490672" y="3043065"/>
            <a:ext cx="4127331" cy="583451"/>
          </a:xfrm>
        </p:spPr>
        <p:txBody>
          <a:bodyPr>
            <a:noAutofit/>
          </a:bodyPr>
          <a:lstStyle>
            <a:lvl1pPr marL="0" indent="0">
              <a:buFont typeface="Wingdings 2" pitchFamily="18" charset="2"/>
              <a:buNone/>
              <a:defRPr sz="2000">
                <a:solidFill>
                  <a:schemeClr val="tx1"/>
                </a:solidFill>
              </a:defRPr>
            </a:lvl1pPr>
          </a:lstStyle>
          <a:p>
            <a:r>
              <a:rPr lang="en-US"/>
              <a:t>Click to edit Master subtitle style</a:t>
            </a:r>
          </a:p>
        </p:txBody>
      </p:sp>
      <p:sp>
        <p:nvSpPr>
          <p:cNvPr id="4099" name="Rectangle 3"/>
          <p:cNvSpPr>
            <a:spLocks noGrp="1" noChangeArrowheads="1"/>
          </p:cNvSpPr>
          <p:nvPr>
            <p:ph type="ctrTitle"/>
          </p:nvPr>
        </p:nvSpPr>
        <p:spPr bwMode="black">
          <a:xfrm>
            <a:off x="1483703" y="2142696"/>
            <a:ext cx="6234155" cy="666944"/>
          </a:xfrm>
        </p:spPr>
        <p:txBody>
          <a:bodyPr anchor="t"/>
          <a:lstStyle>
            <a:lvl1pPr>
              <a:lnSpc>
                <a:spcPts val="4000"/>
              </a:lnSpc>
              <a:defRPr sz="2800" b="0">
                <a:solidFill>
                  <a:schemeClr val="tx1"/>
                </a:solidFill>
              </a:defRPr>
            </a:lvl1pPr>
          </a:lstStyle>
          <a:p>
            <a:r>
              <a:rPr lang="en-US"/>
              <a:t>Click to edit Master title style</a:t>
            </a:r>
          </a:p>
        </p:txBody>
      </p:sp>
      <p:sp>
        <p:nvSpPr>
          <p:cNvPr id="9" name="Rectangle 71"/>
          <p:cNvSpPr>
            <a:spLocks noGrp="1" noChangeArrowheads="1"/>
          </p:cNvSpPr>
          <p:nvPr>
            <p:ph type="ftr" sz="quarter" idx="10"/>
          </p:nvPr>
        </p:nvSpPr>
        <p:spPr bwMode="auto">
          <a:xfrm>
            <a:off x="4646613" y="4897438"/>
            <a:ext cx="4254500" cy="192087"/>
          </a:xfrm>
          <a:prstGeom prst="rect">
            <a:avLst/>
          </a:prstGeom>
          <a:ln>
            <a:miter lim="800000"/>
            <a:headEnd/>
            <a:tailEnd/>
          </a:ln>
        </p:spPr>
        <p:txBody>
          <a:bodyPr vert="horz" wrap="square" lIns="0" tIns="0" rIns="0" bIns="0" numCol="1" anchor="t" anchorCtr="0" compatLnSpc="1">
            <a:prstTxWarp prst="textNoShape">
              <a:avLst/>
            </a:prstTxWarp>
          </a:bodyPr>
          <a:lstStyle>
            <a:lvl1pPr algn="r">
              <a:buClrTx/>
              <a:buFontTx/>
              <a:buNone/>
              <a:defRPr sz="900" dirty="0">
                <a:solidFill>
                  <a:srgbClr val="7F7F7F"/>
                </a:solidFill>
              </a:defRPr>
            </a:lvl1pPr>
          </a:lstStyle>
          <a:p>
            <a:pPr>
              <a:defRPr/>
            </a:pPr>
            <a:r>
              <a:rPr lang="en-US"/>
              <a:t>© 2017 Cisco and NetApp. All rights reserved. </a:t>
            </a:r>
          </a:p>
        </p:txBody>
      </p:sp>
    </p:spTree>
    <p:extLst>
      <p:ext uri="{BB962C8B-B14F-4D97-AF65-F5344CB8AC3E}">
        <p14:creationId xmlns:p14="http://schemas.microsoft.com/office/powerpoint/2010/main" val="339089775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Heading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p:cNvSpPr>
            <a:spLocks noGrp="1"/>
          </p:cNvSpPr>
          <p:nvPr>
            <p:ph type="ftr" sz="quarter" idx="10"/>
          </p:nvPr>
        </p:nvSpPr>
        <p:spPr>
          <a:xfrm>
            <a:off x="0" y="0"/>
            <a:ext cx="0" cy="0"/>
          </a:xfrm>
        </p:spPr>
        <p:txBody>
          <a:bodyPr/>
          <a:lstStyle>
            <a:lvl1pPr>
              <a:defRPr>
                <a:hlinkClick r:id="rId2"/>
              </a:defRPr>
            </a:lvl1pPr>
          </a:lstStyle>
          <a:p>
            <a:pPr>
              <a:defRPr/>
            </a:pPr>
            <a:r>
              <a:rPr lang="en-US"/>
              <a:t>© 2015 NetApp, Inc. All rights reserved. NetApp Proprietary - Limited Use Only</a:t>
            </a:r>
          </a:p>
        </p:txBody>
      </p:sp>
    </p:spTree>
    <p:extLst>
      <p:ext uri="{BB962C8B-B14F-4D97-AF65-F5344CB8AC3E}">
        <p14:creationId xmlns:p14="http://schemas.microsoft.com/office/powerpoint/2010/main" val="12946024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44501" y="1002507"/>
            <a:ext cx="4051300" cy="3594894"/>
          </a:xfrm>
        </p:spPr>
        <p:txBody>
          <a:bodyPr/>
          <a:lstStyle>
            <a:lvl1pPr>
              <a:defRPr sz="2400">
                <a:solidFill>
                  <a:schemeClr val="tx1"/>
                </a:solidFill>
              </a:defRPr>
            </a:lvl1pPr>
            <a:lvl2pPr>
              <a:defRPr sz="2200">
                <a:solidFill>
                  <a:schemeClr val="tx1"/>
                </a:solidFill>
              </a:defRPr>
            </a:lvl2pPr>
            <a:lvl3pPr>
              <a:defRPr sz="22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002507"/>
            <a:ext cx="4222750" cy="3594894"/>
          </a:xfrm>
        </p:spPr>
        <p:txBody>
          <a:bodyPr/>
          <a:lstStyle>
            <a:lvl1pPr>
              <a:defRPr sz="2400">
                <a:solidFill>
                  <a:srgbClr val="4C4948"/>
                </a:solidFill>
              </a:defRPr>
            </a:lvl1pPr>
            <a:lvl2pPr>
              <a:defRPr sz="2200">
                <a:solidFill>
                  <a:srgbClr val="4C4948"/>
                </a:solidFill>
              </a:defRPr>
            </a:lvl2pPr>
            <a:lvl3pPr>
              <a:defRPr sz="2200">
                <a:solidFill>
                  <a:srgbClr val="4C4948"/>
                </a:solidFill>
              </a:defRPr>
            </a:lvl3pPr>
            <a:lvl4pPr>
              <a:defRPr sz="1800">
                <a:solidFill>
                  <a:srgbClr val="4C4948"/>
                </a:solidFill>
              </a:defRPr>
            </a:lvl4pPr>
            <a:lvl5pPr>
              <a:defRPr sz="1800">
                <a:solidFill>
                  <a:srgbClr val="4C4948"/>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p:cNvSpPr>
            <a:spLocks noGrp="1" noChangeArrowheads="1"/>
          </p:cNvSpPr>
          <p:nvPr>
            <p:ph type="sldNum" sz="quarter" idx="10"/>
          </p:nvPr>
        </p:nvSpPr>
        <p:spPr bwMode="auto">
          <a:xfrm>
            <a:off x="8188325" y="4862513"/>
            <a:ext cx="592138" cy="130175"/>
          </a:xfrm>
          <a:prstGeom prst="rect">
            <a:avLst/>
          </a:prstGeom>
          <a:ln>
            <a:miter lim="800000"/>
            <a:headEnd/>
            <a:tailEnd/>
          </a:ln>
        </p:spPr>
        <p:txBody>
          <a:bodyPr vert="horz" wrap="square" lIns="0" tIns="0" rIns="0" bIns="0" numCol="1" anchor="t" anchorCtr="0" compatLnSpc="1">
            <a:prstTxWarp prst="textNoShape">
              <a:avLst/>
            </a:prstTxWarp>
          </a:bodyPr>
          <a:lstStyle>
            <a:lvl1pPr algn="r">
              <a:buClrTx/>
              <a:buFontTx/>
              <a:buNone/>
              <a:defRPr sz="900" b="1">
                <a:solidFill>
                  <a:srgbClr val="7F7F7F"/>
                </a:solidFill>
              </a:defRPr>
            </a:lvl1pPr>
          </a:lstStyle>
          <a:p>
            <a:pPr>
              <a:defRPr/>
            </a:pPr>
            <a:fld id="{3C63D6F3-D09C-4CD9-A093-E5A4CC235012}" type="slidenum">
              <a:rPr lang="en-US"/>
              <a:pPr>
                <a:defRPr/>
              </a:pPr>
              <a:t>‹#›</a:t>
            </a:fld>
            <a:endParaRPr lang="en-US"/>
          </a:p>
        </p:txBody>
      </p:sp>
      <p:sp>
        <p:nvSpPr>
          <p:cNvPr id="6" name="Rectangle 71"/>
          <p:cNvSpPr>
            <a:spLocks noGrp="1" noChangeArrowheads="1"/>
          </p:cNvSpPr>
          <p:nvPr>
            <p:ph type="ftr" sz="quarter" idx="11"/>
          </p:nvPr>
        </p:nvSpPr>
        <p:spPr bwMode="auto">
          <a:xfrm>
            <a:off x="454025" y="4856163"/>
            <a:ext cx="5051425" cy="190500"/>
          </a:xfrm>
          <a:prstGeom prst="rect">
            <a:avLst/>
          </a:prstGeom>
          <a:ln>
            <a:miter lim="800000"/>
            <a:headEnd/>
            <a:tailEnd/>
          </a:ln>
        </p:spPr>
        <p:txBody>
          <a:bodyPr vert="horz" wrap="square" lIns="0" tIns="0" rIns="0" bIns="0" numCol="1" anchor="t" anchorCtr="0" compatLnSpc="1">
            <a:prstTxWarp prst="textNoShape">
              <a:avLst/>
            </a:prstTxWarp>
          </a:bodyPr>
          <a:lstStyle>
            <a:lvl1pPr algn="l">
              <a:buClrTx/>
              <a:buFontTx/>
              <a:buNone/>
              <a:defRPr sz="900">
                <a:solidFill>
                  <a:srgbClr val="7F7F7F"/>
                </a:solidFill>
              </a:defRPr>
            </a:lvl1pPr>
          </a:lstStyle>
          <a:p>
            <a:pPr>
              <a:defRPr/>
            </a:pPr>
            <a:r>
              <a:rPr lang="en-US"/>
              <a:t>© 2015 Cisco and NetApp. All rights reserved. </a:t>
            </a:r>
          </a:p>
        </p:txBody>
      </p:sp>
    </p:spTree>
    <p:extLst>
      <p:ext uri="{BB962C8B-B14F-4D97-AF65-F5344CB8AC3E}">
        <p14:creationId xmlns:p14="http://schemas.microsoft.com/office/powerpoint/2010/main" val="28228080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NO BOTTOM STRIPE Title +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1108077" y="960835"/>
            <a:ext cx="7633253" cy="3577610"/>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Slide Number Placeholder 2"/>
          <p:cNvSpPr>
            <a:spLocks noGrp="1"/>
          </p:cNvSpPr>
          <p:nvPr>
            <p:ph type="sldNum" sz="quarter" idx="13"/>
          </p:nvPr>
        </p:nvSpPr>
        <p:spPr>
          <a:xfrm>
            <a:off x="0" y="0"/>
            <a:ext cx="0" cy="0"/>
          </a:xfrm>
        </p:spPr>
        <p:txBody>
          <a:bodyPr/>
          <a:lstStyle>
            <a:lvl1pPr>
              <a:defRPr/>
            </a:lvl1pPr>
          </a:lstStyle>
          <a:p>
            <a:pPr>
              <a:defRPr/>
            </a:pPr>
            <a:fld id="{D411613E-D8C2-4F78-99FE-C2DE7BCE5376}" type="slidenum">
              <a:rPr lang="en-US"/>
              <a:pPr>
                <a:defRPr/>
              </a:pPr>
              <a:t>‹#›</a:t>
            </a:fld>
            <a:endParaRPr lang="en-US"/>
          </a:p>
        </p:txBody>
      </p:sp>
      <p:sp>
        <p:nvSpPr>
          <p:cNvPr id="5" name="Footer Placeholder 3"/>
          <p:cNvSpPr>
            <a:spLocks noGrp="1"/>
          </p:cNvSpPr>
          <p:nvPr>
            <p:ph type="ftr" sz="quarter" idx="14"/>
          </p:nvPr>
        </p:nvSpPr>
        <p:spPr>
          <a:xfrm>
            <a:off x="0" y="0"/>
            <a:ext cx="0" cy="0"/>
          </a:xfrm>
        </p:spPr>
        <p:txBody>
          <a:bodyPr/>
          <a:lstStyle>
            <a:lvl1pPr>
              <a:defRPr>
                <a:solidFill>
                  <a:srgbClr val="000000"/>
                </a:solidFill>
              </a:defRPr>
            </a:lvl1pPr>
          </a:lstStyle>
          <a:p>
            <a:pPr>
              <a:defRPr/>
            </a:pPr>
            <a:r>
              <a:rPr lang="en-US"/>
              <a:t>© 2015 Cisco and NetApp. All rights reserved. </a:t>
            </a:r>
          </a:p>
        </p:txBody>
      </p:sp>
    </p:spTree>
    <p:extLst>
      <p:ext uri="{BB962C8B-B14F-4D97-AF65-F5344CB8AC3E}">
        <p14:creationId xmlns:p14="http://schemas.microsoft.com/office/powerpoint/2010/main" val="7412893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4533900"/>
            <a:ext cx="9144000" cy="2286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91438" tIns="45719" rIns="91438" bIns="45719" anchor="ct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7" descr="FlexPod_Dots_RGB.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86050" y="0"/>
            <a:ext cx="6457950" cy="180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2"/>
          </p:nvPr>
        </p:nvSpPr>
        <p:spPr>
          <a:xfrm>
            <a:off x="1655764" y="2743201"/>
            <a:ext cx="5888036" cy="651896"/>
          </a:xfrm>
        </p:spPr>
        <p:txBody>
          <a:bodyPr/>
          <a:lstStyle>
            <a:lvl1pPr marL="228594" indent="-228594" algn="l">
              <a:lnSpc>
                <a:spcPct val="100000"/>
              </a:lnSpc>
              <a:spcAft>
                <a:spcPts val="0"/>
              </a:spcAft>
              <a:buFont typeface="Wingdings" pitchFamily="2" charset="2"/>
              <a:buNone/>
              <a:defRPr sz="2400">
                <a:solidFill>
                  <a:schemeClr val="tx1"/>
                </a:solidFill>
              </a:defRPr>
            </a:lvl1pPr>
            <a:lvl2pPr marL="300031" indent="0">
              <a:buFontTx/>
              <a:buNone/>
              <a:defRPr sz="2200">
                <a:solidFill>
                  <a:schemeClr val="tx1">
                    <a:lumMod val="65000"/>
                    <a:lumOff val="35000"/>
                  </a:schemeClr>
                </a:solidFill>
              </a:defRPr>
            </a:lvl2pPr>
            <a:lvl3pPr marL="638159" indent="0">
              <a:buFontTx/>
              <a:buNone/>
              <a:defRPr sz="2200">
                <a:solidFill>
                  <a:schemeClr val="tx1">
                    <a:lumMod val="65000"/>
                    <a:lumOff val="35000"/>
                  </a:schemeClr>
                </a:solidFill>
              </a:defRPr>
            </a:lvl3pPr>
            <a:lvl4pPr marL="928665" indent="0">
              <a:buFontTx/>
              <a:buNone/>
              <a:defRPr sz="2200">
                <a:solidFill>
                  <a:schemeClr val="tx1">
                    <a:lumMod val="65000"/>
                    <a:lumOff val="35000"/>
                  </a:schemeClr>
                </a:solidFill>
              </a:defRPr>
            </a:lvl4pPr>
            <a:lvl5pPr marL="1238219" indent="0">
              <a:buFontTx/>
              <a:buNone/>
              <a:defRPr sz="2200">
                <a:solidFill>
                  <a:schemeClr val="tx1">
                    <a:lumMod val="65000"/>
                    <a:lumOff val="35000"/>
                  </a:schemeClr>
                </a:solidFill>
              </a:defRPr>
            </a:lvl5pPr>
          </a:lstStyle>
          <a:p>
            <a:pPr lvl="0"/>
            <a:r>
              <a:rPr lang="en-US"/>
              <a:t>Edit Master text styles</a:t>
            </a:r>
          </a:p>
        </p:txBody>
      </p:sp>
      <p:sp>
        <p:nvSpPr>
          <p:cNvPr id="9" name="Title 6"/>
          <p:cNvSpPr>
            <a:spLocks noGrp="1"/>
          </p:cNvSpPr>
          <p:nvPr>
            <p:ph type="title"/>
          </p:nvPr>
        </p:nvSpPr>
        <p:spPr>
          <a:xfrm>
            <a:off x="1655773" y="2063755"/>
            <a:ext cx="6116637" cy="654845"/>
          </a:xfrm>
        </p:spPr>
        <p:txBody>
          <a:bodyPr anchor="t"/>
          <a:lstStyle>
            <a:lvl1pPr algn="l">
              <a:lnSpc>
                <a:spcPts val="4000"/>
              </a:lnSpc>
              <a:defRPr sz="3600" b="1">
                <a:solidFill>
                  <a:schemeClr val="tx1"/>
                </a:solidFill>
              </a:defRPr>
            </a:lvl1pPr>
          </a:lstStyle>
          <a:p>
            <a:r>
              <a:rPr lang="en-US"/>
              <a:t>Click to edit Master title style</a:t>
            </a:r>
          </a:p>
        </p:txBody>
      </p:sp>
      <p:sp>
        <p:nvSpPr>
          <p:cNvPr id="6" name="Rectangle 6"/>
          <p:cNvSpPr>
            <a:spLocks noGrp="1" noChangeArrowheads="1"/>
          </p:cNvSpPr>
          <p:nvPr>
            <p:ph type="sldNum" sz="quarter" idx="13"/>
          </p:nvPr>
        </p:nvSpPr>
        <p:spPr bwMode="auto">
          <a:xfrm>
            <a:off x="8188325" y="4862513"/>
            <a:ext cx="592138" cy="130175"/>
          </a:xfrm>
          <a:prstGeom prst="rect">
            <a:avLst/>
          </a:prstGeom>
          <a:ln>
            <a:miter lim="800000"/>
            <a:headEnd/>
            <a:tailEnd/>
          </a:ln>
        </p:spPr>
        <p:txBody>
          <a:bodyPr vert="horz" wrap="square" lIns="0" tIns="0" rIns="0" bIns="0" numCol="1" anchor="t" anchorCtr="0" compatLnSpc="1">
            <a:prstTxWarp prst="textNoShape">
              <a:avLst/>
            </a:prstTxWarp>
          </a:bodyPr>
          <a:lstStyle>
            <a:lvl1pPr algn="r">
              <a:buClrTx/>
              <a:buFontTx/>
              <a:buNone/>
              <a:defRPr sz="900" b="1">
                <a:solidFill>
                  <a:srgbClr val="7F7F7F"/>
                </a:solidFill>
              </a:defRPr>
            </a:lvl1pPr>
          </a:lstStyle>
          <a:p>
            <a:pPr>
              <a:defRPr/>
            </a:pPr>
            <a:fld id="{C13AE8AB-AA79-4304-9408-E624E5A3B804}" type="slidenum">
              <a:rPr lang="en-US"/>
              <a:pPr>
                <a:defRPr/>
              </a:pPr>
              <a:t>‹#›</a:t>
            </a:fld>
            <a:endParaRPr lang="en-US"/>
          </a:p>
        </p:txBody>
      </p:sp>
      <p:sp>
        <p:nvSpPr>
          <p:cNvPr id="7" name="Rectangle 71"/>
          <p:cNvSpPr>
            <a:spLocks noGrp="1" noChangeArrowheads="1"/>
          </p:cNvSpPr>
          <p:nvPr>
            <p:ph type="ftr" sz="quarter" idx="14"/>
          </p:nvPr>
        </p:nvSpPr>
        <p:spPr bwMode="auto">
          <a:xfrm>
            <a:off x="454025" y="4856163"/>
            <a:ext cx="5051425" cy="190500"/>
          </a:xfrm>
          <a:prstGeom prst="rect">
            <a:avLst/>
          </a:prstGeom>
          <a:ln>
            <a:miter lim="800000"/>
            <a:headEnd/>
            <a:tailEnd/>
          </a:ln>
        </p:spPr>
        <p:txBody>
          <a:bodyPr vert="horz" wrap="square" lIns="0" tIns="0" rIns="0" bIns="0" numCol="1" anchor="t" anchorCtr="0" compatLnSpc="1">
            <a:prstTxWarp prst="textNoShape">
              <a:avLst/>
            </a:prstTxWarp>
          </a:bodyPr>
          <a:lstStyle>
            <a:lvl1pPr algn="l">
              <a:buClrTx/>
              <a:buFontTx/>
              <a:buNone/>
              <a:defRPr sz="900">
                <a:solidFill>
                  <a:srgbClr val="7F7F7F"/>
                </a:solidFill>
              </a:defRPr>
            </a:lvl1pPr>
          </a:lstStyle>
          <a:p>
            <a:pPr>
              <a:defRPr/>
            </a:pPr>
            <a:r>
              <a:rPr lang="en-US"/>
              <a:t>© 2015 Cisco and NetApp. All rights reserved. </a:t>
            </a:r>
          </a:p>
        </p:txBody>
      </p:sp>
    </p:spTree>
    <p:extLst>
      <p:ext uri="{BB962C8B-B14F-4D97-AF65-F5344CB8AC3E}">
        <p14:creationId xmlns:p14="http://schemas.microsoft.com/office/powerpoint/2010/main" val="25229394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Footer Placeholder 3"/>
          <p:cNvSpPr>
            <a:spLocks noGrp="1"/>
          </p:cNvSpPr>
          <p:nvPr>
            <p:ph type="ftr" sz="quarter" idx="10"/>
          </p:nvPr>
        </p:nvSpPr>
        <p:spPr>
          <a:xfrm>
            <a:off x="5078413" y="4973638"/>
            <a:ext cx="1822450" cy="11588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24867257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249964"/>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133441132"/>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7" descr="Screen Shot 2016-07-14 at 2.40.14 PM.png">
            <a:extLst>
              <a:ext uri="{FF2B5EF4-FFF2-40B4-BE49-F238E27FC236}">
                <a16:creationId xmlns:a16="http://schemas.microsoft.com/office/drawing/2014/main" id="{6644ABD4-C1E8-4C8C-A8FA-B400B19A953C}"/>
              </a:ext>
            </a:extLst>
          </p:cNvPr>
          <p:cNvPicPr>
            <a:picLocks noChangeAspect="1"/>
          </p:cNvPicPr>
          <p:nvPr userDrawn="1"/>
        </p:nvPicPr>
        <p:blipFill>
          <a:blip r:embed="rId2">
            <a:extLst>
              <a:ext uri="{28A0092B-C50C-407E-A947-70E740481C1C}">
                <a14:useLocalDpi xmlns:a14="http://schemas.microsoft.com/office/drawing/2010/main" val="0"/>
              </a:ext>
            </a:extLst>
          </a:blip>
          <a:srcRect l="11494" r="7607"/>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84872229-5889-4183-BA6E-C0515E94E8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02CF77D2-9534-4D6B-8538-184C36DE2382}"/>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1C7D2F4-2C0C-4718-829C-9984FBDA21AF}"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719178394"/>
      </p:ext>
    </p:extLst>
  </p:cSld>
  <p:clrMapOvr>
    <a:masterClrMapping/>
  </p:clrMapOvr>
  <p:transition spd="slow">
    <p:circl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 Subtitle + Conten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1155700" y="996951"/>
            <a:ext cx="7683500" cy="38877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6"/>
          <p:cNvSpPr>
            <a:spLocks noGrp="1"/>
          </p:cNvSpPr>
          <p:nvPr>
            <p:ph sz="quarter" idx="11"/>
          </p:nvPr>
        </p:nvSpPr>
        <p:spPr>
          <a:xfrm>
            <a:off x="685800" y="537452"/>
            <a:ext cx="8153402" cy="296235"/>
          </a:xfrm>
          <a:noFill/>
        </p:spPr>
        <p:txBody>
          <a:bodyPr rtlCol="0">
            <a:spAutoFit/>
          </a:bodyPr>
          <a:lstStyle>
            <a:lvl1pPr marL="0" algn="l" defTabSz="457181" rtl="0" eaLnBrk="1" latinLnBrk="0" hangingPunct="1">
              <a:lnSpc>
                <a:spcPct val="90000"/>
              </a:lnSpc>
              <a:spcBef>
                <a:spcPts val="0"/>
              </a:spcBef>
              <a:buNone/>
              <a:defRPr lang="en-US" sz="2100" b="1" kern="1200" smtClean="0">
                <a:solidFill>
                  <a:schemeClr val="accent1"/>
                </a:solidFill>
                <a:latin typeface="Arial" charset="0"/>
                <a:ea typeface="Arial" charset="0"/>
                <a:cs typeface="Arial" charset="0"/>
                <a:sym typeface="Arial" charset="0"/>
              </a:defRPr>
            </a:lvl1pPr>
          </a:lstStyle>
          <a:p>
            <a:pPr lvl="0"/>
            <a:r>
              <a:rPr lang="en-US"/>
              <a:t>Edit Master text styles</a:t>
            </a:r>
          </a:p>
        </p:txBody>
      </p:sp>
      <p:sp>
        <p:nvSpPr>
          <p:cNvPr id="7" name="Title 6"/>
          <p:cNvSpPr>
            <a:spLocks noGrp="1"/>
          </p:cNvSpPr>
          <p:nvPr>
            <p:ph type="title"/>
          </p:nvPr>
        </p:nvSpPr>
        <p:spPr/>
        <p:txBody>
          <a:bodyPr/>
          <a:lstStyle/>
          <a:p>
            <a:r>
              <a:rPr lang="en-US"/>
              <a:t>Click to edit Master title style</a:t>
            </a:r>
          </a:p>
        </p:txBody>
      </p:sp>
      <p:sp>
        <p:nvSpPr>
          <p:cNvPr id="5" name="Footer Placeholder 3"/>
          <p:cNvSpPr>
            <a:spLocks noGrp="1"/>
          </p:cNvSpPr>
          <p:nvPr>
            <p:ph type="ftr" sz="quarter" idx="12"/>
          </p:nvPr>
        </p:nvSpPr>
        <p:spPr>
          <a:xfrm>
            <a:off x="5078413" y="4973638"/>
            <a:ext cx="1822450" cy="11588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99191166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835354619"/>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155700" y="709129"/>
            <a:ext cx="7683500" cy="40454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5078413" y="4973638"/>
            <a:ext cx="1822450" cy="115887"/>
          </a:xfrm>
          <a:prstGeom prst="rect">
            <a:avLst/>
          </a:prstGeom>
        </p:spPr>
        <p:txBody>
          <a:bodyPr wrap="none" lIns="0" tIns="0" rIns="0" bIns="0" rtlCol="0" anchor="ctr" anchorCtr="0">
            <a:spAutoFit/>
          </a:bodyPr>
          <a:lstStyle>
            <a:lvl1pPr>
              <a:lnSpc>
                <a:spcPct val="90000"/>
              </a:lnSpc>
              <a:buClr>
                <a:schemeClr val="accent2"/>
              </a:buClr>
              <a:defRPr kumimoji="0" lang="en-US" sz="800" b="0" i="0" u="none" strike="noStrike" kern="1200" cap="none" spc="0" normalizeH="0" baseline="0" noProof="0">
                <a:ln>
                  <a:noFill/>
                </a:ln>
                <a:solidFill>
                  <a:schemeClr val="tx1"/>
                </a:solidFill>
                <a:effectLst/>
                <a:uLnTx/>
                <a:uFillTx/>
                <a:latin typeface="Arial" charset="0"/>
                <a:ea typeface="+mn-ea"/>
                <a:cs typeface="+mn-cs"/>
              </a:defRPr>
            </a:lvl1pPr>
          </a:lstStyle>
          <a:p>
            <a:pPr>
              <a:defRPr/>
            </a:pPr>
            <a:r>
              <a:t>NetApp Proprietary – Limited Use Only</a:t>
            </a:r>
          </a:p>
        </p:txBody>
      </p:sp>
    </p:spTree>
    <p:extLst>
      <p:ext uri="{BB962C8B-B14F-4D97-AF65-F5344CB8AC3E}">
        <p14:creationId xmlns:p14="http://schemas.microsoft.com/office/powerpoint/2010/main" val="146676012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3" name="Rectangle 2"/>
          <p:cNvSpPr>
            <a:spLocks noChangeArrowheads="1"/>
          </p:cNvSpPr>
          <p:nvPr userDrawn="1"/>
        </p:nvSpPr>
        <p:spPr bwMode="white">
          <a:xfrm>
            <a:off x="0" y="0"/>
            <a:ext cx="9144000" cy="285750"/>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514350">
              <a:defRPr sz="2000">
                <a:solidFill>
                  <a:schemeClr val="tx1"/>
                </a:solidFill>
                <a:latin typeface="Arial" panose="020B0604020202020204" pitchFamily="34" charset="0"/>
              </a:defRPr>
            </a:lvl1pPr>
            <a:lvl2pPr defTabSz="514350">
              <a:defRPr sz="2000">
                <a:solidFill>
                  <a:schemeClr val="tx1"/>
                </a:solidFill>
                <a:latin typeface="Arial" panose="020B0604020202020204" pitchFamily="34" charset="0"/>
              </a:defRPr>
            </a:lvl2pPr>
            <a:lvl3pPr defTabSz="514350">
              <a:defRPr sz="2000">
                <a:solidFill>
                  <a:schemeClr val="tx1"/>
                </a:solidFill>
                <a:latin typeface="Arial" panose="020B0604020202020204" pitchFamily="34" charset="0"/>
              </a:defRPr>
            </a:lvl3pPr>
            <a:lvl4pPr defTabSz="514350">
              <a:defRPr sz="2000">
                <a:solidFill>
                  <a:schemeClr val="tx1"/>
                </a:solidFill>
                <a:latin typeface="Arial" panose="020B0604020202020204" pitchFamily="34" charset="0"/>
              </a:defRPr>
            </a:lvl4pPr>
            <a:lvl5pPr defTabSz="514350">
              <a:defRPr sz="2000">
                <a:solidFill>
                  <a:schemeClr val="tx1"/>
                </a:solidFill>
                <a:latin typeface="Arial" panose="020B0604020202020204" pitchFamily="34" charset="0"/>
              </a:defRPr>
            </a:lvl5pPr>
            <a:lvl6pPr marL="2284413" indent="1588" defTabSz="514350"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4350"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4350"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4350" eaLnBrk="0" fontAlgn="base" hangingPunct="0">
              <a:spcBef>
                <a:spcPct val="0"/>
              </a:spcBef>
              <a:spcAft>
                <a:spcPct val="0"/>
              </a:spcAft>
              <a:defRPr sz="2000">
                <a:solidFill>
                  <a:schemeClr val="tx1"/>
                </a:solidFill>
                <a:latin typeface="Arial" panose="020B0604020202020204" pitchFamily="34" charset="0"/>
              </a:defRPr>
            </a:lvl9pPr>
          </a:lstStyle>
          <a:p>
            <a:pPr algn="ctr">
              <a:defRPr/>
            </a:pPr>
            <a:endParaRPr lang="en-US" altLang="en-US" sz="1400">
              <a:solidFill>
                <a:schemeClr val="bg1"/>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4799" y="155576"/>
            <a:ext cx="8513064" cy="434974"/>
          </a:xfrm>
        </p:spPr>
        <p:txBody>
          <a:bodyPr/>
          <a:lstStyle>
            <a:lvl1pPr>
              <a:defRPr baseline="0"/>
            </a:lvl1pPr>
          </a:lstStyle>
          <a:p>
            <a:r>
              <a:rPr lang="en-US"/>
              <a:t>Click to edit Master title style</a:t>
            </a:r>
          </a:p>
        </p:txBody>
      </p:sp>
      <p:sp>
        <p:nvSpPr>
          <p:cNvPr id="4" name="Slide Number Placeholder 2"/>
          <p:cNvSpPr>
            <a:spLocks noGrp="1"/>
          </p:cNvSpPr>
          <p:nvPr>
            <p:ph type="sldNum" sz="quarter" idx="10"/>
          </p:nvPr>
        </p:nvSpPr>
        <p:spPr bwMode="auto">
          <a:xfrm>
            <a:off x="0" y="0"/>
            <a:ext cx="0" cy="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defTabSz="514350">
              <a:defRPr smtClean="0">
                <a:solidFill>
                  <a:srgbClr val="595959"/>
                </a:solidFill>
                <a:sym typeface="Arial" panose="020B0604020202020204" pitchFamily="34" charset="0"/>
              </a:defRPr>
            </a:lvl1pPr>
          </a:lstStyle>
          <a:p>
            <a:pPr>
              <a:defRPr/>
            </a:pPr>
            <a:fld id="{9269B0E3-1772-443F-98A7-F6E49F19DE9A}" type="slidenum">
              <a:rPr lang="en-US" altLang="en-US"/>
              <a:pPr>
                <a:defRPr/>
              </a:pPr>
              <a:t>‹#›</a:t>
            </a:fld>
            <a:endParaRPr lang="en-US" altLang="en-US"/>
          </a:p>
        </p:txBody>
      </p:sp>
    </p:spTree>
    <p:extLst>
      <p:ext uri="{BB962C8B-B14F-4D97-AF65-F5344CB8AC3E}">
        <p14:creationId xmlns:p14="http://schemas.microsoft.com/office/powerpoint/2010/main" val="2704295117"/>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Subtitle and Two Columns">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
        <p:nvSpPr>
          <p:cNvPr id="5" name="Content Placeholder 4"/>
          <p:cNvSpPr>
            <a:spLocks noGrp="1"/>
          </p:cNvSpPr>
          <p:nvPr>
            <p:ph sz="quarter" idx="12"/>
          </p:nvPr>
        </p:nvSpPr>
        <p:spPr>
          <a:xfrm>
            <a:off x="4670227" y="1305596"/>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63400"/>
      </p:ext>
    </p:extLst>
  </p:cSld>
  <p:clrMapOvr>
    <a:masterClrMapping/>
  </p:clrMapOvr>
  <p:transition spd="slow">
    <p:circl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1252329138"/>
      </p:ext>
    </p:extLst>
  </p:cSld>
  <p:clrMapOvr>
    <a:masterClrMapping/>
  </p:clrMapOvr>
  <p:transition spd="slow">
    <p:circl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a:t>Title Goes Here</a:t>
            </a:r>
          </a:p>
        </p:txBody>
      </p:sp>
      <p:sp>
        <p:nvSpPr>
          <p:cNvPr id="6" name="Text Placeholder 3"/>
          <p:cNvSpPr>
            <a:spLocks noGrp="1"/>
          </p:cNvSpPr>
          <p:nvPr>
            <p:ph type="body" sz="quarter" idx="10"/>
          </p:nvPr>
        </p:nvSpPr>
        <p:spPr>
          <a:xfrm>
            <a:off x="245457"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1"/>
          </p:nvPr>
        </p:nvSpPr>
        <p:spPr>
          <a:xfrm>
            <a:off x="4640994"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66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a:solidFill>
                  <a:srgbClr val="A2A5A2">
                    <a:lumMod val="50000"/>
                  </a:srgbClr>
                </a:solidFill>
              </a:rPr>
              <a:t>© 2018 NetApp, Inc. All rights reserved.  </a:t>
            </a:r>
            <a:r>
              <a:rPr>
                <a:solidFill>
                  <a:srgbClr val="A2A5A2">
                    <a:lumMod val="50000"/>
                  </a:srgbClr>
                </a:solidFill>
                <a:cs typeface="Arial" panose="020B0604020202020204" pitchFamily="34" charset="0"/>
              </a:rPr>
              <a:t>— </a:t>
            </a:r>
            <a:r>
              <a:rPr>
                <a:solidFill>
                  <a:srgbClr val="A2A5A2">
                    <a:lumMod val="50000"/>
                  </a:srgbClr>
                </a:solidFill>
              </a:rPr>
              <a:t>NETAPP CONFIDENTIAL </a:t>
            </a:r>
            <a:r>
              <a:rPr>
                <a:solidFill>
                  <a:srgbClr val="A2A5A2">
                    <a:lumMod val="50000"/>
                  </a:srgbClr>
                </a:solidFill>
                <a:cs typeface="Arial" panose="020B0604020202020204" pitchFamily="34" charset="0"/>
              </a:rPr>
              <a:t>— </a:t>
            </a:r>
            <a:endParaRPr>
              <a:solidFill>
                <a:srgbClr val="A2A5A2">
                  <a:lumMod val="50000"/>
                </a:srgbClr>
              </a:solidFill>
            </a:endParaRPr>
          </a:p>
        </p:txBody>
      </p:sp>
    </p:spTree>
    <p:extLst>
      <p:ext uri="{BB962C8B-B14F-4D97-AF65-F5344CB8AC3E}">
        <p14:creationId xmlns:p14="http://schemas.microsoft.com/office/powerpoint/2010/main" val="2575946664"/>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47"/>
            <a:ext cx="8746228" cy="678596"/>
          </a:xfrm>
        </p:spPr>
        <p:txBody>
          <a:bodyPr wrap="square"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3" y="1300164"/>
            <a:ext cx="8746228" cy="3359944"/>
          </a:xfrm>
        </p:spPr>
        <p:txBody>
          <a:bodyPr wrap="square" lIns="9152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hasCustomPrompt="1"/>
          </p:nvPr>
        </p:nvSpPr>
        <p:spPr bwMode="gray">
          <a:xfrm>
            <a:off x="206848" y="829814"/>
            <a:ext cx="873936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Click to edit master text styles</a:t>
            </a:r>
          </a:p>
        </p:txBody>
      </p:sp>
      <p:sp>
        <p:nvSpPr>
          <p:cNvPr id="10" name="Footer Placeholder 4"/>
          <p:cNvSpPr>
            <a:spLocks noGrp="1"/>
          </p:cNvSpPr>
          <p:nvPr>
            <p:ph type="ftr" sz="quarter" idx="3"/>
          </p:nvPr>
        </p:nvSpPr>
        <p:spPr>
          <a:xfrm>
            <a:off x="667057" y="4854550"/>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a:t>© 2016 NetApp, Inc. All rights reserved.  --- NETAPP CONFIDENTIAL ---</a:t>
            </a:r>
          </a:p>
        </p:txBody>
      </p:sp>
      <p:sp>
        <p:nvSpPr>
          <p:cNvPr id="11" name="Slide Number Placeholder 5"/>
          <p:cNvSpPr>
            <a:spLocks noGrp="1"/>
          </p:cNvSpPr>
          <p:nvPr>
            <p:ph type="sldNum" sz="quarter" idx="4"/>
          </p:nvPr>
        </p:nvSpPr>
        <p:spPr>
          <a:xfrm>
            <a:off x="220868" y="4846930"/>
            <a:ext cx="336490"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a:p>
        </p:txBody>
      </p:sp>
      <p:sp>
        <p:nvSpPr>
          <p:cNvPr id="13"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a:t>Click to insert source information</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80484" y="4871384"/>
            <a:ext cx="783333" cy="142863"/>
          </a:xfrm>
          <a:prstGeom prst="rect">
            <a:avLst/>
          </a:prstGeom>
        </p:spPr>
      </p:pic>
    </p:spTree>
    <p:extLst>
      <p:ext uri="{BB962C8B-B14F-4D97-AF65-F5344CB8AC3E}">
        <p14:creationId xmlns:p14="http://schemas.microsoft.com/office/powerpoint/2010/main" val="3519216863"/>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FC5CD1-5D5A-4EDD-B3E0-96DA0CF3144D}"/>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34348391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7" descr="offset_379195.jpg">
            <a:extLst>
              <a:ext uri="{FF2B5EF4-FFF2-40B4-BE49-F238E27FC236}">
                <a16:creationId xmlns:a16="http://schemas.microsoft.com/office/drawing/2014/main" id="{F4AF5428-2907-4A48-87DE-06B7E0689E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90228F39-59D8-499B-A1E8-1B278401FDFC}"/>
              </a:ext>
            </a:extLst>
          </p:cNvPr>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10" descr="FlexPod_Reg_CMYK-withbubble.png">
            <a:extLst>
              <a:ext uri="{FF2B5EF4-FFF2-40B4-BE49-F238E27FC236}">
                <a16:creationId xmlns:a16="http://schemas.microsoft.com/office/drawing/2014/main" id="{2AB56B34-4C5F-4E7F-A4C9-08AF591D199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4">
            <a:extLst>
              <a:ext uri="{FF2B5EF4-FFF2-40B4-BE49-F238E27FC236}">
                <a16:creationId xmlns:a16="http://schemas.microsoft.com/office/drawing/2014/main" id="{C1DA6D82-7D79-4514-93E0-7FF2756006AC}"/>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AAC35C6C-F280-4C4D-BA07-5C4B46522055}"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211619" y="800100"/>
            <a:ext cx="3725381" cy="1980785"/>
          </a:xfrm>
          <a:prstGeom prst="rect">
            <a:avLst/>
          </a:prstGeom>
        </p:spPr>
        <p:txBody>
          <a:bodyPr anchor="t"/>
          <a:lstStyle>
            <a:lvl1pPr>
              <a:defRPr sz="2800" b="1">
                <a:solidFill>
                  <a:schemeClr val="bg1"/>
                </a:solidFill>
              </a:defRPr>
            </a:lvl1pPr>
          </a:lstStyle>
          <a:p>
            <a:r>
              <a:rPr lang="en-US"/>
              <a:t>Click to edit Master title style</a:t>
            </a:r>
          </a:p>
        </p:txBody>
      </p:sp>
    </p:spTree>
    <p:extLst>
      <p:ext uri="{BB962C8B-B14F-4D97-AF65-F5344CB8AC3E}">
        <p14:creationId xmlns:p14="http://schemas.microsoft.com/office/powerpoint/2010/main" val="2343599754"/>
      </p:ext>
    </p:extLst>
  </p:cSld>
  <p:clrMapOvr>
    <a:masterClrMapping/>
  </p:clrMapOvr>
  <p:transition spd="slow">
    <p:circl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Content Quad">
  <p:cSld name="Content Quad">
    <p:spTree>
      <p:nvGrpSpPr>
        <p:cNvPr id="1" name="Shape 50"/>
        <p:cNvGrpSpPr/>
        <p:nvPr/>
      </p:nvGrpSpPr>
      <p:grpSpPr>
        <a:xfrm>
          <a:off x="0" y="0"/>
          <a:ext cx="0" cy="0"/>
          <a:chOff x="0" y="0"/>
          <a:chExt cx="0" cy="0"/>
        </a:xfrm>
      </p:grpSpPr>
      <p:sp>
        <p:nvSpPr>
          <p:cNvPr id="51" name="Google Shape;51;p6"/>
          <p:cNvSpPr txBox="1">
            <a:spLocks noGrp="1"/>
          </p:cNvSpPr>
          <p:nvPr>
            <p:ph type="title"/>
          </p:nvPr>
        </p:nvSpPr>
        <p:spPr>
          <a:xfrm>
            <a:off x="197273" y="180249"/>
            <a:ext cx="8746228" cy="678596"/>
          </a:xfrm>
          <a:prstGeom prst="rect">
            <a:avLst/>
          </a:prstGeom>
          <a:noFill/>
          <a:ln>
            <a:noFill/>
          </a:ln>
        </p:spPr>
        <p:txBody>
          <a:bodyPr spcFirstLastPara="1" wrap="square" lIns="91500" tIns="45750" rIns="91500" bIns="45750" anchor="b" anchorCtr="0"/>
          <a:lstStyle>
            <a:lvl1pPr lvl="0" algn="l">
              <a:lnSpc>
                <a:spcPct val="80000"/>
              </a:lnSpc>
              <a:spcBef>
                <a:spcPts val="0"/>
              </a:spcBef>
              <a:spcAft>
                <a:spcPts val="0"/>
              </a:spcAft>
              <a:buClr>
                <a:schemeClr val="dk1"/>
              </a:buClr>
              <a:buSzPts val="3000"/>
              <a:buFont typeface="Arial"/>
              <a:buNone/>
              <a:defRPr sz="2249"/>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 name="Google Shape;52;p6"/>
          <p:cNvSpPr txBox="1">
            <a:spLocks noGrp="1"/>
          </p:cNvSpPr>
          <p:nvPr>
            <p:ph type="body" idx="1"/>
          </p:nvPr>
        </p:nvSpPr>
        <p:spPr>
          <a:xfrm>
            <a:off x="197273" y="1300070"/>
            <a:ext cx="4287367" cy="1568824"/>
          </a:xfrm>
          <a:prstGeom prst="rect">
            <a:avLst/>
          </a:prstGeom>
          <a:noFill/>
          <a:ln>
            <a:noFill/>
          </a:ln>
        </p:spPr>
        <p:txBody>
          <a:bodyPr spcFirstLastPara="1" wrap="square" lIns="91500" tIns="45750" rIns="91500" bIns="45750" anchor="t" anchorCtr="0"/>
          <a:lstStyle>
            <a:lvl1pPr marL="342797" lvl="0" indent="-257098" algn="l">
              <a:lnSpc>
                <a:spcPct val="95000"/>
              </a:lnSpc>
              <a:spcBef>
                <a:spcPts val="900"/>
              </a:spcBef>
              <a:spcAft>
                <a:spcPts val="0"/>
              </a:spcAft>
              <a:buSzPts val="1800"/>
              <a:buChar char="▪"/>
              <a:defRPr/>
            </a:lvl1pPr>
            <a:lvl2pPr marL="685595" lvl="1" indent="-257098" algn="l">
              <a:lnSpc>
                <a:spcPct val="90000"/>
              </a:lnSpc>
              <a:spcBef>
                <a:spcPts val="300"/>
              </a:spcBef>
              <a:spcAft>
                <a:spcPts val="0"/>
              </a:spcAft>
              <a:buSzPts val="1800"/>
              <a:buChar char="▪"/>
              <a:defRPr/>
            </a:lvl2pPr>
            <a:lvl3pPr marL="1028392" lvl="2" indent="-257098" algn="l">
              <a:lnSpc>
                <a:spcPct val="85000"/>
              </a:lnSpc>
              <a:spcBef>
                <a:spcPts val="300"/>
              </a:spcBef>
              <a:spcAft>
                <a:spcPts val="0"/>
              </a:spcAft>
              <a:buSzPts val="1800"/>
              <a:buChar char="▪"/>
              <a:defRPr/>
            </a:lvl3pPr>
            <a:lvl4pPr marL="1371188" lvl="3" indent="-257098" algn="l">
              <a:lnSpc>
                <a:spcPct val="85000"/>
              </a:lnSpc>
              <a:spcBef>
                <a:spcPts val="300"/>
              </a:spcBef>
              <a:spcAft>
                <a:spcPts val="0"/>
              </a:spcAft>
              <a:buSzPts val="1800"/>
              <a:buChar char="▪"/>
              <a:defRPr/>
            </a:lvl4pPr>
            <a:lvl5pPr marL="1713986" lvl="4" indent="-257098" algn="l">
              <a:lnSpc>
                <a:spcPct val="85000"/>
              </a:lnSpc>
              <a:spcBef>
                <a:spcPts val="300"/>
              </a:spcBef>
              <a:spcAft>
                <a:spcPts val="0"/>
              </a:spcAft>
              <a:buSzPts val="1800"/>
              <a:buChar char="▪"/>
              <a:defRPr/>
            </a:lvl5pPr>
            <a:lvl6pPr marL="2056783" lvl="5" indent="-257098" algn="l">
              <a:spcBef>
                <a:spcPts val="300"/>
              </a:spcBef>
              <a:spcAft>
                <a:spcPts val="0"/>
              </a:spcAft>
              <a:buClr>
                <a:schemeClr val="dk1"/>
              </a:buClr>
              <a:buSzPts val="1800"/>
              <a:buChar char="•"/>
              <a:defRPr/>
            </a:lvl6pPr>
            <a:lvl7pPr marL="2399580" lvl="6" indent="-257098" algn="l">
              <a:spcBef>
                <a:spcPts val="270"/>
              </a:spcBef>
              <a:spcAft>
                <a:spcPts val="0"/>
              </a:spcAft>
              <a:buClr>
                <a:schemeClr val="dk1"/>
              </a:buClr>
              <a:buSzPts val="1800"/>
              <a:buChar char="•"/>
              <a:defRPr/>
            </a:lvl7pPr>
            <a:lvl8pPr marL="2742377" lvl="7" indent="-257098" algn="l">
              <a:spcBef>
                <a:spcPts val="270"/>
              </a:spcBef>
              <a:spcAft>
                <a:spcPts val="0"/>
              </a:spcAft>
              <a:buClr>
                <a:schemeClr val="dk1"/>
              </a:buClr>
              <a:buSzPts val="1800"/>
              <a:buChar char="•"/>
              <a:defRPr/>
            </a:lvl8pPr>
            <a:lvl9pPr marL="3085175" lvl="8" indent="-257098" algn="l">
              <a:spcBef>
                <a:spcPts val="270"/>
              </a:spcBef>
              <a:spcAft>
                <a:spcPts val="0"/>
              </a:spcAft>
              <a:buClr>
                <a:schemeClr val="dk1"/>
              </a:buClr>
              <a:buSzPts val="1800"/>
              <a:buChar char="•"/>
              <a:defRPr/>
            </a:lvl9pPr>
          </a:lstStyle>
          <a:p>
            <a:endParaRPr/>
          </a:p>
        </p:txBody>
      </p:sp>
      <p:sp>
        <p:nvSpPr>
          <p:cNvPr id="53" name="Google Shape;53;p6"/>
          <p:cNvSpPr txBox="1">
            <a:spLocks noGrp="1"/>
          </p:cNvSpPr>
          <p:nvPr>
            <p:ph type="body" idx="2"/>
          </p:nvPr>
        </p:nvSpPr>
        <p:spPr>
          <a:xfrm>
            <a:off x="4656135" y="1300164"/>
            <a:ext cx="4287367" cy="1568778"/>
          </a:xfrm>
          <a:prstGeom prst="rect">
            <a:avLst/>
          </a:prstGeom>
          <a:noFill/>
          <a:ln>
            <a:noFill/>
          </a:ln>
        </p:spPr>
        <p:txBody>
          <a:bodyPr spcFirstLastPara="1" wrap="square" lIns="91500" tIns="45750" rIns="91500" bIns="45750" anchor="t" anchorCtr="0"/>
          <a:lstStyle>
            <a:lvl1pPr marL="342797" lvl="0" indent="-257098" algn="l">
              <a:lnSpc>
                <a:spcPct val="95000"/>
              </a:lnSpc>
              <a:spcBef>
                <a:spcPts val="900"/>
              </a:spcBef>
              <a:spcAft>
                <a:spcPts val="0"/>
              </a:spcAft>
              <a:buSzPts val="1800"/>
              <a:buChar char="▪"/>
              <a:defRPr/>
            </a:lvl1pPr>
            <a:lvl2pPr marL="685595" lvl="1" indent="-257098" algn="l">
              <a:lnSpc>
                <a:spcPct val="90000"/>
              </a:lnSpc>
              <a:spcBef>
                <a:spcPts val="300"/>
              </a:spcBef>
              <a:spcAft>
                <a:spcPts val="0"/>
              </a:spcAft>
              <a:buSzPts val="1800"/>
              <a:buChar char="▪"/>
              <a:defRPr/>
            </a:lvl2pPr>
            <a:lvl3pPr marL="1028392" lvl="2" indent="-257098" algn="l">
              <a:lnSpc>
                <a:spcPct val="85000"/>
              </a:lnSpc>
              <a:spcBef>
                <a:spcPts val="300"/>
              </a:spcBef>
              <a:spcAft>
                <a:spcPts val="0"/>
              </a:spcAft>
              <a:buSzPts val="1800"/>
              <a:buChar char="▪"/>
              <a:defRPr/>
            </a:lvl3pPr>
            <a:lvl4pPr marL="1371188" lvl="3" indent="-257098" algn="l">
              <a:lnSpc>
                <a:spcPct val="85000"/>
              </a:lnSpc>
              <a:spcBef>
                <a:spcPts val="300"/>
              </a:spcBef>
              <a:spcAft>
                <a:spcPts val="0"/>
              </a:spcAft>
              <a:buSzPts val="1800"/>
              <a:buChar char="▪"/>
              <a:defRPr/>
            </a:lvl4pPr>
            <a:lvl5pPr marL="1713986" lvl="4" indent="-257098" algn="l">
              <a:lnSpc>
                <a:spcPct val="85000"/>
              </a:lnSpc>
              <a:spcBef>
                <a:spcPts val="300"/>
              </a:spcBef>
              <a:spcAft>
                <a:spcPts val="0"/>
              </a:spcAft>
              <a:buSzPts val="1800"/>
              <a:buChar char="▪"/>
              <a:defRPr/>
            </a:lvl5pPr>
            <a:lvl6pPr marL="2056783" lvl="5" indent="-257098" algn="l">
              <a:spcBef>
                <a:spcPts val="300"/>
              </a:spcBef>
              <a:spcAft>
                <a:spcPts val="0"/>
              </a:spcAft>
              <a:buClr>
                <a:schemeClr val="dk1"/>
              </a:buClr>
              <a:buSzPts val="1800"/>
              <a:buChar char="•"/>
              <a:defRPr/>
            </a:lvl6pPr>
            <a:lvl7pPr marL="2399580" lvl="6" indent="-257098" algn="l">
              <a:spcBef>
                <a:spcPts val="270"/>
              </a:spcBef>
              <a:spcAft>
                <a:spcPts val="0"/>
              </a:spcAft>
              <a:buClr>
                <a:schemeClr val="dk1"/>
              </a:buClr>
              <a:buSzPts val="1800"/>
              <a:buChar char="•"/>
              <a:defRPr/>
            </a:lvl7pPr>
            <a:lvl8pPr marL="2742377" lvl="7" indent="-257098" algn="l">
              <a:spcBef>
                <a:spcPts val="270"/>
              </a:spcBef>
              <a:spcAft>
                <a:spcPts val="0"/>
              </a:spcAft>
              <a:buClr>
                <a:schemeClr val="dk1"/>
              </a:buClr>
              <a:buSzPts val="1800"/>
              <a:buChar char="•"/>
              <a:defRPr/>
            </a:lvl8pPr>
            <a:lvl9pPr marL="3085175" lvl="8" indent="-257098" algn="l">
              <a:spcBef>
                <a:spcPts val="270"/>
              </a:spcBef>
              <a:spcAft>
                <a:spcPts val="0"/>
              </a:spcAft>
              <a:buClr>
                <a:schemeClr val="dk1"/>
              </a:buClr>
              <a:buSzPts val="1800"/>
              <a:buChar char="•"/>
              <a:defRPr/>
            </a:lvl9pPr>
          </a:lstStyle>
          <a:p>
            <a:endParaRPr/>
          </a:p>
        </p:txBody>
      </p:sp>
      <p:sp>
        <p:nvSpPr>
          <p:cNvPr id="54" name="Google Shape;54;p6"/>
          <p:cNvSpPr txBox="1">
            <a:spLocks noGrp="1"/>
          </p:cNvSpPr>
          <p:nvPr>
            <p:ph type="body" idx="3"/>
          </p:nvPr>
        </p:nvSpPr>
        <p:spPr>
          <a:xfrm>
            <a:off x="197273" y="3047205"/>
            <a:ext cx="4287367" cy="1568824"/>
          </a:xfrm>
          <a:prstGeom prst="rect">
            <a:avLst/>
          </a:prstGeom>
          <a:noFill/>
          <a:ln>
            <a:noFill/>
          </a:ln>
        </p:spPr>
        <p:txBody>
          <a:bodyPr spcFirstLastPara="1" wrap="square" lIns="91500" tIns="45750" rIns="91500" bIns="45750" anchor="t" anchorCtr="0"/>
          <a:lstStyle>
            <a:lvl1pPr marL="342797" lvl="0" indent="-257098" algn="l">
              <a:lnSpc>
                <a:spcPct val="95000"/>
              </a:lnSpc>
              <a:spcBef>
                <a:spcPts val="900"/>
              </a:spcBef>
              <a:spcAft>
                <a:spcPts val="0"/>
              </a:spcAft>
              <a:buSzPts val="1800"/>
              <a:buChar char="▪"/>
              <a:defRPr/>
            </a:lvl1pPr>
            <a:lvl2pPr marL="685595" lvl="1" indent="-257098" algn="l">
              <a:lnSpc>
                <a:spcPct val="90000"/>
              </a:lnSpc>
              <a:spcBef>
                <a:spcPts val="300"/>
              </a:spcBef>
              <a:spcAft>
                <a:spcPts val="0"/>
              </a:spcAft>
              <a:buSzPts val="1800"/>
              <a:buChar char="▪"/>
              <a:defRPr/>
            </a:lvl2pPr>
            <a:lvl3pPr marL="1028392" lvl="2" indent="-257098" algn="l">
              <a:lnSpc>
                <a:spcPct val="85000"/>
              </a:lnSpc>
              <a:spcBef>
                <a:spcPts val="300"/>
              </a:spcBef>
              <a:spcAft>
                <a:spcPts val="0"/>
              </a:spcAft>
              <a:buSzPts val="1800"/>
              <a:buChar char="▪"/>
              <a:defRPr/>
            </a:lvl3pPr>
            <a:lvl4pPr marL="1371188" lvl="3" indent="-257098" algn="l">
              <a:lnSpc>
                <a:spcPct val="85000"/>
              </a:lnSpc>
              <a:spcBef>
                <a:spcPts val="300"/>
              </a:spcBef>
              <a:spcAft>
                <a:spcPts val="0"/>
              </a:spcAft>
              <a:buSzPts val="1800"/>
              <a:buChar char="▪"/>
              <a:defRPr/>
            </a:lvl4pPr>
            <a:lvl5pPr marL="1713986" lvl="4" indent="-257098" algn="l">
              <a:lnSpc>
                <a:spcPct val="85000"/>
              </a:lnSpc>
              <a:spcBef>
                <a:spcPts val="300"/>
              </a:spcBef>
              <a:spcAft>
                <a:spcPts val="0"/>
              </a:spcAft>
              <a:buSzPts val="1800"/>
              <a:buChar char="▪"/>
              <a:defRPr/>
            </a:lvl5pPr>
            <a:lvl6pPr marL="2056783" lvl="5" indent="-257098" algn="l">
              <a:spcBef>
                <a:spcPts val="300"/>
              </a:spcBef>
              <a:spcAft>
                <a:spcPts val="0"/>
              </a:spcAft>
              <a:buClr>
                <a:schemeClr val="dk1"/>
              </a:buClr>
              <a:buSzPts val="1800"/>
              <a:buChar char="•"/>
              <a:defRPr/>
            </a:lvl6pPr>
            <a:lvl7pPr marL="2399580" lvl="6" indent="-257098" algn="l">
              <a:spcBef>
                <a:spcPts val="270"/>
              </a:spcBef>
              <a:spcAft>
                <a:spcPts val="0"/>
              </a:spcAft>
              <a:buClr>
                <a:schemeClr val="dk1"/>
              </a:buClr>
              <a:buSzPts val="1800"/>
              <a:buChar char="•"/>
              <a:defRPr/>
            </a:lvl7pPr>
            <a:lvl8pPr marL="2742377" lvl="7" indent="-257098" algn="l">
              <a:spcBef>
                <a:spcPts val="270"/>
              </a:spcBef>
              <a:spcAft>
                <a:spcPts val="0"/>
              </a:spcAft>
              <a:buClr>
                <a:schemeClr val="dk1"/>
              </a:buClr>
              <a:buSzPts val="1800"/>
              <a:buChar char="•"/>
              <a:defRPr/>
            </a:lvl8pPr>
            <a:lvl9pPr marL="3085175" lvl="8" indent="-257098" algn="l">
              <a:spcBef>
                <a:spcPts val="270"/>
              </a:spcBef>
              <a:spcAft>
                <a:spcPts val="0"/>
              </a:spcAft>
              <a:buClr>
                <a:schemeClr val="dk1"/>
              </a:buClr>
              <a:buSzPts val="1800"/>
              <a:buChar char="•"/>
              <a:defRPr/>
            </a:lvl9pPr>
          </a:lstStyle>
          <a:p>
            <a:endParaRPr/>
          </a:p>
        </p:txBody>
      </p:sp>
      <p:sp>
        <p:nvSpPr>
          <p:cNvPr id="55" name="Google Shape;55;p6"/>
          <p:cNvSpPr txBox="1">
            <a:spLocks noGrp="1"/>
          </p:cNvSpPr>
          <p:nvPr>
            <p:ph type="body" idx="4"/>
          </p:nvPr>
        </p:nvSpPr>
        <p:spPr>
          <a:xfrm>
            <a:off x="4656135" y="3047300"/>
            <a:ext cx="4287367" cy="1568778"/>
          </a:xfrm>
          <a:prstGeom prst="rect">
            <a:avLst/>
          </a:prstGeom>
          <a:noFill/>
          <a:ln>
            <a:noFill/>
          </a:ln>
        </p:spPr>
        <p:txBody>
          <a:bodyPr spcFirstLastPara="1" wrap="square" lIns="91500" tIns="45750" rIns="91500" bIns="45750" anchor="t" anchorCtr="0"/>
          <a:lstStyle>
            <a:lvl1pPr marL="342797" lvl="0" indent="-257098" algn="l">
              <a:lnSpc>
                <a:spcPct val="95000"/>
              </a:lnSpc>
              <a:spcBef>
                <a:spcPts val="900"/>
              </a:spcBef>
              <a:spcAft>
                <a:spcPts val="0"/>
              </a:spcAft>
              <a:buSzPts val="1800"/>
              <a:buChar char="▪"/>
              <a:defRPr/>
            </a:lvl1pPr>
            <a:lvl2pPr marL="685595" lvl="1" indent="-257098" algn="l">
              <a:lnSpc>
                <a:spcPct val="90000"/>
              </a:lnSpc>
              <a:spcBef>
                <a:spcPts val="300"/>
              </a:spcBef>
              <a:spcAft>
                <a:spcPts val="0"/>
              </a:spcAft>
              <a:buSzPts val="1800"/>
              <a:buChar char="▪"/>
              <a:defRPr/>
            </a:lvl2pPr>
            <a:lvl3pPr marL="1028392" lvl="2" indent="-257098" algn="l">
              <a:lnSpc>
                <a:spcPct val="85000"/>
              </a:lnSpc>
              <a:spcBef>
                <a:spcPts val="300"/>
              </a:spcBef>
              <a:spcAft>
                <a:spcPts val="0"/>
              </a:spcAft>
              <a:buSzPts val="1800"/>
              <a:buChar char="▪"/>
              <a:defRPr/>
            </a:lvl3pPr>
            <a:lvl4pPr marL="1371188" lvl="3" indent="-257098" algn="l">
              <a:lnSpc>
                <a:spcPct val="85000"/>
              </a:lnSpc>
              <a:spcBef>
                <a:spcPts val="300"/>
              </a:spcBef>
              <a:spcAft>
                <a:spcPts val="0"/>
              </a:spcAft>
              <a:buSzPts val="1800"/>
              <a:buChar char="▪"/>
              <a:defRPr/>
            </a:lvl4pPr>
            <a:lvl5pPr marL="1713986" lvl="4" indent="-257098" algn="l">
              <a:lnSpc>
                <a:spcPct val="85000"/>
              </a:lnSpc>
              <a:spcBef>
                <a:spcPts val="300"/>
              </a:spcBef>
              <a:spcAft>
                <a:spcPts val="0"/>
              </a:spcAft>
              <a:buSzPts val="1800"/>
              <a:buChar char="▪"/>
              <a:defRPr/>
            </a:lvl5pPr>
            <a:lvl6pPr marL="2056783" lvl="5" indent="-257098" algn="l">
              <a:spcBef>
                <a:spcPts val="300"/>
              </a:spcBef>
              <a:spcAft>
                <a:spcPts val="0"/>
              </a:spcAft>
              <a:buClr>
                <a:schemeClr val="dk1"/>
              </a:buClr>
              <a:buSzPts val="1800"/>
              <a:buChar char="•"/>
              <a:defRPr/>
            </a:lvl6pPr>
            <a:lvl7pPr marL="2399580" lvl="6" indent="-257098" algn="l">
              <a:spcBef>
                <a:spcPts val="270"/>
              </a:spcBef>
              <a:spcAft>
                <a:spcPts val="0"/>
              </a:spcAft>
              <a:buClr>
                <a:schemeClr val="dk1"/>
              </a:buClr>
              <a:buSzPts val="1800"/>
              <a:buChar char="•"/>
              <a:defRPr/>
            </a:lvl7pPr>
            <a:lvl8pPr marL="2742377" lvl="7" indent="-257098" algn="l">
              <a:spcBef>
                <a:spcPts val="270"/>
              </a:spcBef>
              <a:spcAft>
                <a:spcPts val="0"/>
              </a:spcAft>
              <a:buClr>
                <a:schemeClr val="dk1"/>
              </a:buClr>
              <a:buSzPts val="1800"/>
              <a:buChar char="•"/>
              <a:defRPr/>
            </a:lvl8pPr>
            <a:lvl9pPr marL="3085175" lvl="8" indent="-257098" algn="l">
              <a:spcBef>
                <a:spcPts val="270"/>
              </a:spcBef>
              <a:spcAft>
                <a:spcPts val="0"/>
              </a:spcAft>
              <a:buClr>
                <a:schemeClr val="dk1"/>
              </a:buClr>
              <a:buSzPts val="1800"/>
              <a:buChar char="•"/>
              <a:defRPr/>
            </a:lvl9pPr>
          </a:lstStyle>
          <a:p>
            <a:endParaRPr/>
          </a:p>
        </p:txBody>
      </p:sp>
      <p:sp>
        <p:nvSpPr>
          <p:cNvPr id="56" name="Google Shape;56;p6"/>
          <p:cNvSpPr txBox="1">
            <a:spLocks noGrp="1"/>
          </p:cNvSpPr>
          <p:nvPr>
            <p:ph type="body" idx="5"/>
          </p:nvPr>
        </p:nvSpPr>
        <p:spPr>
          <a:xfrm>
            <a:off x="197273" y="829815"/>
            <a:ext cx="8746228" cy="300082"/>
          </a:xfrm>
          <a:prstGeom prst="rect">
            <a:avLst/>
          </a:prstGeom>
          <a:noFill/>
          <a:ln>
            <a:noFill/>
          </a:ln>
        </p:spPr>
        <p:txBody>
          <a:bodyPr spcFirstLastPara="1" wrap="square" lIns="91500" tIns="45750" rIns="91500" bIns="45750" anchor="t" anchorCtr="0"/>
          <a:lstStyle>
            <a:lvl1pPr marL="342797" lvl="0" indent="-171398" algn="l">
              <a:lnSpc>
                <a:spcPct val="95000"/>
              </a:lnSpc>
              <a:spcBef>
                <a:spcPts val="0"/>
              </a:spcBef>
              <a:spcAft>
                <a:spcPts val="0"/>
              </a:spcAft>
              <a:buSzPts val="1800"/>
              <a:buNone/>
              <a:defRPr sz="1349" b="0">
                <a:solidFill>
                  <a:schemeClr val="accent1"/>
                </a:solidFill>
              </a:defRPr>
            </a:lvl1pPr>
            <a:lvl2pPr marL="685595" lvl="1" indent="-171398" algn="l">
              <a:lnSpc>
                <a:spcPct val="90000"/>
              </a:lnSpc>
              <a:spcBef>
                <a:spcPts val="150"/>
              </a:spcBef>
              <a:spcAft>
                <a:spcPts val="0"/>
              </a:spcAft>
              <a:buSzPts val="2000"/>
              <a:buNone/>
              <a:defRPr sz="1499" b="1"/>
            </a:lvl2pPr>
            <a:lvl3pPr marL="1028392" lvl="2" indent="-171398" algn="l">
              <a:lnSpc>
                <a:spcPct val="85000"/>
              </a:lnSpc>
              <a:spcBef>
                <a:spcPts val="300"/>
              </a:spcBef>
              <a:spcAft>
                <a:spcPts val="0"/>
              </a:spcAft>
              <a:buSzPts val="1900"/>
              <a:buNone/>
              <a:defRPr sz="1424" b="1"/>
            </a:lvl3pPr>
            <a:lvl4pPr marL="1371188" lvl="3" indent="-171398" algn="l">
              <a:lnSpc>
                <a:spcPct val="85000"/>
              </a:lnSpc>
              <a:spcBef>
                <a:spcPts val="300"/>
              </a:spcBef>
              <a:spcAft>
                <a:spcPts val="0"/>
              </a:spcAft>
              <a:buSzPts val="1600"/>
              <a:buNone/>
              <a:defRPr sz="1200" b="1"/>
            </a:lvl4pPr>
            <a:lvl5pPr marL="1713986" lvl="4" indent="-171398" algn="l">
              <a:lnSpc>
                <a:spcPct val="85000"/>
              </a:lnSpc>
              <a:spcBef>
                <a:spcPts val="300"/>
              </a:spcBef>
              <a:spcAft>
                <a:spcPts val="0"/>
              </a:spcAft>
              <a:buSzPts val="1600"/>
              <a:buNone/>
              <a:defRPr sz="1200" b="1"/>
            </a:lvl5pPr>
            <a:lvl6pPr marL="2056783" lvl="5" indent="-171398" algn="l">
              <a:spcBef>
                <a:spcPts val="300"/>
              </a:spcBef>
              <a:spcAft>
                <a:spcPts val="0"/>
              </a:spcAft>
              <a:buClr>
                <a:schemeClr val="dk1"/>
              </a:buClr>
              <a:buSzPts val="1600"/>
              <a:buNone/>
              <a:defRPr sz="1200" b="1"/>
            </a:lvl6pPr>
            <a:lvl7pPr marL="2399580" lvl="6" indent="-171398" algn="l">
              <a:spcBef>
                <a:spcPts val="240"/>
              </a:spcBef>
              <a:spcAft>
                <a:spcPts val="0"/>
              </a:spcAft>
              <a:buClr>
                <a:schemeClr val="dk1"/>
              </a:buClr>
              <a:buSzPts val="1600"/>
              <a:buNone/>
              <a:defRPr sz="1200" b="1"/>
            </a:lvl7pPr>
            <a:lvl8pPr marL="2742377" lvl="7" indent="-171398" algn="l">
              <a:spcBef>
                <a:spcPts val="240"/>
              </a:spcBef>
              <a:spcAft>
                <a:spcPts val="0"/>
              </a:spcAft>
              <a:buClr>
                <a:schemeClr val="dk1"/>
              </a:buClr>
              <a:buSzPts val="1600"/>
              <a:buNone/>
              <a:defRPr sz="1200" b="1"/>
            </a:lvl8pPr>
            <a:lvl9pPr marL="3085175" lvl="8" indent="-171398" algn="l">
              <a:spcBef>
                <a:spcPts val="240"/>
              </a:spcBef>
              <a:spcAft>
                <a:spcPts val="0"/>
              </a:spcAft>
              <a:buClr>
                <a:schemeClr val="dk1"/>
              </a:buClr>
              <a:buSzPts val="1600"/>
              <a:buNone/>
              <a:defRPr sz="1200" b="1"/>
            </a:lvl9pPr>
          </a:lstStyle>
          <a:p>
            <a:endParaRPr/>
          </a:p>
        </p:txBody>
      </p:sp>
      <p:sp>
        <p:nvSpPr>
          <p:cNvPr id="57" name="Google Shape;57;p6"/>
          <p:cNvSpPr txBox="1">
            <a:spLocks noGrp="1"/>
          </p:cNvSpPr>
          <p:nvPr>
            <p:ph type="sldNum" idx="12"/>
          </p:nvPr>
        </p:nvSpPr>
        <p:spPr>
          <a:xfrm>
            <a:off x="220868" y="4846932"/>
            <a:ext cx="336490" cy="195607"/>
          </a:xfrm>
          <a:prstGeom prst="rect">
            <a:avLst/>
          </a:prstGeom>
          <a:noFill/>
          <a:ln>
            <a:noFill/>
          </a:ln>
        </p:spPr>
        <p:txBody>
          <a:bodyPr spcFirstLastPara="1" wrap="square" lIns="91500" tIns="45750" rIns="91500" bIns="45750" anchor="b" anchorCtr="0">
            <a:noAutofit/>
          </a:bodyPr>
          <a:lstStyle>
            <a:lvl1pPr marL="0" marR="0" lvl="0"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1pPr>
            <a:lvl2pPr marL="0" marR="0" lvl="1"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2pPr>
            <a:lvl3pPr marL="0" marR="0" lvl="2"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3pPr>
            <a:lvl4pPr marL="0" marR="0" lvl="3"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4pPr>
            <a:lvl5pPr marL="0" marR="0" lvl="4"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5pPr>
            <a:lvl6pPr marL="0" marR="0" lvl="5"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6pPr>
            <a:lvl7pPr marL="0" marR="0" lvl="6"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7pPr>
            <a:lvl8pPr marL="0" marR="0" lvl="7"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8pPr>
            <a:lvl9pPr marL="0" marR="0" lvl="8" indent="0" algn="l">
              <a:spcBef>
                <a:spcPts val="0"/>
              </a:spcBef>
              <a:spcAft>
                <a:spcPts val="0"/>
              </a:spcAft>
              <a:buClr>
                <a:srgbClr val="505350"/>
              </a:buClr>
              <a:buSzPts val="1050"/>
              <a:buFont typeface="Arial"/>
              <a:buNone/>
              <a:defRPr sz="788" b="1">
                <a:solidFill>
                  <a:srgbClr val="505350"/>
                </a:solidFill>
                <a:latin typeface="Arial"/>
                <a:ea typeface="Arial"/>
                <a:cs typeface="Arial"/>
                <a:sym typeface="Arial"/>
              </a:defRPr>
            </a:lvl9pPr>
          </a:lstStyle>
          <a:p>
            <a:fld id="{00000000-1234-1234-1234-123412341234}" type="slidenum">
              <a:rPr lang="en-US" smtClean="0"/>
              <a:pPr/>
              <a:t>‹#›</a:t>
            </a:fld>
            <a:endParaRPr lang="en-US"/>
          </a:p>
        </p:txBody>
      </p:sp>
      <p:pic>
        <p:nvPicPr>
          <p:cNvPr id="58" name="Google Shape;58;p6"/>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8081801" y="4870915"/>
            <a:ext cx="782016" cy="143333"/>
          </a:xfrm>
          <a:prstGeom prst="rect">
            <a:avLst/>
          </a:prstGeom>
          <a:noFill/>
          <a:ln>
            <a:noFill/>
          </a:ln>
        </p:spPr>
      </p:pic>
      <p:sp>
        <p:nvSpPr>
          <p:cNvPr id="59" name="Google Shape;59;p6"/>
          <p:cNvSpPr txBox="1">
            <a:spLocks noGrp="1"/>
          </p:cNvSpPr>
          <p:nvPr>
            <p:ph type="ftr" idx="11"/>
          </p:nvPr>
        </p:nvSpPr>
        <p:spPr>
          <a:xfrm>
            <a:off x="557358" y="4854552"/>
            <a:ext cx="4905348" cy="180367"/>
          </a:xfrm>
          <a:prstGeom prst="rect">
            <a:avLst/>
          </a:prstGeom>
          <a:noFill/>
          <a:ln>
            <a:noFill/>
          </a:ln>
        </p:spPr>
        <p:txBody>
          <a:bodyPr spcFirstLastPara="1" wrap="square" lIns="91500" tIns="45750" rIns="91500" bIns="45750" anchor="b" anchorCtr="0"/>
          <a:lstStyle>
            <a:lvl1pPr lvl="0" algn="l">
              <a:spcBef>
                <a:spcPts val="0"/>
              </a:spcBef>
              <a:spcAft>
                <a:spcPts val="0"/>
              </a:spcAft>
              <a:buClr>
                <a:srgbClr val="505350"/>
              </a:buClr>
              <a:buSzPts val="1400"/>
              <a:buFont typeface="Arial"/>
              <a:buNone/>
              <a:defRPr sz="600">
                <a:solidFill>
                  <a:srgbClr val="505350"/>
                </a:solidFill>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extLst>
      <p:ext uri="{BB962C8B-B14F-4D97-AF65-F5344CB8AC3E}">
        <p14:creationId xmlns:p14="http://schemas.microsoft.com/office/powerpoint/2010/main" val="2608762710"/>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Virtual Cloud">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FFE91D8F-60AF-49E2-A000-E17EFA23B71D}"/>
              </a:ext>
            </a:extLst>
          </p:cNvPr>
          <p:cNvCxnSpPr>
            <a:cxnSpLocks noChangeShapeType="1"/>
          </p:cNvCxnSpPr>
          <p:nvPr userDrawn="1"/>
        </p:nvCxnSpPr>
        <p:spPr bwMode="auto">
          <a:xfrm>
            <a:off x="0" y="25400"/>
            <a:ext cx="9144000" cy="0"/>
          </a:xfrm>
          <a:prstGeom prst="line">
            <a:avLst/>
          </a:prstGeom>
          <a:noFill/>
          <a:ln w="50800">
            <a:solidFill>
              <a:srgbClr val="2497D5"/>
            </a:solidFill>
            <a:round/>
            <a:headEnd/>
            <a:tailEnd/>
          </a:ln>
          <a:extLst>
            <a:ext uri="{909E8E84-426E-40DD-AFC4-6F175D3DCCD1}">
              <a14:hiddenFill xmlns:a14="http://schemas.microsoft.com/office/drawing/2010/main">
                <a:noFill/>
              </a14:hiddenFill>
            </a:ext>
          </a:extLst>
        </p:spPr>
      </p:cxnSp>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2514" y="258764"/>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66BF7BD-4C5D-484B-9984-3573D983CD7B}"/>
              </a:ext>
            </a:extLst>
          </p:cNvPr>
          <p:cNvSpPr txBox="1"/>
          <p:nvPr userDrawn="1"/>
        </p:nvSpPr>
        <p:spPr>
          <a:xfrm>
            <a:off x="5562601" y="4897438"/>
            <a:ext cx="3281363" cy="184666"/>
          </a:xfrm>
          <a:prstGeom prst="rect">
            <a:avLst/>
          </a:prstGeom>
          <a:noFill/>
        </p:spPr>
        <p:txBody>
          <a:bodyPr>
            <a:spAutoFit/>
          </a:bodyPr>
          <a:lstStyle/>
          <a:p>
            <a:pPr algn="r" eaLnBrk="1" hangingPunct="1">
              <a:buClr>
                <a:schemeClr val="accent3"/>
              </a:buClr>
              <a:defRPr/>
            </a:pPr>
            <a:r>
              <a:rPr lang="en-US" sz="600">
                <a:latin typeface="Arial" charset="0"/>
              </a:rPr>
              <a:t>© 2019 Cisco and NetApp. All rights reserved. NetApp Confidential - Limited Use Only</a:t>
            </a:r>
          </a:p>
        </p:txBody>
      </p:sp>
      <p:sp>
        <p:nvSpPr>
          <p:cNvPr id="9" name="Title 1"/>
          <p:cNvSpPr>
            <a:spLocks noGrp="1"/>
          </p:cNvSpPr>
          <p:nvPr>
            <p:ph type="ctrTitle"/>
          </p:nvPr>
        </p:nvSpPr>
        <p:spPr>
          <a:xfrm>
            <a:off x="278058" y="259487"/>
            <a:ext cx="7521556" cy="437508"/>
          </a:xfrm>
          <a:prstGeom prst="rect">
            <a:avLst/>
          </a:prstGeom>
        </p:spPr>
        <p:txBody>
          <a:bodyPr anchor="t"/>
          <a:lstStyle>
            <a:lvl1pPr>
              <a:defRPr sz="2800" b="1">
                <a:solidFill>
                  <a:schemeClr val="tx1"/>
                </a:solidFill>
              </a:defRPr>
            </a:lvl1pPr>
          </a:lstStyle>
          <a:p>
            <a:r>
              <a:rPr lang="en-US"/>
              <a:t>Click to edit Master title style</a:t>
            </a:r>
          </a:p>
        </p:txBody>
      </p:sp>
      <p:sp>
        <p:nvSpPr>
          <p:cNvPr id="14" name="Text Placeholder 13"/>
          <p:cNvSpPr>
            <a:spLocks noGrp="1"/>
          </p:cNvSpPr>
          <p:nvPr>
            <p:ph type="body" sz="quarter" idx="10"/>
          </p:nvPr>
        </p:nvSpPr>
        <p:spPr>
          <a:xfrm>
            <a:off x="278059" y="1191987"/>
            <a:ext cx="8566310" cy="3532414"/>
          </a:xfrm>
        </p:spPr>
        <p:txBody>
          <a:bodyPr/>
          <a:lstStyle>
            <a:lvl1pPr>
              <a:buClrTx/>
              <a:defRPr sz="1500"/>
            </a:lvl1pPr>
            <a:lvl2pPr>
              <a:buClrTx/>
              <a:defRPr sz="1200"/>
            </a:lvl2pPr>
            <a:lvl3pPr>
              <a:buClrTx/>
              <a:defRPr sz="1200"/>
            </a:lvl3pPr>
            <a:lvl4pPr>
              <a:buClrTx/>
              <a:defRPr sz="1200"/>
            </a:lvl4pPr>
            <a:lvl5pPr>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536777"/>
      </p:ext>
    </p:extLst>
  </p:cSld>
  <p:clrMapOvr>
    <a:masterClrMapping/>
  </p:clrMapOvr>
  <p:transition spd="slow">
    <p:circl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 Vertical">
    <p:spTree>
      <p:nvGrpSpPr>
        <p:cNvPr id="1" name=""/>
        <p:cNvGrpSpPr/>
        <p:nvPr/>
      </p:nvGrpSpPr>
      <p:grpSpPr>
        <a:xfrm>
          <a:off x="0" y="0"/>
          <a:ext cx="0" cy="0"/>
          <a:chOff x="0" y="0"/>
          <a:chExt cx="0" cy="0"/>
        </a:xfrm>
      </p:grpSpPr>
      <p:sp>
        <p:nvSpPr>
          <p:cNvPr id="23" name="Rectangle 22"/>
          <p:cNvSpPr/>
          <p:nvPr userDrawn="1"/>
        </p:nvSpPr>
        <p:spPr bwMode="gray">
          <a:xfrm>
            <a:off x="2" y="3"/>
            <a:ext cx="2294933" cy="5109209"/>
          </a:xfrm>
          <a:prstGeom prst="rect">
            <a:avLst/>
          </a:prstGeom>
          <a:solidFill>
            <a:schemeClr val="accent1"/>
          </a:solidFill>
          <a:ln>
            <a:noFill/>
          </a:ln>
        </p:spPr>
        <p:txBody>
          <a:bodyPr vert="horz" wrap="square" lIns="68641" tIns="34321" rIns="68641" bIns="34321" numCol="1" anchor="t" anchorCtr="0" compatLnSpc="1">
            <a:prstTxWarp prst="textNoShape">
              <a:avLst/>
            </a:prstTxWarp>
          </a:bodyPr>
          <a:lstStyle/>
          <a:p>
            <a:pPr fontAlgn="base">
              <a:spcBef>
                <a:spcPct val="0"/>
              </a:spcBef>
              <a:spcAft>
                <a:spcPct val="0"/>
              </a:spcAft>
            </a:pPr>
            <a:endParaRPr lang="en-US" sz="1500" kern="0" dirty="0">
              <a:solidFill>
                <a:srgbClr val="000000"/>
              </a:solidFill>
            </a:endParaRPr>
          </a:p>
        </p:txBody>
      </p:sp>
      <p:sp>
        <p:nvSpPr>
          <p:cNvPr id="2" name="Title 1"/>
          <p:cNvSpPr>
            <a:spLocks noGrp="1"/>
          </p:cNvSpPr>
          <p:nvPr>
            <p:ph type="ctrTitle"/>
          </p:nvPr>
        </p:nvSpPr>
        <p:spPr bwMode="gray">
          <a:xfrm>
            <a:off x="2582182" y="1853180"/>
            <a:ext cx="6277187" cy="1102519"/>
          </a:xfrm>
        </p:spPr>
        <p:txBody>
          <a:bodyPr wrap="square" lIns="91521" tIns="45761" rIns="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p:nvPr>
        </p:nvSpPr>
        <p:spPr bwMode="gray">
          <a:xfrm>
            <a:off x="2582182" y="2991415"/>
            <a:ext cx="6277187" cy="1507336"/>
          </a:xfrm>
        </p:spPr>
        <p:txBody>
          <a:bodyPr wrap="square" lIns="91521" tIns="45761" rIns="0" bIns="45761">
            <a:noAutofit/>
          </a:bodyPr>
          <a:lstStyle>
            <a:lvl1pPr marL="0" indent="0">
              <a:lnSpc>
                <a:spcPct val="85000"/>
              </a:lnSpc>
              <a:spcAft>
                <a:spcPts val="1201"/>
              </a:spcAft>
              <a:buFont typeface="Arial" panose="020B0604020202020204" pitchFamily="34" charset="0"/>
              <a:buChar char="​"/>
              <a:defRPr sz="1950" b="0">
                <a:solidFill>
                  <a:schemeClr val="accent1"/>
                </a:solidFill>
              </a:defRPr>
            </a:lvl1pPr>
            <a:lvl2pPr marL="0" indent="0">
              <a:lnSpc>
                <a:spcPct val="85000"/>
              </a:lnSpc>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bg2"/>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66" name="Rectangle 65"/>
          <p:cNvSpPr/>
          <p:nvPr userDrawn="1"/>
        </p:nvSpPr>
        <p:spPr bwMode="gray">
          <a:xfrm>
            <a:off x="2249608" y="1"/>
            <a:ext cx="9144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641" tIns="34321" rIns="68641" bIns="34321" rtlCol="0" anchor="ctr"/>
          <a:lstStyle/>
          <a:p>
            <a:pPr algn="ctr"/>
            <a:endParaRPr lang="en-US" sz="1350" dirty="0"/>
          </a:p>
        </p:txBody>
      </p:sp>
      <p:grpSp>
        <p:nvGrpSpPr>
          <p:cNvPr id="11" name="Group 10"/>
          <p:cNvGrpSpPr/>
          <p:nvPr userDrawn="1"/>
        </p:nvGrpSpPr>
        <p:grpSpPr>
          <a:xfrm>
            <a:off x="2" y="1"/>
            <a:ext cx="9144000" cy="5147896"/>
            <a:chOff x="0" y="0"/>
            <a:chExt cx="9144000" cy="6863861"/>
          </a:xfrm>
        </p:grpSpPr>
        <p:sp>
          <p:nvSpPr>
            <p:cNvPr id="12" name="Rectangle 11"/>
            <p:cNvSpPr/>
            <p:nvPr userDrawn="1"/>
          </p:nvSpPr>
          <p:spPr bwMode="gray">
            <a:xfrm>
              <a:off x="905256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p:cNvSpPr/>
            <p:nvPr userDrawn="1"/>
          </p:nvSpPr>
          <p:spPr bwMode="gray">
            <a:xfrm rot="5400000">
              <a:off x="4526280" y="-4526279"/>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p:cNvSpPr/>
            <p:nvPr userDrawn="1"/>
          </p:nvSpPr>
          <p:spPr bwMode="gray">
            <a:xfrm rot="5400000">
              <a:off x="4526280" y="2246141"/>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p:cNvSpPr/>
            <p:nvPr userDrawn="1"/>
          </p:nvSpPr>
          <p:spPr bwMode="gray">
            <a:xfrm>
              <a:off x="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6"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2426" y="1651570"/>
            <a:ext cx="1630083" cy="1840364"/>
          </a:xfrm>
          <a:prstGeom prst="rect">
            <a:avLst/>
          </a:prstGeom>
        </p:spPr>
      </p:pic>
      <p:sp>
        <p:nvSpPr>
          <p:cNvPr id="21" name="Footer Placeholder 4"/>
          <p:cNvSpPr>
            <a:spLocks noGrp="1"/>
          </p:cNvSpPr>
          <p:nvPr>
            <p:ph type="ftr" sz="quarter" idx="3"/>
          </p:nvPr>
        </p:nvSpPr>
        <p:spPr>
          <a:xfrm>
            <a:off x="2863010"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22" name="Slide Number Placeholder 5"/>
          <p:cNvSpPr>
            <a:spLocks noGrp="1"/>
          </p:cNvSpPr>
          <p:nvPr>
            <p:ph type="sldNum" sz="quarter" idx="4"/>
          </p:nvPr>
        </p:nvSpPr>
        <p:spPr>
          <a:xfrm>
            <a:off x="2593210"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4214652022"/>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Horizontal">
    <p:spTree>
      <p:nvGrpSpPr>
        <p:cNvPr id="1" name=""/>
        <p:cNvGrpSpPr/>
        <p:nvPr/>
      </p:nvGrpSpPr>
      <p:grpSpPr>
        <a:xfrm>
          <a:off x="0" y="0"/>
          <a:ext cx="0" cy="0"/>
          <a:chOff x="0" y="0"/>
          <a:chExt cx="0" cy="0"/>
        </a:xfrm>
      </p:grpSpPr>
      <p:sp>
        <p:nvSpPr>
          <p:cNvPr id="23" name="Rectangle 22"/>
          <p:cNvSpPr/>
          <p:nvPr userDrawn="1"/>
        </p:nvSpPr>
        <p:spPr bwMode="gray">
          <a:xfrm>
            <a:off x="2" y="3"/>
            <a:ext cx="9144000" cy="3062665"/>
          </a:xfrm>
          <a:prstGeom prst="rect">
            <a:avLst/>
          </a:prstGeom>
          <a:solidFill>
            <a:schemeClr val="accent1"/>
          </a:soli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8" name="Rectangle 7"/>
          <p:cNvSpPr/>
          <p:nvPr/>
        </p:nvSpPr>
        <p:spPr bwMode="gray">
          <a:xfrm>
            <a:off x="2" y="3"/>
            <a:ext cx="9144000" cy="3062665"/>
          </a:xfrm>
          <a:prstGeom prst="rect">
            <a:avLst/>
          </a:prstGeom>
          <a:solidFill>
            <a:schemeClr val="accent1"/>
          </a:soli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71" name="Rectangle 70"/>
          <p:cNvSpPr/>
          <p:nvPr userDrawn="1"/>
        </p:nvSpPr>
        <p:spPr bwMode="gray">
          <a:xfrm rot="5400000">
            <a:off x="4537661" y="-1509381"/>
            <a:ext cx="68580" cy="9144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641" tIns="34321" rIns="68641" bIns="34321" rtlCol="0" anchor="ctr">
            <a:noAutofit/>
          </a:bodyPr>
          <a:lstStyle/>
          <a:p>
            <a:pPr algn="ctr"/>
            <a:endParaRPr lang="en-US" sz="1350" dirty="0"/>
          </a:p>
        </p:txBody>
      </p:sp>
      <p:sp>
        <p:nvSpPr>
          <p:cNvPr id="2" name="Title 1"/>
          <p:cNvSpPr>
            <a:spLocks noGrp="1"/>
          </p:cNvSpPr>
          <p:nvPr>
            <p:ph type="ctrTitle"/>
          </p:nvPr>
        </p:nvSpPr>
        <p:spPr bwMode="gray">
          <a:xfrm>
            <a:off x="281252" y="1853180"/>
            <a:ext cx="8574733" cy="1102519"/>
          </a:xfrm>
        </p:spPr>
        <p:txBody>
          <a:bodyPr wrap="square" lIns="91521" tIns="45761" rIns="91521" bIns="45761">
            <a:noAutofit/>
          </a:bodyPr>
          <a:lstStyle>
            <a:lvl1pPr algn="l">
              <a:lnSpc>
                <a:spcPct val="95000"/>
              </a:lnSpc>
              <a:defRPr sz="3300" b="0">
                <a:solidFill>
                  <a:schemeClr val="bg1"/>
                </a:solidFill>
              </a:defRPr>
            </a:lvl1pPr>
          </a:lstStyle>
          <a:p>
            <a:r>
              <a:rPr lang="en-US" dirty="0"/>
              <a:t>Click to edit Master title style</a:t>
            </a:r>
          </a:p>
        </p:txBody>
      </p:sp>
      <p:sp>
        <p:nvSpPr>
          <p:cNvPr id="25" name="Text Placeholder 24"/>
          <p:cNvSpPr>
            <a:spLocks noGrp="1"/>
          </p:cNvSpPr>
          <p:nvPr>
            <p:ph type="body" sz="quarter" idx="10"/>
          </p:nvPr>
        </p:nvSpPr>
        <p:spPr bwMode="gray">
          <a:xfrm>
            <a:off x="281252" y="3156973"/>
            <a:ext cx="8574733" cy="1507336"/>
          </a:xfrm>
        </p:spPr>
        <p:txBody>
          <a:bodyPr wrap="square" lIns="91521" tIns="45761" rIns="91521" bIns="45761">
            <a:noAutofit/>
          </a:bodyPr>
          <a:lstStyle>
            <a:lvl1pPr marL="0" indent="0">
              <a:lnSpc>
                <a:spcPct val="85000"/>
              </a:lnSpc>
              <a:buFont typeface="Arial" panose="020B0604020202020204" pitchFamily="34" charset="0"/>
              <a:buChar char="​"/>
              <a:defRPr sz="1650" b="0">
                <a:solidFill>
                  <a:schemeClr val="bg2">
                    <a:lumMod val="50000"/>
                  </a:schemeClr>
                </a:solidFill>
              </a:defRPr>
            </a:lvl1pPr>
            <a:lvl2pPr marL="0" indent="0">
              <a:lnSpc>
                <a:spcPct val="85000"/>
              </a:lnSpc>
              <a:buFont typeface="Arial" panose="020B0604020202020204" pitchFamily="34" charset="0"/>
              <a:buChar char="​"/>
              <a:defRPr sz="1350" b="0">
                <a:solidFill>
                  <a:schemeClr val="bg2"/>
                </a:solidFill>
              </a:defRPr>
            </a:lvl2pPr>
            <a:lvl3pPr marL="0" indent="0">
              <a:lnSpc>
                <a:spcPct val="85000"/>
              </a:lnSpc>
              <a:buFont typeface="Arial" panose="020B0604020202020204" pitchFamily="34" charset="0"/>
              <a:buChar char="​"/>
              <a:defRPr sz="1200" b="0">
                <a:solidFill>
                  <a:schemeClr val="bg2"/>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a:p>
            <a:pPr lvl="1"/>
            <a:r>
              <a:rPr lang="en-US" dirty="0"/>
              <a:t>Second level</a:t>
            </a:r>
          </a:p>
        </p:txBody>
      </p:sp>
      <p:grpSp>
        <p:nvGrpSpPr>
          <p:cNvPr id="24" name="Group 23"/>
          <p:cNvGrpSpPr/>
          <p:nvPr userDrawn="1"/>
        </p:nvGrpSpPr>
        <p:grpSpPr>
          <a:xfrm>
            <a:off x="2" y="1"/>
            <a:ext cx="9144000" cy="5147896"/>
            <a:chOff x="0" y="0"/>
            <a:chExt cx="9144000" cy="6863861"/>
          </a:xfrm>
        </p:grpSpPr>
        <p:sp>
          <p:nvSpPr>
            <p:cNvPr id="26" name="Rectangle 25"/>
            <p:cNvSpPr/>
            <p:nvPr userDrawn="1"/>
          </p:nvSpPr>
          <p:spPr bwMode="gray">
            <a:xfrm>
              <a:off x="905256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Rectangle 26"/>
            <p:cNvSpPr/>
            <p:nvPr userDrawn="1"/>
          </p:nvSpPr>
          <p:spPr bwMode="gray">
            <a:xfrm rot="5400000">
              <a:off x="4526280" y="-4526279"/>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Rectangle 27"/>
            <p:cNvSpPr/>
            <p:nvPr userDrawn="1"/>
          </p:nvSpPr>
          <p:spPr bwMode="gray">
            <a:xfrm rot="5400000">
              <a:off x="4526280" y="2246141"/>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9" name="Rectangle 28"/>
            <p:cNvSpPr/>
            <p:nvPr userDrawn="1"/>
          </p:nvSpPr>
          <p:spPr bwMode="gray">
            <a:xfrm>
              <a:off x="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6"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3733" y="298934"/>
            <a:ext cx="992942" cy="1121031"/>
          </a:xfrm>
          <a:prstGeom prst="rect">
            <a:avLst/>
          </a:prstGeom>
        </p:spPr>
      </p:pic>
      <p:sp>
        <p:nvSpPr>
          <p:cNvPr id="17"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9"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971611741"/>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p:cNvSpPr>
            <a:spLocks noGrp="1"/>
          </p:cNvSpPr>
          <p:nvPr>
            <p:ph type="title"/>
          </p:nvPr>
        </p:nvSpPr>
        <p:spPr>
          <a:xfrm>
            <a:off x="192905" y="177891"/>
            <a:ext cx="8574733" cy="684556"/>
          </a:xfrm>
        </p:spPr>
        <p:txBody>
          <a:bodyPr wrap="square" lIns="91521">
            <a:noAutofit/>
          </a:bodyPr>
          <a:lstStyle>
            <a:lvl1pPr>
              <a:defRPr sz="2250"/>
            </a:lvl1pPr>
          </a:lstStyle>
          <a:p>
            <a:r>
              <a:rPr lang="en-US" dirty="0"/>
              <a:t>Click to edit Master title style</a:t>
            </a:r>
          </a:p>
        </p:txBody>
      </p:sp>
      <p:sp>
        <p:nvSpPr>
          <p:cNvPr id="50" name="Content Placeholder 39"/>
          <p:cNvSpPr>
            <a:spLocks noGrp="1"/>
          </p:cNvSpPr>
          <p:nvPr>
            <p:ph sz="quarter" idx="15"/>
          </p:nvPr>
        </p:nvSpPr>
        <p:spPr bwMode="gray">
          <a:xfrm>
            <a:off x="201170" y="1300068"/>
            <a:ext cx="8574733" cy="3360041"/>
          </a:xfrm>
        </p:spPr>
        <p:txBody>
          <a:bodyPr wrap="square" lIns="91521">
            <a:noAutofit/>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0"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9"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4292999867"/>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13" name="Rectangle 12"/>
          <p:cNvSpPr/>
          <p:nvPr userDrawn="1"/>
        </p:nvSpPr>
        <p:spPr>
          <a:xfrm>
            <a:off x="2" y="0"/>
            <a:ext cx="9144000" cy="5143500"/>
          </a:xfrm>
          <a:prstGeom prst="rect">
            <a:avLst/>
          </a:prstGeom>
          <a:gradFill flip="none" rotWithShape="1">
            <a:gsLst>
              <a:gs pos="100000">
                <a:schemeClr val="accent1">
                  <a:alpha val="0"/>
                </a:schemeClr>
              </a:gs>
              <a:gs pos="84000">
                <a:schemeClr val="accent1"/>
              </a:gs>
            </a:gsLst>
            <a:lin ang="5400000" scaled="1"/>
            <a:tileRect/>
          </a:gra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39" name="Rectangle 38"/>
          <p:cNvSpPr/>
          <p:nvPr/>
        </p:nvSpPr>
        <p:spPr>
          <a:xfrm>
            <a:off x="2" y="0"/>
            <a:ext cx="9144000" cy="5143500"/>
          </a:xfrm>
          <a:prstGeom prst="rect">
            <a:avLst/>
          </a:prstGeom>
          <a:gradFill flip="none" rotWithShape="1">
            <a:gsLst>
              <a:gs pos="100000">
                <a:schemeClr val="accent1">
                  <a:alpha val="0"/>
                </a:schemeClr>
              </a:gs>
              <a:gs pos="84000">
                <a:schemeClr val="accent1"/>
              </a:gs>
            </a:gsLst>
            <a:lin ang="5400000" scaled="1"/>
            <a:tileRect/>
          </a:gra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2" name="Title 1"/>
          <p:cNvSpPr>
            <a:spLocks noGrp="1"/>
          </p:cNvSpPr>
          <p:nvPr>
            <p:ph type="ctrTitle"/>
          </p:nvPr>
        </p:nvSpPr>
        <p:spPr bwMode="auto">
          <a:xfrm>
            <a:off x="223376" y="1853180"/>
            <a:ext cx="8574733" cy="1102519"/>
          </a:xfrm>
        </p:spPr>
        <p:txBody>
          <a:bodyPr wrap="square" lIns="91521">
            <a:noAutofit/>
          </a:bodyPr>
          <a:lstStyle>
            <a:lvl1pPr algn="l">
              <a:lnSpc>
                <a:spcPct val="80000"/>
              </a:lnSpc>
              <a:defRPr sz="3300" b="0">
                <a:solidFill>
                  <a:schemeClr val="bg1"/>
                </a:solidFill>
              </a:defRPr>
            </a:lvl1pPr>
          </a:lstStyle>
          <a:p>
            <a:r>
              <a:rPr lang="en-US" dirty="0"/>
              <a:t>Click to edit Master title style</a:t>
            </a:r>
          </a:p>
        </p:txBody>
      </p:sp>
      <p:sp>
        <p:nvSpPr>
          <p:cNvPr id="25" name="Text Placeholder 24"/>
          <p:cNvSpPr>
            <a:spLocks noGrp="1"/>
          </p:cNvSpPr>
          <p:nvPr>
            <p:ph type="body" sz="quarter" idx="10"/>
          </p:nvPr>
        </p:nvSpPr>
        <p:spPr bwMode="auto">
          <a:xfrm>
            <a:off x="223378" y="3156973"/>
            <a:ext cx="8574733" cy="696142"/>
          </a:xfrm>
        </p:spPr>
        <p:txBody>
          <a:bodyPr wrap="square" lIns="91521">
            <a:noAutofit/>
          </a:bodyPr>
          <a:lstStyle>
            <a:lvl1pPr marL="0" indent="0">
              <a:lnSpc>
                <a:spcPct val="85000"/>
              </a:lnSpc>
              <a:buFontTx/>
              <a:buNone/>
              <a:defRPr sz="1650" b="0">
                <a:solidFill>
                  <a:schemeClr val="bg1"/>
                </a:solidFill>
              </a:defRPr>
            </a:lvl1pPr>
            <a:lvl2pPr marL="86994" indent="-86994">
              <a:lnSpc>
                <a:spcPct val="85000"/>
              </a:lnSpc>
              <a:buFont typeface="Arial" panose="020B0604020202020204" pitchFamily="34" charset="0"/>
              <a:buChar char=" "/>
              <a:defRPr sz="1725" b="0">
                <a:solidFill>
                  <a:schemeClr val="bg2"/>
                </a:solidFill>
              </a:defRPr>
            </a:lvl2pPr>
            <a:lvl3pPr marL="86994" indent="-86994">
              <a:lnSpc>
                <a:spcPct val="85000"/>
              </a:lnSpc>
              <a:buFont typeface="Arial" panose="020B0604020202020204" pitchFamily="34" charset="0"/>
              <a:buChar char=" "/>
              <a:defRPr sz="1725" b="0">
                <a:solidFill>
                  <a:schemeClr val="bg2"/>
                </a:solidFill>
              </a:defRPr>
            </a:lvl3pPr>
            <a:lvl4pPr marL="86994" indent="-86994">
              <a:lnSpc>
                <a:spcPct val="85000"/>
              </a:lnSpc>
              <a:buFont typeface="Arial" panose="020B0604020202020204" pitchFamily="34" charset="0"/>
              <a:buChar char=" "/>
              <a:defRPr sz="1725" b="0">
                <a:solidFill>
                  <a:schemeClr val="bg2"/>
                </a:solidFill>
              </a:defRPr>
            </a:lvl4pPr>
            <a:lvl5pPr marL="86994" indent="-86994">
              <a:lnSpc>
                <a:spcPct val="85000"/>
              </a:lnSpc>
              <a:buFont typeface="Arial" panose="020B0604020202020204" pitchFamily="34" charset="0"/>
              <a:buChar char=" "/>
              <a:defRPr sz="1725" b="0">
                <a:solidFill>
                  <a:schemeClr val="bg2"/>
                </a:solidFill>
              </a:defRPr>
            </a:lvl5pPr>
          </a:lstStyle>
          <a:p>
            <a:pPr lvl="0"/>
            <a:r>
              <a:rPr lang="en-US" dirty="0"/>
              <a:t>Click to edit Master text styles</a:t>
            </a:r>
          </a:p>
        </p:txBody>
      </p:sp>
      <p:grpSp>
        <p:nvGrpSpPr>
          <p:cNvPr id="23" name="Group 22"/>
          <p:cNvGrpSpPr/>
          <p:nvPr userDrawn="1"/>
        </p:nvGrpSpPr>
        <p:grpSpPr>
          <a:xfrm>
            <a:off x="2" y="1"/>
            <a:ext cx="9144000" cy="5147896"/>
            <a:chOff x="0" y="0"/>
            <a:chExt cx="9144000" cy="6863861"/>
          </a:xfrm>
        </p:grpSpPr>
        <p:sp>
          <p:nvSpPr>
            <p:cNvPr id="24" name="Rectangle 23"/>
            <p:cNvSpPr/>
            <p:nvPr userDrawn="1"/>
          </p:nvSpPr>
          <p:spPr bwMode="gray">
            <a:xfrm>
              <a:off x="905256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Rectangle 25"/>
            <p:cNvSpPr/>
            <p:nvPr userDrawn="1"/>
          </p:nvSpPr>
          <p:spPr bwMode="gray">
            <a:xfrm rot="5400000">
              <a:off x="4526280" y="-4526279"/>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Rectangle 26"/>
            <p:cNvSpPr/>
            <p:nvPr userDrawn="1"/>
          </p:nvSpPr>
          <p:spPr bwMode="gray">
            <a:xfrm rot="5400000">
              <a:off x="4526280" y="2246141"/>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Rectangle 27"/>
            <p:cNvSpPr/>
            <p:nvPr userDrawn="1"/>
          </p:nvSpPr>
          <p:spPr bwMode="gray">
            <a:xfrm>
              <a:off x="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4"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698402"/>
            <a:ext cx="987552" cy="427939"/>
          </a:xfrm>
          <a:prstGeom prst="rect">
            <a:avLst/>
          </a:prstGeom>
        </p:spPr>
      </p:pic>
      <p:sp>
        <p:nvSpPr>
          <p:cNvPr id="15"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1"/>
                </a:solidFill>
              </a:defRPr>
            </a:lvl1pPr>
          </a:lstStyle>
          <a:p>
            <a:r>
              <a:rPr lang="en-US" dirty="0"/>
              <a:t>© 2016 NetApp, Inc. All rights reserved. NetApp Confidential – Limited Use </a:t>
            </a:r>
          </a:p>
        </p:txBody>
      </p:sp>
      <p:sp>
        <p:nvSpPr>
          <p:cNvPr id="16"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1"/>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3437922816"/>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0527" y="177269"/>
            <a:ext cx="8574187"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p:nvPr>
        </p:nvSpPr>
        <p:spPr>
          <a:xfrm>
            <a:off x="201170" y="1300164"/>
            <a:ext cx="8574733" cy="3359944"/>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1"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3"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4"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5"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3551378531"/>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5" name="Content Placeholder 39"/>
          <p:cNvSpPr>
            <a:spLocks noGrp="1"/>
          </p:cNvSpPr>
          <p:nvPr>
            <p:ph sz="quarter" idx="15"/>
          </p:nvPr>
        </p:nvSpPr>
        <p:spPr bwMode="gray">
          <a:xfrm>
            <a:off x="197274" y="1300068"/>
            <a:ext cx="4178288"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197274" y="180248"/>
            <a:ext cx="8574187" cy="678596"/>
          </a:xfrm>
        </p:spPr>
        <p:txBody>
          <a:bodyPr wrap="square" lIns="91521">
            <a:noAutofit/>
          </a:bodyPr>
          <a:lstStyle/>
          <a:p>
            <a:r>
              <a:rPr lang="en-US" dirty="0"/>
              <a:t>Click to edit Master title style</a:t>
            </a:r>
          </a:p>
        </p:txBody>
      </p:sp>
      <p:sp>
        <p:nvSpPr>
          <p:cNvPr id="83" name="Content Placeholder 3"/>
          <p:cNvSpPr>
            <a:spLocks noGrp="1"/>
          </p:cNvSpPr>
          <p:nvPr>
            <p:ph sz="quarter" idx="14"/>
          </p:nvPr>
        </p:nvSpPr>
        <p:spPr>
          <a:xfrm>
            <a:off x="4681697" y="1300164"/>
            <a:ext cx="4178975" cy="3359944"/>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2"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4"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5"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6"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618476058"/>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5" name="Content Placeholder 39"/>
          <p:cNvSpPr>
            <a:spLocks noGrp="1"/>
          </p:cNvSpPr>
          <p:nvPr>
            <p:ph sz="quarter" idx="15"/>
          </p:nvPr>
        </p:nvSpPr>
        <p:spPr bwMode="gray">
          <a:xfrm>
            <a:off x="197273" y="1300068"/>
            <a:ext cx="2834640"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39"/>
          <p:cNvSpPr>
            <a:spLocks noGrp="1"/>
          </p:cNvSpPr>
          <p:nvPr>
            <p:ph sz="quarter" idx="17"/>
          </p:nvPr>
        </p:nvSpPr>
        <p:spPr bwMode="gray">
          <a:xfrm>
            <a:off x="3067046" y="1300068"/>
            <a:ext cx="2834640"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Content Placeholder 39"/>
          <p:cNvSpPr>
            <a:spLocks noGrp="1"/>
          </p:cNvSpPr>
          <p:nvPr>
            <p:ph sz="quarter" idx="18"/>
          </p:nvPr>
        </p:nvSpPr>
        <p:spPr bwMode="gray">
          <a:xfrm>
            <a:off x="5936822" y="1300068"/>
            <a:ext cx="2834640"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197274" y="180248"/>
            <a:ext cx="8574187" cy="678596"/>
          </a:xfrm>
        </p:spPr>
        <p:txBody>
          <a:bodyPr wrap="square" lIns="91521">
            <a:noAutofit/>
          </a:bodyPr>
          <a:lstStyle>
            <a:lvl1pPr>
              <a:defRPr sz="2250"/>
            </a:lvl1pPr>
          </a:lstStyle>
          <a:p>
            <a:r>
              <a:rPr lang="en-US" dirty="0"/>
              <a:t>Click to edit Master title style</a:t>
            </a:r>
          </a:p>
        </p:txBody>
      </p:sp>
      <p:sp>
        <p:nvSpPr>
          <p:cNvPr id="41"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1"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5"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6"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7"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2927427704"/>
      </p:ext>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Quad">
    <p:spTree>
      <p:nvGrpSpPr>
        <p:cNvPr id="1" name=""/>
        <p:cNvGrpSpPr/>
        <p:nvPr/>
      </p:nvGrpSpPr>
      <p:grpSpPr>
        <a:xfrm>
          <a:off x="0" y="0"/>
          <a:ext cx="0" cy="0"/>
          <a:chOff x="0" y="0"/>
          <a:chExt cx="0" cy="0"/>
        </a:xfrm>
      </p:grpSpPr>
      <p:sp>
        <p:nvSpPr>
          <p:cNvPr id="3" name="Title 2"/>
          <p:cNvSpPr>
            <a:spLocks noGrp="1"/>
          </p:cNvSpPr>
          <p:nvPr>
            <p:ph type="title"/>
          </p:nvPr>
        </p:nvSpPr>
        <p:spPr>
          <a:xfrm>
            <a:off x="197274" y="180248"/>
            <a:ext cx="8574187" cy="678596"/>
          </a:xfrm>
        </p:spPr>
        <p:txBody>
          <a:bodyPr lIns="91521">
            <a:noAutofit/>
          </a:bodyPr>
          <a:lstStyle>
            <a:lvl1pPr>
              <a:defRPr sz="2250"/>
            </a:lvl1pPr>
          </a:lstStyle>
          <a:p>
            <a:r>
              <a:rPr lang="en-US" dirty="0"/>
              <a:t>Click to edit Master title style</a:t>
            </a:r>
          </a:p>
        </p:txBody>
      </p:sp>
      <p:sp>
        <p:nvSpPr>
          <p:cNvPr id="79" name="Content Placeholder 39"/>
          <p:cNvSpPr>
            <a:spLocks noGrp="1"/>
          </p:cNvSpPr>
          <p:nvPr>
            <p:ph sz="quarter" idx="15"/>
          </p:nvPr>
        </p:nvSpPr>
        <p:spPr bwMode="gray">
          <a:xfrm>
            <a:off x="197274" y="1300069"/>
            <a:ext cx="4178288"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0" name="Content Placeholder 3"/>
          <p:cNvSpPr>
            <a:spLocks noGrp="1"/>
          </p:cNvSpPr>
          <p:nvPr>
            <p:ph sz="quarter" idx="14"/>
          </p:nvPr>
        </p:nvSpPr>
        <p:spPr>
          <a:xfrm>
            <a:off x="4681699" y="1300164"/>
            <a:ext cx="4178973"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1" name="Content Placeholder 39"/>
          <p:cNvSpPr>
            <a:spLocks noGrp="1"/>
          </p:cNvSpPr>
          <p:nvPr>
            <p:ph sz="quarter" idx="20"/>
          </p:nvPr>
        </p:nvSpPr>
        <p:spPr bwMode="gray">
          <a:xfrm>
            <a:off x="197274" y="3091285"/>
            <a:ext cx="4178288"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2" name="Content Placeholder 3"/>
          <p:cNvSpPr>
            <a:spLocks noGrp="1"/>
          </p:cNvSpPr>
          <p:nvPr>
            <p:ph sz="quarter" idx="21"/>
          </p:nvPr>
        </p:nvSpPr>
        <p:spPr>
          <a:xfrm>
            <a:off x="4681699" y="3091381"/>
            <a:ext cx="4178973"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2"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6"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7"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8"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244721647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7" descr="Screen Shot 2016-07-13 at 2.54.46 PM.png">
            <a:extLst>
              <a:ext uri="{FF2B5EF4-FFF2-40B4-BE49-F238E27FC236}">
                <a16:creationId xmlns:a16="http://schemas.microsoft.com/office/drawing/2014/main" id="{4B1785C5-EC2B-478D-BCCE-FF469E5FA1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F408F4F5-12C6-4DA0-A917-6652565739D6}"/>
              </a:ext>
            </a:extLst>
          </p:cNvPr>
          <p:cNvSpPr>
            <a:spLocks noChangeArrowheads="1"/>
          </p:cNvSpPr>
          <p:nvPr userDrawn="1"/>
        </p:nvSpPr>
        <p:spPr bwMode="auto">
          <a:xfrm>
            <a:off x="0" y="0"/>
            <a:ext cx="6985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10" descr="FlexPod_Reg_CMYK-withbubble.png">
            <a:extLst>
              <a:ext uri="{FF2B5EF4-FFF2-40B4-BE49-F238E27FC236}">
                <a16:creationId xmlns:a16="http://schemas.microsoft.com/office/drawing/2014/main" id="{A989B292-898D-4C8E-98BA-3E1CE09B2D9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4">
            <a:extLst>
              <a:ext uri="{FF2B5EF4-FFF2-40B4-BE49-F238E27FC236}">
                <a16:creationId xmlns:a16="http://schemas.microsoft.com/office/drawing/2014/main" id="{56905631-0EBB-41FF-8233-61DA58BBB9F4}"/>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6C47B28-6DF9-4023-B70C-A410A94E76B0}"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p>
        </p:txBody>
      </p:sp>
    </p:spTree>
    <p:extLst>
      <p:ext uri="{BB962C8B-B14F-4D97-AF65-F5344CB8AC3E}">
        <p14:creationId xmlns:p14="http://schemas.microsoft.com/office/powerpoint/2010/main" val="2773033355"/>
      </p:ext>
    </p:extLst>
  </p:cSld>
  <p:clrMapOvr>
    <a:masterClrMapping/>
  </p:clrMapOvr>
  <p:transition spd="slow">
    <p:circl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ig Stat">
    <p:spTree>
      <p:nvGrpSpPr>
        <p:cNvPr id="1" name=""/>
        <p:cNvGrpSpPr/>
        <p:nvPr/>
      </p:nvGrpSpPr>
      <p:grpSpPr>
        <a:xfrm>
          <a:off x="0" y="0"/>
          <a:ext cx="0" cy="0"/>
          <a:chOff x="0" y="0"/>
          <a:chExt cx="0" cy="0"/>
        </a:xfrm>
      </p:grpSpPr>
      <p:sp>
        <p:nvSpPr>
          <p:cNvPr id="37" name="Title 1"/>
          <p:cNvSpPr>
            <a:spLocks noGrp="1"/>
          </p:cNvSpPr>
          <p:nvPr>
            <p:ph type="title" hasCustomPrompt="1"/>
          </p:nvPr>
        </p:nvSpPr>
        <p:spPr bwMode="gray">
          <a:xfrm>
            <a:off x="4681697" y="1300163"/>
            <a:ext cx="4178975" cy="1676781"/>
          </a:xfrm>
        </p:spPr>
        <p:txBody>
          <a:bodyPr lIns="91521" tIns="45761" rIns="91521" bIns="45761" anchor="b">
            <a:noAutofit/>
          </a:bodyPr>
          <a:lstStyle>
            <a:lvl1pPr algn="l">
              <a:lnSpc>
                <a:spcPct val="80000"/>
              </a:lnSpc>
              <a:defRPr sz="3600" b="0" cap="none" baseline="0">
                <a:solidFill>
                  <a:schemeClr val="tx1"/>
                </a:solidFill>
              </a:defRPr>
            </a:lvl1pPr>
          </a:lstStyle>
          <a:p>
            <a:r>
              <a:rPr lang="en-US" dirty="0"/>
              <a:t>Click To Edit Master Title Style</a:t>
            </a:r>
          </a:p>
        </p:txBody>
      </p:sp>
      <p:sp>
        <p:nvSpPr>
          <p:cNvPr id="38" name="Text Placeholder 2"/>
          <p:cNvSpPr>
            <a:spLocks noGrp="1"/>
          </p:cNvSpPr>
          <p:nvPr>
            <p:ph type="body" idx="1" hasCustomPrompt="1"/>
          </p:nvPr>
        </p:nvSpPr>
        <p:spPr bwMode="gray">
          <a:xfrm>
            <a:off x="4681696" y="3005095"/>
            <a:ext cx="4178975" cy="369332"/>
          </a:xfrm>
        </p:spPr>
        <p:txBody>
          <a:bodyPr lIns="91521" tIns="45761" rIns="91521" bIns="45761" anchor="t">
            <a:noAutofit/>
          </a:bodyPr>
          <a:lstStyle>
            <a:lvl1pPr marL="0" indent="0">
              <a:buNone/>
              <a:defRPr sz="1950" cap="none" baseline="0">
                <a:solidFill>
                  <a:schemeClr val="accent1"/>
                </a:solidFill>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pic>
        <p:nvPicPr>
          <p:cNvPr id="8"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2"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3"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4"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2003516483"/>
      </p:ext>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1" name="Rectangle 70"/>
          <p:cNvSpPr/>
          <p:nvPr userDrawn="1"/>
        </p:nvSpPr>
        <p:spPr bwMode="gray">
          <a:xfrm>
            <a:off x="281062" y="1300069"/>
            <a:ext cx="4178288" cy="1568824"/>
          </a:xfrm>
          <a:prstGeom prst="rect">
            <a:avLst/>
          </a:prstGeom>
          <a:solidFill>
            <a:schemeClr val="bg2">
              <a:alpha val="20000"/>
            </a:schemeClr>
          </a:solidFill>
          <a:ln w="12700">
            <a:gradFill flip="none" rotWithShape="1">
              <a:gsLst>
                <a:gs pos="100000">
                  <a:schemeClr val="bg1">
                    <a:alpha val="90000"/>
                  </a:schemeClr>
                </a:gs>
                <a:gs pos="0">
                  <a:schemeClr val="bg1">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lIns="68641" tIns="34321" rIns="68641" bIns="34321" rtlCol="0" anchor="ctr">
            <a:noAutofit/>
          </a:bodyPr>
          <a:lstStyle/>
          <a:p>
            <a:pPr lvl="0" fontAlgn="base">
              <a:spcBef>
                <a:spcPct val="0"/>
              </a:spcBef>
              <a:spcAft>
                <a:spcPct val="0"/>
              </a:spcAft>
              <a:buClr>
                <a:srgbClr val="84BD00"/>
              </a:buClr>
              <a:buFont typeface="Wingdings" pitchFamily="2" charset="2"/>
              <a:buNone/>
            </a:pPr>
            <a:endParaRPr lang="en-US" sz="1125" dirty="0">
              <a:solidFill>
                <a:srgbClr val="000000"/>
              </a:solidFill>
            </a:endParaRPr>
          </a:p>
        </p:txBody>
      </p:sp>
      <p:sp>
        <p:nvSpPr>
          <p:cNvPr id="72" name="Rectangle 71"/>
          <p:cNvSpPr/>
          <p:nvPr userDrawn="1"/>
        </p:nvSpPr>
        <p:spPr bwMode="gray">
          <a:xfrm>
            <a:off x="281062" y="3091283"/>
            <a:ext cx="4178288" cy="1568823"/>
          </a:xfrm>
          <a:prstGeom prst="rect">
            <a:avLst/>
          </a:prstGeom>
          <a:solidFill>
            <a:schemeClr val="bg2">
              <a:alpha val="20000"/>
            </a:schemeClr>
          </a:solidFill>
          <a:ln w="12700">
            <a:gradFill flip="none" rotWithShape="1">
              <a:gsLst>
                <a:gs pos="100000">
                  <a:schemeClr val="bg1">
                    <a:alpha val="90000"/>
                  </a:schemeClr>
                </a:gs>
                <a:gs pos="0">
                  <a:schemeClr val="bg1">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lIns="68641" tIns="34321" rIns="68641" bIns="34321" rtlCol="0" anchor="ctr">
            <a:noAutofit/>
          </a:bodyPr>
          <a:lstStyle/>
          <a:p>
            <a:pPr lvl="0" fontAlgn="base">
              <a:spcBef>
                <a:spcPct val="0"/>
              </a:spcBef>
              <a:spcAft>
                <a:spcPct val="0"/>
              </a:spcAft>
              <a:buClr>
                <a:srgbClr val="84BD00"/>
              </a:buClr>
              <a:buFont typeface="Wingdings" pitchFamily="2" charset="2"/>
              <a:buNone/>
            </a:pPr>
            <a:endParaRPr lang="en-US" sz="1125" dirty="0">
              <a:solidFill>
                <a:srgbClr val="000000"/>
              </a:solidFill>
            </a:endParaRPr>
          </a:p>
        </p:txBody>
      </p:sp>
      <p:sp>
        <p:nvSpPr>
          <p:cNvPr id="3" name="Title 2"/>
          <p:cNvSpPr>
            <a:spLocks noGrp="1"/>
          </p:cNvSpPr>
          <p:nvPr>
            <p:ph type="title"/>
          </p:nvPr>
        </p:nvSpPr>
        <p:spPr>
          <a:xfrm>
            <a:off x="197274" y="180248"/>
            <a:ext cx="8574187" cy="678596"/>
          </a:xfrm>
        </p:spPr>
        <p:txBody>
          <a:bodyPr wrap="square" lIns="91521" tIns="45761" rIns="91521" bIns="45761">
            <a:noAutofit/>
          </a:bodyPr>
          <a:lstStyle/>
          <a:p>
            <a:r>
              <a:rPr lang="en-US" dirty="0"/>
              <a:t>Click to edit Master title style</a:t>
            </a:r>
          </a:p>
        </p:txBody>
      </p:sp>
      <p:sp>
        <p:nvSpPr>
          <p:cNvPr id="74" name="Content Placeholder 3"/>
          <p:cNvSpPr>
            <a:spLocks noGrp="1"/>
          </p:cNvSpPr>
          <p:nvPr>
            <p:ph sz="quarter" idx="14"/>
          </p:nvPr>
        </p:nvSpPr>
        <p:spPr>
          <a:xfrm>
            <a:off x="4681698" y="1300164"/>
            <a:ext cx="4173743" cy="3359944"/>
          </a:xfrm>
        </p:spPr>
        <p:txBody>
          <a:bodyPr wrap="square" lIns="91521" tIns="45761" rIns="91521" bIns="45761">
            <a:noAutofit/>
          </a:bodyPr>
          <a:lstStyle>
            <a:lvl1pPr marL="0" indent="0">
              <a:buFont typeface="Arial" panose="020B0604020202020204" pitchFamily="34" charset="0"/>
              <a:buChar char="​"/>
              <a:defRPr>
                <a:solidFill>
                  <a:schemeClr val="accent1"/>
                </a:solidFill>
              </a:defRPr>
            </a:lvl1pPr>
            <a:lvl2pPr marL="127511" indent="-127511">
              <a:buClr>
                <a:schemeClr val="accent1"/>
              </a:buClr>
              <a:buFont typeface="Wingdings" panose="05000000000000000000" pitchFamily="2" charset="2"/>
              <a:buChar char="§"/>
              <a:defRPr/>
            </a:lvl2pPr>
            <a:lvl3pPr marL="259787" indent="-132278">
              <a:buFont typeface="Wingdings" panose="05000000000000000000" pitchFamily="2" charset="2"/>
              <a:buChar char="§"/>
              <a:defRPr/>
            </a:lvl3pPr>
            <a:lvl4pPr marL="431390" indent="-171603">
              <a:buFont typeface="Wingdings" panose="05000000000000000000" pitchFamily="2" charset="2"/>
              <a:buChar char="§"/>
              <a:defRPr/>
            </a:lvl4pPr>
            <a:lvl5pPr marL="602993" indent="-171603">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3" name="Content Placeholder 39"/>
          <p:cNvSpPr>
            <a:spLocks noGrp="1"/>
          </p:cNvSpPr>
          <p:nvPr>
            <p:ph sz="quarter" idx="20"/>
          </p:nvPr>
        </p:nvSpPr>
        <p:spPr bwMode="gray">
          <a:xfrm>
            <a:off x="370241" y="1389221"/>
            <a:ext cx="2516589" cy="1390515"/>
          </a:xfrm>
        </p:spPr>
        <p:txBody>
          <a:bodyPr wrap="square" lIns="91521" tIns="45761" rIns="91521" bIns="45761">
            <a:noAutofit/>
          </a:bodyPr>
          <a:lstStyle>
            <a:lvl1pPr marL="0" indent="0">
              <a:buFont typeface="Arial" panose="020B0604020202020204" pitchFamily="34" charset="0"/>
              <a:buChar char="​"/>
              <a:defRPr sz="1350">
                <a:solidFill>
                  <a:schemeClr val="accent1"/>
                </a:solidFill>
              </a:defRPr>
            </a:lvl1pPr>
            <a:lvl2pPr marL="127511" indent="-127511">
              <a:buClr>
                <a:schemeClr val="accent1"/>
              </a:buClr>
              <a:buFont typeface="Wingdings" panose="05000000000000000000" pitchFamily="2" charset="2"/>
              <a:buChar char="§"/>
              <a:defRPr sz="1050"/>
            </a:lvl2pPr>
            <a:lvl3pPr marL="259787" indent="-132278">
              <a:buFont typeface="Wingdings" panose="05000000000000000000" pitchFamily="2" charset="2"/>
              <a:buChar char="§"/>
              <a:defRPr sz="900"/>
            </a:lvl3pPr>
            <a:lvl4pPr marL="387299" indent="-127511">
              <a:buFont typeface="Wingdings" panose="05000000000000000000" pitchFamily="2" charset="2"/>
              <a:buChar char="§"/>
              <a:defRPr sz="825"/>
            </a:lvl4pPr>
            <a:lvl5pPr marL="514809" indent="-127511">
              <a:buFont typeface="Wingdings" panose="05000000000000000000" pitchFamily="2" charset="2"/>
              <a:buChar char="§"/>
              <a:defRPr sz="7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2978293" y="1389221"/>
            <a:ext cx="1391880" cy="13915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68641" tIns="34321" rIns="68641" bIns="34321" rtlCol="0" anchor="ctr">
            <a:noAutofit/>
          </a:bodyPr>
          <a:lstStyle/>
          <a:p>
            <a:pPr algn="ctr">
              <a:lnSpc>
                <a:spcPct val="85000"/>
              </a:lnSpc>
            </a:pPr>
            <a:endParaRPr lang="en-US" sz="1125" dirty="0"/>
          </a:p>
        </p:txBody>
      </p:sp>
      <p:sp>
        <p:nvSpPr>
          <p:cNvPr id="11" name="Picture Placeholder 10"/>
          <p:cNvSpPr>
            <a:spLocks noGrp="1"/>
          </p:cNvSpPr>
          <p:nvPr>
            <p:ph type="pic" sz="quarter" idx="22" hasCustomPrompt="1"/>
          </p:nvPr>
        </p:nvSpPr>
        <p:spPr>
          <a:xfrm>
            <a:off x="3069043" y="1477875"/>
            <a:ext cx="1211954" cy="1213210"/>
          </a:xfrm>
        </p:spPr>
        <p:txBody>
          <a:bodyPr wrap="square" lIns="91521" tIns="45761" rIns="91521" bIns="45761">
            <a:noAutofit/>
          </a:bodyPr>
          <a:lstStyle>
            <a:lvl1pPr marL="0" indent="0" algn="ctr">
              <a:lnSpc>
                <a:spcPct val="85000"/>
              </a:lnSpc>
              <a:buFontTx/>
              <a:buNone/>
              <a:defRPr sz="825" baseline="0">
                <a:solidFill>
                  <a:schemeClr val="bg2"/>
                </a:solidFill>
              </a:defRPr>
            </a:lvl1pPr>
          </a:lstStyle>
          <a:p>
            <a:r>
              <a:rPr lang="en-US" dirty="0"/>
              <a:t>CLICK TO INSERT LOGO, OR USE PLACEHOLDER TO ALIGN LOGO.</a:t>
            </a:r>
          </a:p>
        </p:txBody>
      </p:sp>
      <p:sp>
        <p:nvSpPr>
          <p:cNvPr id="92" name="Content Placeholder 39"/>
          <p:cNvSpPr>
            <a:spLocks noGrp="1"/>
          </p:cNvSpPr>
          <p:nvPr>
            <p:ph sz="quarter" idx="23"/>
          </p:nvPr>
        </p:nvSpPr>
        <p:spPr bwMode="gray">
          <a:xfrm>
            <a:off x="370239" y="3180437"/>
            <a:ext cx="3999933" cy="1390515"/>
          </a:xfrm>
        </p:spPr>
        <p:txBody>
          <a:bodyPr wrap="square" lIns="91521" tIns="45761" rIns="91521" bIns="45761">
            <a:noAutofit/>
          </a:bodyPr>
          <a:lstStyle>
            <a:lvl1pPr marL="0" indent="0">
              <a:buFont typeface="Arial" panose="020B0604020202020204" pitchFamily="34" charset="0"/>
              <a:buChar char="​"/>
              <a:defRPr sz="1350">
                <a:solidFill>
                  <a:schemeClr val="accent1"/>
                </a:solidFill>
              </a:defRPr>
            </a:lvl1pPr>
            <a:lvl2pPr marL="127511" indent="-127511">
              <a:buClr>
                <a:schemeClr val="accent1"/>
              </a:buClr>
              <a:buFont typeface="Wingdings" panose="05000000000000000000" pitchFamily="2" charset="2"/>
              <a:buChar char="§"/>
              <a:defRPr sz="1050"/>
            </a:lvl2pPr>
            <a:lvl3pPr marL="259787" indent="-132278">
              <a:buFont typeface="Wingdings" panose="05000000000000000000" pitchFamily="2" charset="2"/>
              <a:buChar char="§"/>
              <a:defRPr sz="900"/>
            </a:lvl3pPr>
            <a:lvl4pPr marL="387299" indent="-127511">
              <a:buFont typeface="Wingdings" panose="05000000000000000000" pitchFamily="2" charset="2"/>
              <a:buChar char="§"/>
              <a:defRPr sz="825"/>
            </a:lvl4pPr>
            <a:lvl5pPr marL="514809" indent="-127511">
              <a:buFont typeface="Wingdings" panose="05000000000000000000" pitchFamily="2" charset="2"/>
              <a:buChar char="§"/>
              <a:defRPr sz="7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
          <p:cNvSpPr>
            <a:spLocks noGrp="1"/>
          </p:cNvSpPr>
          <p:nvPr>
            <p:ph type="body" idx="10" hasCustomPrompt="1"/>
          </p:nvPr>
        </p:nvSpPr>
        <p:spPr bwMode="gray">
          <a:xfrm>
            <a:off x="20684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15"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9"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20"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2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472985360"/>
      </p:ext>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957512" y="145257"/>
            <a:ext cx="7209456" cy="3525790"/>
          </a:xfrm>
        </p:spPr>
        <p:txBody>
          <a:bodyPr wrap="square" lIns="91521" tIns="45761" rIns="91521" bIns="45761">
            <a:noAutofit/>
          </a:bodyPr>
          <a:lstStyle>
            <a:lvl1pPr marL="88184" indent="-88184">
              <a:lnSpc>
                <a:spcPct val="120000"/>
              </a:lnSpc>
              <a:defRPr sz="1950" b="0"/>
            </a:lvl1pPr>
          </a:lstStyle>
          <a:p>
            <a:r>
              <a:rPr lang="en-US" dirty="0"/>
              <a:t>Click to Edit Quote</a:t>
            </a:r>
          </a:p>
        </p:txBody>
      </p:sp>
      <p:sp>
        <p:nvSpPr>
          <p:cNvPr id="29" name="Text Placeholder 2"/>
          <p:cNvSpPr>
            <a:spLocks noGrp="1"/>
          </p:cNvSpPr>
          <p:nvPr>
            <p:ph type="body" idx="1" hasCustomPrompt="1"/>
          </p:nvPr>
        </p:nvSpPr>
        <p:spPr bwMode="gray">
          <a:xfrm>
            <a:off x="957512" y="3880598"/>
            <a:ext cx="7209456" cy="241221"/>
          </a:xfrm>
        </p:spPr>
        <p:txBody>
          <a:bodyPr wrap="square" lIns="91521" tIns="45761" rIns="91521" bIns="45761" anchor="t">
            <a:noAutofit/>
          </a:bodyPr>
          <a:lstStyle>
            <a:lvl1pPr marL="0" indent="0" algn="l">
              <a:buNone/>
              <a:defRPr sz="1500" b="1" cap="none" baseline="0">
                <a:solidFill>
                  <a:schemeClr val="accent1"/>
                </a:solidFill>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pic>
        <p:nvPicPr>
          <p:cNvPr id="9"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3"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4"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5"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1704180923"/>
      </p:ext>
    </p:extLst>
  </p:cSld>
  <p:clrMapOvr>
    <a:masterClrMapping/>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lIns="91521" tIns="45761" rIns="91521" bIns="45761">
            <a:noAutofit/>
          </a:bodyPr>
          <a:lstStyle>
            <a:lvl1pPr>
              <a:defRPr sz="2250"/>
            </a:lvl1pPr>
          </a:lstStyle>
          <a:p>
            <a:r>
              <a:rPr lang="en-US" dirty="0"/>
              <a:t>Click to edit Master title style</a:t>
            </a:r>
          </a:p>
        </p:txBody>
      </p:sp>
      <p:sp>
        <p:nvSpPr>
          <p:cNvPr id="40" name="Text Placeholder 2"/>
          <p:cNvSpPr>
            <a:spLocks noGrp="1"/>
          </p:cNvSpPr>
          <p:nvPr>
            <p:ph type="body" idx="10" hasCustomPrompt="1"/>
          </p:nvPr>
        </p:nvSpPr>
        <p:spPr bwMode="gray">
          <a:xfrm>
            <a:off x="223379" y="829815"/>
            <a:ext cx="8548084"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pic>
        <p:nvPicPr>
          <p:cNvPr id="8"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2"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3"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4"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3936493022"/>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10"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1"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1370055057"/>
      </p:ext>
    </p:extLst>
  </p:cSld>
  <p:clrMapOvr>
    <a:masterClrMapping/>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8" name="Media Placeholder 2"/>
          <p:cNvSpPr>
            <a:spLocks noGrp="1"/>
          </p:cNvSpPr>
          <p:nvPr>
            <p:ph type="media" sz="quarter" idx="19" hasCustomPrompt="1"/>
          </p:nvPr>
        </p:nvSpPr>
        <p:spPr>
          <a:xfrm>
            <a:off x="1217137" y="425056"/>
            <a:ext cx="6709730" cy="3773090"/>
          </a:xfrm>
        </p:spPr>
        <p:txBody>
          <a:bodyPr lIns="91521" tIns="45761" rIns="91521" bIns="45761" anchor="ctr">
            <a:noAutofit/>
          </a:bodyPr>
          <a:lstStyle>
            <a:lvl1pPr marL="0" indent="0" algn="ctr">
              <a:buNone/>
              <a:defRPr baseline="0"/>
            </a:lvl1pPr>
          </a:lstStyle>
          <a:p>
            <a:r>
              <a:rPr lang="en-US" dirty="0"/>
              <a:t>Insert video here</a:t>
            </a:r>
          </a:p>
        </p:txBody>
      </p:sp>
      <p:pic>
        <p:nvPicPr>
          <p:cNvPr id="11"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04142" y="4715681"/>
            <a:ext cx="987552" cy="393375"/>
          </a:xfrm>
          <a:prstGeom prst="rect">
            <a:avLst/>
          </a:prstGeom>
        </p:spPr>
      </p:pic>
      <p:sp>
        <p:nvSpPr>
          <p:cNvPr id="7"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
        <p:nvSpPr>
          <p:cNvPr id="12"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1452853672"/>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Rectangle 12"/>
          <p:cNvSpPr/>
          <p:nvPr userDrawn="1"/>
        </p:nvSpPr>
        <p:spPr>
          <a:xfrm>
            <a:off x="2" y="0"/>
            <a:ext cx="9144000" cy="5143500"/>
          </a:xfrm>
          <a:prstGeom prst="rect">
            <a:avLst/>
          </a:prstGeom>
          <a:gradFill flip="none" rotWithShape="1">
            <a:gsLst>
              <a:gs pos="100000">
                <a:schemeClr val="accent1">
                  <a:alpha val="0"/>
                </a:schemeClr>
              </a:gs>
              <a:gs pos="84000">
                <a:schemeClr val="accent1"/>
              </a:gs>
            </a:gsLst>
            <a:lin ang="5400000" scaled="1"/>
            <a:tileRect/>
          </a:gra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39" name="Rectangle 38"/>
          <p:cNvSpPr/>
          <p:nvPr/>
        </p:nvSpPr>
        <p:spPr>
          <a:xfrm>
            <a:off x="2" y="0"/>
            <a:ext cx="9144000" cy="5143500"/>
          </a:xfrm>
          <a:prstGeom prst="rect">
            <a:avLst/>
          </a:prstGeom>
          <a:gradFill flip="none" rotWithShape="1">
            <a:gsLst>
              <a:gs pos="100000">
                <a:schemeClr val="accent1">
                  <a:alpha val="0"/>
                </a:schemeClr>
              </a:gs>
              <a:gs pos="84000">
                <a:schemeClr val="accent1"/>
              </a:gs>
            </a:gsLst>
            <a:lin ang="5400000" scaled="1"/>
            <a:tileRect/>
          </a:gradFill>
          <a:ln>
            <a:noFill/>
          </a:ln>
        </p:spPr>
        <p:txBody>
          <a:bodyPr vert="horz" wrap="square" lIns="68641" tIns="34321" rIns="68641" bIns="34321" numCol="1" anchor="t" anchorCtr="0" compatLnSpc="1">
            <a:prstTxWarp prst="textNoShape">
              <a:avLst/>
            </a:prstTxWarp>
          </a:bodyPr>
          <a:lstStyle/>
          <a:p>
            <a:pPr lvl="0" fontAlgn="base">
              <a:spcBef>
                <a:spcPct val="0"/>
              </a:spcBef>
              <a:spcAft>
                <a:spcPct val="0"/>
              </a:spcAft>
            </a:pPr>
            <a:endParaRPr lang="en-US" sz="1500" kern="0" dirty="0">
              <a:solidFill>
                <a:srgbClr val="000000"/>
              </a:solidFill>
            </a:endParaRPr>
          </a:p>
        </p:txBody>
      </p:sp>
      <p:sp>
        <p:nvSpPr>
          <p:cNvPr id="2" name="Title 1"/>
          <p:cNvSpPr>
            <a:spLocks noGrp="1"/>
          </p:cNvSpPr>
          <p:nvPr>
            <p:ph type="ctrTitle"/>
          </p:nvPr>
        </p:nvSpPr>
        <p:spPr bwMode="auto">
          <a:xfrm>
            <a:off x="281252" y="1853180"/>
            <a:ext cx="8574733" cy="1102519"/>
          </a:xfrm>
        </p:spPr>
        <p:txBody>
          <a:bodyPr lIns="91521">
            <a:noAutofit/>
          </a:bodyPr>
          <a:lstStyle>
            <a:lvl1pPr algn="l">
              <a:lnSpc>
                <a:spcPct val="80000"/>
              </a:lnSpc>
              <a:defRPr sz="3300" b="0">
                <a:solidFill>
                  <a:schemeClr val="bg1"/>
                </a:solidFill>
              </a:defRPr>
            </a:lvl1pPr>
          </a:lstStyle>
          <a:p>
            <a:r>
              <a:rPr lang="en-US" dirty="0"/>
              <a:t>Click to edit Master title style</a:t>
            </a:r>
          </a:p>
        </p:txBody>
      </p:sp>
      <p:sp>
        <p:nvSpPr>
          <p:cNvPr id="25" name="Text Placeholder 24"/>
          <p:cNvSpPr>
            <a:spLocks noGrp="1"/>
          </p:cNvSpPr>
          <p:nvPr>
            <p:ph type="body" sz="quarter" idx="10"/>
          </p:nvPr>
        </p:nvSpPr>
        <p:spPr bwMode="auto">
          <a:xfrm>
            <a:off x="281252" y="3156973"/>
            <a:ext cx="8574733" cy="696142"/>
          </a:xfrm>
        </p:spPr>
        <p:txBody>
          <a:bodyPr lIns="91521">
            <a:noAutofit/>
          </a:bodyPr>
          <a:lstStyle>
            <a:lvl1pPr marL="0" indent="0">
              <a:lnSpc>
                <a:spcPct val="85000"/>
              </a:lnSpc>
              <a:buFontTx/>
              <a:buNone/>
              <a:defRPr sz="1650" b="0">
                <a:solidFill>
                  <a:schemeClr val="bg1"/>
                </a:solidFill>
              </a:defRPr>
            </a:lvl1pPr>
            <a:lvl2pPr marL="86994" indent="-86994">
              <a:lnSpc>
                <a:spcPct val="85000"/>
              </a:lnSpc>
              <a:buFont typeface="Arial" panose="020B0604020202020204" pitchFamily="34" charset="0"/>
              <a:buChar char=" "/>
              <a:defRPr sz="1725" b="0">
                <a:solidFill>
                  <a:schemeClr val="bg2"/>
                </a:solidFill>
              </a:defRPr>
            </a:lvl2pPr>
            <a:lvl3pPr marL="86994" indent="-86994">
              <a:lnSpc>
                <a:spcPct val="85000"/>
              </a:lnSpc>
              <a:buFont typeface="Arial" panose="020B0604020202020204" pitchFamily="34" charset="0"/>
              <a:buChar char=" "/>
              <a:defRPr sz="1725" b="0">
                <a:solidFill>
                  <a:schemeClr val="bg2"/>
                </a:solidFill>
              </a:defRPr>
            </a:lvl3pPr>
            <a:lvl4pPr marL="86994" indent="-86994">
              <a:lnSpc>
                <a:spcPct val="85000"/>
              </a:lnSpc>
              <a:buFont typeface="Arial" panose="020B0604020202020204" pitchFamily="34" charset="0"/>
              <a:buChar char=" "/>
              <a:defRPr sz="1725" b="0">
                <a:solidFill>
                  <a:schemeClr val="bg2"/>
                </a:solidFill>
              </a:defRPr>
            </a:lvl4pPr>
            <a:lvl5pPr marL="86994" indent="-86994">
              <a:lnSpc>
                <a:spcPct val="85000"/>
              </a:lnSpc>
              <a:buFont typeface="Arial" panose="020B0604020202020204" pitchFamily="34" charset="0"/>
              <a:buChar char=" "/>
              <a:defRPr sz="1725" b="0">
                <a:solidFill>
                  <a:schemeClr val="bg2"/>
                </a:solidFill>
              </a:defRPr>
            </a:lvl5pPr>
          </a:lstStyle>
          <a:p>
            <a:pPr lvl="0"/>
            <a:r>
              <a:rPr lang="en-US" dirty="0"/>
              <a:t>Click to edit Master text styles</a:t>
            </a:r>
          </a:p>
        </p:txBody>
      </p:sp>
      <p:grpSp>
        <p:nvGrpSpPr>
          <p:cNvPr id="22" name="Group 21"/>
          <p:cNvGrpSpPr/>
          <p:nvPr userDrawn="1"/>
        </p:nvGrpSpPr>
        <p:grpSpPr>
          <a:xfrm>
            <a:off x="2" y="1"/>
            <a:ext cx="9144000" cy="5147896"/>
            <a:chOff x="0" y="0"/>
            <a:chExt cx="9144000" cy="6863861"/>
          </a:xfrm>
        </p:grpSpPr>
        <p:sp>
          <p:nvSpPr>
            <p:cNvPr id="23" name="Rectangle 22"/>
            <p:cNvSpPr/>
            <p:nvPr userDrawn="1"/>
          </p:nvSpPr>
          <p:spPr bwMode="gray">
            <a:xfrm>
              <a:off x="905256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4" name="Rectangle 23"/>
            <p:cNvSpPr/>
            <p:nvPr userDrawn="1"/>
          </p:nvSpPr>
          <p:spPr bwMode="gray">
            <a:xfrm rot="5400000">
              <a:off x="4526280" y="-4526279"/>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Rectangle 25"/>
            <p:cNvSpPr/>
            <p:nvPr userDrawn="1"/>
          </p:nvSpPr>
          <p:spPr bwMode="gray">
            <a:xfrm rot="5400000">
              <a:off x="4526280" y="2246141"/>
              <a:ext cx="9144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Rectangle 26"/>
            <p:cNvSpPr/>
            <p:nvPr userDrawn="1"/>
          </p:nvSpPr>
          <p:spPr bwMode="gray">
            <a:xfrm>
              <a:off x="0" y="0"/>
              <a:ext cx="91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7" name="NetAp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3733" y="298934"/>
            <a:ext cx="992942" cy="1121031"/>
          </a:xfrm>
          <a:prstGeom prst="rect">
            <a:avLst/>
          </a:prstGeom>
        </p:spPr>
      </p:pic>
      <p:sp>
        <p:nvSpPr>
          <p:cNvPr id="14"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1"/>
                </a:solidFill>
              </a:defRPr>
            </a:lvl1pPr>
          </a:lstStyle>
          <a:p>
            <a:r>
              <a:rPr lang="en-US" dirty="0"/>
              <a:t>© 2016 NetApp, Inc. All rights reserved. NetApp Confidential – Limited Use </a:t>
            </a:r>
          </a:p>
        </p:txBody>
      </p:sp>
      <p:sp>
        <p:nvSpPr>
          <p:cNvPr id="18"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1"/>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262770636"/>
      </p:ext>
    </p:extLst>
  </p:cSld>
  <p:clrMapOvr>
    <a:masterClrMapping/>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53"/>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p:nvPr>
        </p:nvSpPr>
        <p:spPr>
          <a:xfrm>
            <a:off x="197273" y="1129901"/>
            <a:ext cx="8746228" cy="3530212"/>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4"/>
          <p:cNvSpPr>
            <a:spLocks noGrp="1"/>
          </p:cNvSpPr>
          <p:nvPr>
            <p:ph type="ftr" sz="quarter" idx="3"/>
          </p:nvPr>
        </p:nvSpPr>
        <p:spPr>
          <a:xfrm>
            <a:off x="667058" y="4854555"/>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dirty="0"/>
              <a:t>© 2016 NetApp, Inc. All rights reserved. NetApp Confidential – Limited Use </a:t>
            </a:r>
          </a:p>
        </p:txBody>
      </p:sp>
      <p:sp>
        <p:nvSpPr>
          <p:cNvPr id="11" name="Slide Number Placeholder 5"/>
          <p:cNvSpPr>
            <a:spLocks noGrp="1"/>
          </p:cNvSpPr>
          <p:nvPr>
            <p:ph type="sldNum" sz="quarter" idx="4"/>
          </p:nvPr>
        </p:nvSpPr>
        <p:spPr>
          <a:xfrm>
            <a:off x="220869" y="4846935"/>
            <a:ext cx="336490"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80487" y="4871384"/>
            <a:ext cx="783333" cy="142863"/>
          </a:xfrm>
          <a:prstGeom prst="rect">
            <a:avLst/>
          </a:prstGeom>
        </p:spPr>
      </p:pic>
    </p:spTree>
    <p:extLst>
      <p:ext uri="{BB962C8B-B14F-4D97-AF65-F5344CB8AC3E}">
        <p14:creationId xmlns:p14="http://schemas.microsoft.com/office/powerpoint/2010/main" val="1368724749"/>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p:nvPr>
        </p:nvSpPr>
        <p:spPr>
          <a:xfrm>
            <a:off x="197274" y="1300164"/>
            <a:ext cx="8746228" cy="3359944"/>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06848" y="829815"/>
            <a:ext cx="873936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0" name="Footer Placeholder 4"/>
          <p:cNvSpPr>
            <a:spLocks noGrp="1"/>
          </p:cNvSpPr>
          <p:nvPr>
            <p:ph type="ftr" sz="quarter" idx="3"/>
          </p:nvPr>
        </p:nvSpPr>
        <p:spPr>
          <a:xfrm>
            <a:off x="667057" y="4854551"/>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dirty="0"/>
              <a:t>NetApp Insight © 2017 NetApp, Inc. All rights reserved. NetApp Confidential – Limited Use Only</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Tree>
    <p:extLst>
      <p:ext uri="{BB962C8B-B14F-4D97-AF65-F5344CB8AC3E}">
        <p14:creationId xmlns:p14="http://schemas.microsoft.com/office/powerpoint/2010/main" val="509406463"/>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197274" y="180248"/>
            <a:ext cx="8746228" cy="678596"/>
          </a:xfrm>
        </p:spPr>
        <p:txBody>
          <a:bodyPr lIns="91521" tIns="45761" rIns="91521" bIns="45761">
            <a:noAutofit/>
          </a:bodyPr>
          <a:lstStyle>
            <a:lvl1pPr>
              <a:defRPr sz="2250"/>
            </a:lvl1pPr>
          </a:lstStyle>
          <a:p>
            <a:r>
              <a:rPr lang="en-US" dirty="0"/>
              <a:t>Click to edit Master title style</a:t>
            </a:r>
          </a:p>
        </p:txBody>
      </p:sp>
      <p:sp>
        <p:nvSpPr>
          <p:cNvPr id="40" name="Text Placeholder 2"/>
          <p:cNvSpPr>
            <a:spLocks noGrp="1"/>
          </p:cNvSpPr>
          <p:nvPr>
            <p:ph type="body" idx="10" hasCustomPrompt="1"/>
          </p:nvPr>
        </p:nvSpPr>
        <p:spPr bwMode="gray">
          <a:xfrm>
            <a:off x="206848" y="829815"/>
            <a:ext cx="873936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8" name="Footer Placeholder 4"/>
          <p:cNvSpPr>
            <a:spLocks noGrp="1"/>
          </p:cNvSpPr>
          <p:nvPr>
            <p:ph type="ftr" sz="quarter" idx="3"/>
          </p:nvPr>
        </p:nvSpPr>
        <p:spPr>
          <a:xfrm>
            <a:off x="667057" y="4854551"/>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dirty="0"/>
              <a:t>NetApp Insight © 2017 NetApp, Inc. All rights reserved. NetApp Confidential – Limited Use Only</a:t>
            </a: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Tree>
    <p:extLst>
      <p:ext uri="{BB962C8B-B14F-4D97-AF65-F5344CB8AC3E}">
        <p14:creationId xmlns:p14="http://schemas.microsoft.com/office/powerpoint/2010/main" val="3642310638"/>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Virtual Cloud">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FFE91D8F-60AF-49E2-A000-E17EFA23B71D}"/>
              </a:ext>
            </a:extLst>
          </p:cNvPr>
          <p:cNvCxnSpPr>
            <a:cxnSpLocks noChangeShapeType="1"/>
          </p:cNvCxnSpPr>
          <p:nvPr userDrawn="1"/>
        </p:nvCxnSpPr>
        <p:spPr bwMode="auto">
          <a:xfrm>
            <a:off x="0" y="25400"/>
            <a:ext cx="9144000" cy="0"/>
          </a:xfrm>
          <a:prstGeom prst="line">
            <a:avLst/>
          </a:prstGeom>
          <a:noFill/>
          <a:ln w="50800">
            <a:solidFill>
              <a:srgbClr val="2497D5"/>
            </a:solidFill>
            <a:round/>
            <a:headEnd/>
            <a:tailEnd/>
          </a:ln>
          <a:extLst>
            <a:ext uri="{909E8E84-426E-40DD-AFC4-6F175D3DCCD1}">
              <a14:hiddenFill xmlns:a14="http://schemas.microsoft.com/office/drawing/2010/main">
                <a:noFill/>
              </a14:hiddenFill>
            </a:ext>
          </a:extLst>
        </p:spPr>
      </p:cxnSp>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278058" y="259487"/>
            <a:ext cx="7521556" cy="437508"/>
          </a:xfrm>
          <a:prstGeom prst="rect">
            <a:avLst/>
          </a:prstGeom>
        </p:spPr>
        <p:txBody>
          <a:bodyPr anchor="t"/>
          <a:lstStyle>
            <a:lvl1pPr>
              <a:defRPr sz="2800" b="1">
                <a:solidFill>
                  <a:schemeClr val="tx1"/>
                </a:solidFill>
              </a:defRPr>
            </a:lvl1pPr>
          </a:lstStyle>
          <a:p>
            <a:r>
              <a:rPr lang="en-US"/>
              <a:t>Click to edit Master title style</a:t>
            </a:r>
            <a:endParaRPr lang="en-US" dirty="0"/>
          </a:p>
        </p:txBody>
      </p:sp>
      <p:sp>
        <p:nvSpPr>
          <p:cNvPr id="14" name="Text Placeholder 13"/>
          <p:cNvSpPr>
            <a:spLocks noGrp="1"/>
          </p:cNvSpPr>
          <p:nvPr>
            <p:ph type="body" sz="quarter" idx="10"/>
          </p:nvPr>
        </p:nvSpPr>
        <p:spPr>
          <a:xfrm>
            <a:off x="278058" y="1191986"/>
            <a:ext cx="8566310" cy="3532414"/>
          </a:xfrm>
        </p:spPr>
        <p:txBody>
          <a:bodyPr/>
          <a:lstStyle>
            <a:lvl1pPr>
              <a:buClrTx/>
              <a:defRPr sz="1500"/>
            </a:lvl1pPr>
            <a:lvl2pPr>
              <a:buClrTx/>
              <a:defRPr sz="1200"/>
            </a:lvl2pPr>
            <a:lvl3pPr>
              <a:buClrTx/>
              <a:defRPr sz="1200"/>
            </a:lvl3pPr>
            <a:lvl4pPr>
              <a:buClrTx/>
              <a:defRPr sz="1200"/>
            </a:lvl4pPr>
            <a:lvl5pPr>
              <a:buClrTx/>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821381"/>
      </p:ext>
    </p:extLst>
  </p:cSld>
  <p:clrMapOvr>
    <a:masterClrMapping/>
  </p:clrMapOvr>
  <p:transition spd="slow">
    <p:circl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BD70FD-6403-4F98-A1BB-5ADCF5AAFC6D}"/>
              </a:ext>
            </a:extLst>
          </p:cNvPr>
          <p:cNvSpPr>
            <a:spLocks noChangeArrowheads="1"/>
          </p:cNvSpPr>
          <p:nvPr userDrawn="1"/>
        </p:nvSpPr>
        <p:spPr bwMode="auto">
          <a:xfrm>
            <a:off x="5195888" y="0"/>
            <a:ext cx="3948112" cy="5143500"/>
          </a:xfrm>
          <a:prstGeom prst="rect">
            <a:avLst/>
          </a:prstGeom>
          <a:solidFill>
            <a:srgbClr val="3C3939"/>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3CF03F17-05C2-403E-B765-341D727BA8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2637417996"/>
      </p:ext>
    </p:extLst>
  </p:cSld>
  <p:clrMapOvr>
    <a:masterClrMapping/>
  </p:clrMapOvr>
  <p:transition spd="slow">
    <p:circl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7358" y="1939771"/>
            <a:ext cx="5599655"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347372"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2"/>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grpSp>
        <p:nvGrpSpPr>
          <p:cNvPr id="11" name="Group 10">
            <a:extLst>
              <a:ext uri="{FF2B5EF4-FFF2-40B4-BE49-F238E27FC236}">
                <a16:creationId xmlns:a16="http://schemas.microsoft.com/office/drawing/2014/main" id="{A2B401C0-FAD9-4B0E-B809-84C34B2AF070}"/>
              </a:ext>
            </a:extLst>
          </p:cNvPr>
          <p:cNvGrpSpPr>
            <a:grpSpLocks noChangeAspect="1"/>
          </p:cNvGrpSpPr>
          <p:nvPr userDrawn="1"/>
        </p:nvGrpSpPr>
        <p:grpSpPr>
          <a:xfrm>
            <a:off x="6308665" y="2"/>
            <a:ext cx="2837639" cy="4141222"/>
            <a:chOff x="8207212" y="0"/>
            <a:chExt cx="3981613" cy="5812241"/>
          </a:xfrm>
        </p:grpSpPr>
        <p:pic>
          <p:nvPicPr>
            <p:cNvPr id="13" name="Picture 12">
              <a:extLst>
                <a:ext uri="{FF2B5EF4-FFF2-40B4-BE49-F238E27FC236}">
                  <a16:creationId xmlns:a16="http://schemas.microsoft.com/office/drawing/2014/main" id="{76BE7FCD-5FE5-4C5E-9560-AD1D7BB3F8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04445" y="1655064"/>
              <a:ext cx="1325880" cy="1105145"/>
            </a:xfrm>
            <a:prstGeom prst="rect">
              <a:avLst/>
            </a:prstGeom>
          </p:spPr>
        </p:pic>
        <p:sp>
          <p:nvSpPr>
            <p:cNvPr id="14" name="Rectangle 13">
              <a:extLst>
                <a:ext uri="{FF2B5EF4-FFF2-40B4-BE49-F238E27FC236}">
                  <a16:creationId xmlns:a16="http://schemas.microsoft.com/office/drawing/2014/main" id="{258BB352-F1D8-4E7A-9C0C-57F3B548677C}"/>
                </a:ext>
              </a:extLst>
            </p:cNvPr>
            <p:cNvSpPr>
              <a:spLocks noChangeAspect="1"/>
            </p:cNvSpPr>
            <p:nvPr/>
          </p:nvSpPr>
          <p:spPr>
            <a:xfrm>
              <a:off x="10530325" y="0"/>
              <a:ext cx="1658500" cy="1655064"/>
            </a:xfrm>
            <a:prstGeom prst="rect">
              <a:avLst/>
            </a:prstGeom>
            <a:solidFill>
              <a:srgbClr val="02773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7" name="Rectangle 16">
              <a:extLst>
                <a:ext uri="{FF2B5EF4-FFF2-40B4-BE49-F238E27FC236}">
                  <a16:creationId xmlns:a16="http://schemas.microsoft.com/office/drawing/2014/main" id="{4BE8051A-EBEA-4D4B-864C-587B681D762C}"/>
                </a:ext>
              </a:extLst>
            </p:cNvPr>
            <p:cNvSpPr>
              <a:spLocks noChangeAspect="1"/>
            </p:cNvSpPr>
            <p:nvPr/>
          </p:nvSpPr>
          <p:spPr>
            <a:xfrm>
              <a:off x="8454100" y="906808"/>
              <a:ext cx="749808" cy="748256"/>
            </a:xfrm>
            <a:prstGeom prst="rect">
              <a:avLst/>
            </a:prstGeom>
            <a:solidFill>
              <a:srgbClr val="00322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8" name="Rectangle 17">
              <a:extLst>
                <a:ext uri="{FF2B5EF4-FFF2-40B4-BE49-F238E27FC236}">
                  <a16:creationId xmlns:a16="http://schemas.microsoft.com/office/drawing/2014/main" id="{F94F1F5E-3095-4757-A98B-A7926C9CD2F2}"/>
                </a:ext>
              </a:extLst>
            </p:cNvPr>
            <p:cNvSpPr>
              <a:spLocks noChangeAspect="1"/>
            </p:cNvSpPr>
            <p:nvPr/>
          </p:nvSpPr>
          <p:spPr>
            <a:xfrm>
              <a:off x="8207212" y="2760209"/>
              <a:ext cx="996696" cy="994632"/>
            </a:xfrm>
            <a:prstGeom prst="rect">
              <a:avLst/>
            </a:prstGeom>
            <a:solidFill>
              <a:srgbClr val="BCDD7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9" name="Rectangle 18">
              <a:extLst>
                <a:ext uri="{FF2B5EF4-FFF2-40B4-BE49-F238E27FC236}">
                  <a16:creationId xmlns:a16="http://schemas.microsoft.com/office/drawing/2014/main" id="{62EAF146-DE9D-40E3-A5A8-A8D6061B809B}"/>
                </a:ext>
              </a:extLst>
            </p:cNvPr>
            <p:cNvSpPr>
              <a:spLocks noChangeAspect="1"/>
            </p:cNvSpPr>
            <p:nvPr/>
          </p:nvSpPr>
          <p:spPr>
            <a:xfrm>
              <a:off x="9203908" y="3754841"/>
              <a:ext cx="2057400" cy="2057400"/>
            </a:xfrm>
            <a:prstGeom prst="rect">
              <a:avLst/>
            </a:prstGeom>
            <a:solidFill>
              <a:srgbClr val="4AB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grpSp>
    </p:spTree>
    <p:extLst>
      <p:ext uri="{BB962C8B-B14F-4D97-AF65-F5344CB8AC3E}">
        <p14:creationId xmlns:p14="http://schemas.microsoft.com/office/powerpoint/2010/main" val="209268274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1F689-3696-41C6-A1AF-AB2AFA9B50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43679" y="1"/>
            <a:ext cx="3800321" cy="2810590"/>
          </a:xfrm>
          <a:prstGeom prst="rect">
            <a:avLst/>
          </a:prstGeom>
        </p:spPr>
      </p:pic>
      <p:sp>
        <p:nvSpPr>
          <p:cNvPr id="2" name="Title 1"/>
          <p:cNvSpPr>
            <a:spLocks noGrp="1"/>
          </p:cNvSpPr>
          <p:nvPr>
            <p:ph type="ctrTitle" hasCustomPrompt="1"/>
          </p:nvPr>
        </p:nvSpPr>
        <p:spPr bwMode="gray">
          <a:xfrm>
            <a:off x="557358" y="1939771"/>
            <a:ext cx="6791189"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791189"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3"/>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spTree>
    <p:extLst>
      <p:ext uri="{BB962C8B-B14F-4D97-AF65-F5344CB8AC3E}">
        <p14:creationId xmlns:p14="http://schemas.microsoft.com/office/powerpoint/2010/main" val="775108047"/>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489AFE-A44B-4116-8BEE-531DA422A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10092" y="-6927"/>
            <a:ext cx="3833908" cy="3147822"/>
          </a:xfrm>
          <a:prstGeom prst="rect">
            <a:avLst/>
          </a:prstGeom>
        </p:spPr>
      </p:pic>
      <p:sp>
        <p:nvSpPr>
          <p:cNvPr id="2" name="Title 1"/>
          <p:cNvSpPr>
            <a:spLocks noGrp="1"/>
          </p:cNvSpPr>
          <p:nvPr>
            <p:ph type="ctrTitle" hasCustomPrompt="1"/>
          </p:nvPr>
        </p:nvSpPr>
        <p:spPr bwMode="gray">
          <a:xfrm>
            <a:off x="557358" y="1939771"/>
            <a:ext cx="6791189"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791189"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3"/>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spTree>
    <p:extLst>
      <p:ext uri="{BB962C8B-B14F-4D97-AF65-F5344CB8AC3E}">
        <p14:creationId xmlns:p14="http://schemas.microsoft.com/office/powerpoint/2010/main" val="3288705236"/>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A3E5A4-8CB8-4966-9F87-6858B16140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62" y="1"/>
            <a:ext cx="9134239" cy="1716790"/>
          </a:xfrm>
          <a:prstGeom prst="rect">
            <a:avLst/>
          </a:prstGeom>
        </p:spPr>
      </p:pic>
      <p:sp>
        <p:nvSpPr>
          <p:cNvPr id="25" name="Text Placeholder 24"/>
          <p:cNvSpPr>
            <a:spLocks noGrp="1"/>
          </p:cNvSpPr>
          <p:nvPr>
            <p:ph type="body" sz="quarter" idx="10" hasCustomPrompt="1"/>
          </p:nvPr>
        </p:nvSpPr>
        <p:spPr bwMode="auto">
          <a:xfrm>
            <a:off x="1179294" y="3064061"/>
            <a:ext cx="6785365" cy="696142"/>
          </a:xfrm>
        </p:spPr>
        <p:txBody>
          <a:bodyPr wrap="square" lIns="91521">
            <a:noAutofit/>
          </a:bodyPr>
          <a:lstStyle>
            <a:lvl1pPr marL="0" indent="0">
              <a:lnSpc>
                <a:spcPct val="85000"/>
              </a:lnSpc>
              <a:spcBef>
                <a:spcPts val="0"/>
              </a:spcBef>
              <a:spcAft>
                <a:spcPts val="450"/>
              </a:spcAft>
              <a:buFontTx/>
              <a:buNone/>
              <a:defRPr sz="1650" b="0">
                <a:solidFill>
                  <a:schemeClr val="accent1"/>
                </a:solidFill>
              </a:defRPr>
            </a:lvl1pPr>
            <a:lvl2pPr marL="86994" indent="-86994">
              <a:lnSpc>
                <a:spcPct val="85000"/>
              </a:lnSpc>
              <a:buFont typeface="Arial" panose="020B0604020202020204" pitchFamily="34" charset="0"/>
              <a:buChar char=" "/>
              <a:defRPr sz="1725" b="0">
                <a:solidFill>
                  <a:schemeClr val="bg2"/>
                </a:solidFill>
              </a:defRPr>
            </a:lvl2pPr>
            <a:lvl3pPr marL="86994" indent="-86994">
              <a:lnSpc>
                <a:spcPct val="85000"/>
              </a:lnSpc>
              <a:buFont typeface="Arial" panose="020B0604020202020204" pitchFamily="34" charset="0"/>
              <a:buChar char=" "/>
              <a:defRPr sz="1725" b="0">
                <a:solidFill>
                  <a:schemeClr val="bg2"/>
                </a:solidFill>
              </a:defRPr>
            </a:lvl3pPr>
            <a:lvl4pPr marL="86994" indent="-86994">
              <a:lnSpc>
                <a:spcPct val="85000"/>
              </a:lnSpc>
              <a:buFont typeface="Arial" panose="020B0604020202020204" pitchFamily="34" charset="0"/>
              <a:buChar char=" "/>
              <a:defRPr sz="1725" b="0">
                <a:solidFill>
                  <a:schemeClr val="bg2"/>
                </a:solidFill>
              </a:defRPr>
            </a:lvl4pPr>
            <a:lvl5pPr marL="86994" indent="-86994">
              <a:lnSpc>
                <a:spcPct val="85000"/>
              </a:lnSpc>
              <a:buFont typeface="Arial" panose="020B0604020202020204" pitchFamily="34" charset="0"/>
              <a:buChar char=" "/>
              <a:defRPr sz="1725" b="0">
                <a:solidFill>
                  <a:schemeClr val="bg2"/>
                </a:solidFill>
              </a:defRPr>
            </a:lvl5pPr>
          </a:lstStyle>
          <a:p>
            <a:pPr lvl="0"/>
            <a:r>
              <a:rPr lang="en-US" dirty="0"/>
              <a:t>Click to edit master text styles</a:t>
            </a:r>
          </a:p>
        </p:txBody>
      </p:sp>
      <p:sp>
        <p:nvSpPr>
          <p:cNvPr id="2" name="Title 1"/>
          <p:cNvSpPr>
            <a:spLocks noGrp="1"/>
          </p:cNvSpPr>
          <p:nvPr>
            <p:ph type="ctrTitle" hasCustomPrompt="1"/>
          </p:nvPr>
        </p:nvSpPr>
        <p:spPr bwMode="auto">
          <a:xfrm>
            <a:off x="1179292" y="1939770"/>
            <a:ext cx="6785366" cy="1104138"/>
          </a:xfrm>
        </p:spPr>
        <p:txBody>
          <a:bodyPr wrap="square" lIns="91521">
            <a:noAutofit/>
          </a:bodyPr>
          <a:lstStyle>
            <a:lvl1pPr algn="l">
              <a:lnSpc>
                <a:spcPct val="95000"/>
              </a:lnSpc>
              <a:defRPr sz="3300" b="0">
                <a:solidFill>
                  <a:schemeClr val="tx1"/>
                </a:solidFill>
              </a:defRPr>
            </a:lvl1pPr>
          </a:lstStyle>
          <a:p>
            <a:r>
              <a:rPr lang="en-US" dirty="0"/>
              <a:t>Click to Edit Master Title Style</a:t>
            </a:r>
          </a:p>
        </p:txBody>
      </p:sp>
      <p:sp>
        <p:nvSpPr>
          <p:cNvPr id="29"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3" name="Picture 12"/>
          <p:cNvPicPr>
            <a:picLocks noChangeAspect="1"/>
          </p:cNvPicPr>
          <p:nvPr userDrawn="1"/>
        </p:nvPicPr>
        <p:blipFill>
          <a:blip r:embed="rId3"/>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pic>
        <p:nvPicPr>
          <p:cNvPr id="9" name="Picture 8">
            <a:extLst>
              <a:ext uri="{FF2B5EF4-FFF2-40B4-BE49-F238E27FC236}">
                <a16:creationId xmlns:a16="http://schemas.microsoft.com/office/drawing/2014/main" id="{288716FB-C701-449A-8043-5F0611D035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0" y="1"/>
            <a:ext cx="2059771" cy="1716790"/>
          </a:xfrm>
          <a:prstGeom prst="rect">
            <a:avLst/>
          </a:prstGeom>
        </p:spPr>
      </p:pic>
    </p:spTree>
    <p:extLst>
      <p:ext uri="{BB962C8B-B14F-4D97-AF65-F5344CB8AC3E}">
        <p14:creationId xmlns:p14="http://schemas.microsoft.com/office/powerpoint/2010/main" val="3943602543"/>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97274" y="174288"/>
            <a:ext cx="4939046" cy="684556"/>
          </a:xfrm>
        </p:spPr>
        <p:txBody>
          <a:bodyPr wrap="square" lIns="91521">
            <a:noAutofit/>
          </a:bodyPr>
          <a:lstStyle>
            <a:lvl1pPr>
              <a:defRPr sz="2250"/>
            </a:lvl1pPr>
          </a:lstStyle>
          <a:p>
            <a:r>
              <a:rPr lang="en-US" dirty="0"/>
              <a:t>Click to Edit Master Title Style</a:t>
            </a:r>
          </a:p>
        </p:txBody>
      </p:sp>
      <p:sp>
        <p:nvSpPr>
          <p:cNvPr id="50" name="Content Placeholder 39"/>
          <p:cNvSpPr>
            <a:spLocks noGrp="1"/>
          </p:cNvSpPr>
          <p:nvPr>
            <p:ph sz="quarter" idx="15" hasCustomPrompt="1"/>
          </p:nvPr>
        </p:nvSpPr>
        <p:spPr bwMode="gray">
          <a:xfrm>
            <a:off x="197273" y="1300068"/>
            <a:ext cx="4458861" cy="3360041"/>
          </a:xfrm>
        </p:spPr>
        <p:txBody>
          <a:bodyPr wrap="square" lIns="91521">
            <a:noAutofit/>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idx="10" hasCustomPrompt="1"/>
          </p:nvPr>
        </p:nvSpPr>
        <p:spPr bwMode="gray">
          <a:xfrm>
            <a:off x="197273" y="829815"/>
            <a:ext cx="4939046"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grpSp>
        <p:nvGrpSpPr>
          <p:cNvPr id="2" name="Group 1">
            <a:extLst>
              <a:ext uri="{FF2B5EF4-FFF2-40B4-BE49-F238E27FC236}">
                <a16:creationId xmlns:a16="http://schemas.microsoft.com/office/drawing/2014/main" id="{92B1DE7B-9588-45A9-B4CA-A749F744B516}"/>
              </a:ext>
            </a:extLst>
          </p:cNvPr>
          <p:cNvGrpSpPr>
            <a:grpSpLocks noChangeAspect="1"/>
          </p:cNvGrpSpPr>
          <p:nvPr userDrawn="1"/>
        </p:nvGrpSpPr>
        <p:grpSpPr>
          <a:xfrm>
            <a:off x="6637786" y="0"/>
            <a:ext cx="2506214" cy="1849956"/>
            <a:chOff x="8848076" y="0"/>
            <a:chExt cx="3340749" cy="2466608"/>
          </a:xfrm>
        </p:grpSpPr>
        <p:pic>
          <p:nvPicPr>
            <p:cNvPr id="18" name="Picture 17">
              <a:extLst>
                <a:ext uri="{FF2B5EF4-FFF2-40B4-BE49-F238E27FC236}">
                  <a16:creationId xmlns:a16="http://schemas.microsoft.com/office/drawing/2014/main" id="{CD3FF8CF-3042-4A20-91B5-FB66AEA6A1E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2899" y="647879"/>
              <a:ext cx="868611" cy="724062"/>
            </a:xfrm>
            <a:prstGeom prst="rect">
              <a:avLst/>
            </a:prstGeom>
          </p:spPr>
        </p:pic>
        <p:sp>
          <p:nvSpPr>
            <p:cNvPr id="19" name="Rectangle 18">
              <a:extLst>
                <a:ext uri="{FF2B5EF4-FFF2-40B4-BE49-F238E27FC236}">
                  <a16:creationId xmlns:a16="http://schemas.microsoft.com/office/drawing/2014/main" id="{A161E791-21E5-40C6-9804-4D79551C90B1}"/>
                </a:ext>
              </a:extLst>
            </p:cNvPr>
            <p:cNvSpPr>
              <a:spLocks noChangeAspect="1"/>
            </p:cNvSpPr>
            <p:nvPr userDrawn="1"/>
          </p:nvSpPr>
          <p:spPr>
            <a:xfrm>
              <a:off x="11091545" y="1371600"/>
              <a:ext cx="1097280" cy="1095008"/>
            </a:xfrm>
            <a:prstGeom prst="rect">
              <a:avLst/>
            </a:prstGeom>
            <a:solidFill>
              <a:srgbClr val="126E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0" name="Rectangle 19">
              <a:extLst>
                <a:ext uri="{FF2B5EF4-FFF2-40B4-BE49-F238E27FC236}">
                  <a16:creationId xmlns:a16="http://schemas.microsoft.com/office/drawing/2014/main" id="{7B0C2CA3-32D6-47F4-ABC3-866431349AD1}"/>
                </a:ext>
              </a:extLst>
            </p:cNvPr>
            <p:cNvSpPr>
              <a:spLocks noChangeAspect="1"/>
            </p:cNvSpPr>
            <p:nvPr userDrawn="1"/>
          </p:nvSpPr>
          <p:spPr>
            <a:xfrm>
              <a:off x="11091545" y="0"/>
              <a:ext cx="649224" cy="647879"/>
            </a:xfrm>
            <a:prstGeom prst="rect">
              <a:avLst/>
            </a:prstGeom>
            <a:solidFill>
              <a:srgbClr val="A2E1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1" name="Rectangle 20">
              <a:extLst>
                <a:ext uri="{FF2B5EF4-FFF2-40B4-BE49-F238E27FC236}">
                  <a16:creationId xmlns:a16="http://schemas.microsoft.com/office/drawing/2014/main" id="{18B5FA5D-C46B-48AC-8A5F-100547C5BD77}"/>
                </a:ext>
              </a:extLst>
            </p:cNvPr>
            <p:cNvSpPr>
              <a:spLocks noChangeAspect="1"/>
            </p:cNvSpPr>
            <p:nvPr userDrawn="1"/>
          </p:nvSpPr>
          <p:spPr>
            <a:xfrm>
              <a:off x="8848076" y="0"/>
              <a:ext cx="1374789" cy="13719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2" name="Rectangle 21">
              <a:extLst>
                <a:ext uri="{FF2B5EF4-FFF2-40B4-BE49-F238E27FC236}">
                  <a16:creationId xmlns:a16="http://schemas.microsoft.com/office/drawing/2014/main" id="{E7DB503E-9645-4252-B767-CF2ED689D542}"/>
                </a:ext>
              </a:extLst>
            </p:cNvPr>
            <p:cNvSpPr>
              <a:spLocks noChangeAspect="1"/>
            </p:cNvSpPr>
            <p:nvPr userDrawn="1"/>
          </p:nvSpPr>
          <p:spPr>
            <a:xfrm>
              <a:off x="9728064" y="1371941"/>
              <a:ext cx="494801" cy="493776"/>
            </a:xfrm>
            <a:prstGeom prst="rect">
              <a:avLst/>
            </a:prstGeom>
            <a:solidFill>
              <a:srgbClr val="06264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grpSp>
    </p:spTree>
    <p:extLst>
      <p:ext uri="{BB962C8B-B14F-4D97-AF65-F5344CB8AC3E}">
        <p14:creationId xmlns:p14="http://schemas.microsoft.com/office/powerpoint/2010/main" val="2803112313"/>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97274" y="174288"/>
            <a:ext cx="8746228" cy="684556"/>
          </a:xfrm>
        </p:spPr>
        <p:txBody>
          <a:bodyPr wrap="square" lIns="91521">
            <a:noAutofit/>
          </a:bodyPr>
          <a:lstStyle>
            <a:lvl1pPr>
              <a:defRPr sz="2250"/>
            </a:lvl1pPr>
          </a:lstStyle>
          <a:p>
            <a:r>
              <a:rPr lang="en-US" dirty="0"/>
              <a:t>Click to Edit Master Title Style</a:t>
            </a:r>
          </a:p>
        </p:txBody>
      </p:sp>
      <p:sp>
        <p:nvSpPr>
          <p:cNvPr id="50" name="Content Placeholder 39"/>
          <p:cNvSpPr>
            <a:spLocks noGrp="1"/>
          </p:cNvSpPr>
          <p:nvPr>
            <p:ph sz="quarter" idx="15" hasCustomPrompt="1"/>
          </p:nvPr>
        </p:nvSpPr>
        <p:spPr bwMode="gray">
          <a:xfrm>
            <a:off x="197274" y="1300068"/>
            <a:ext cx="4307320" cy="3360041"/>
          </a:xfrm>
        </p:spPr>
        <p:txBody>
          <a:bodyPr wrap="square" lIns="91521">
            <a:noAutofit/>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idx="10" hasCustomPrompt="1"/>
          </p:nvPr>
        </p:nvSpPr>
        <p:spPr bwMode="gray">
          <a:xfrm>
            <a:off x="197273"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
        <p:nvSpPr>
          <p:cNvPr id="14" name="Content Placeholder 39"/>
          <p:cNvSpPr>
            <a:spLocks noGrp="1"/>
          </p:cNvSpPr>
          <p:nvPr>
            <p:ph sz="quarter" idx="16" hasCustomPrompt="1"/>
          </p:nvPr>
        </p:nvSpPr>
        <p:spPr bwMode="gray">
          <a:xfrm>
            <a:off x="4636182" y="1300068"/>
            <a:ext cx="4307320" cy="3360041"/>
          </a:xfrm>
        </p:spPr>
        <p:txBody>
          <a:bodyPr wrap="square" lIns="91521">
            <a:noAutofit/>
          </a:bodyPr>
          <a:lstStyle>
            <a:lvl1pPr marL="257404" indent="-257404">
              <a:buFont typeface="+mj-lt"/>
              <a:buAutoNum type="arabicParenR" startAt="5"/>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9009138"/>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2948129293"/>
      </p:ext>
    </p:extLst>
  </p:cSld>
  <p:clrMapOvr>
    <a:masterClrMapping/>
  </p:clrMapOvr>
  <p:transition spd="med">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1782"/>
            <a:ext cx="8746228" cy="3359923"/>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2699042316"/>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with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
        <p:nvSpPr>
          <p:cNvPr id="10" name="Text Placeholder 6"/>
          <p:cNvSpPr>
            <a:spLocks noGrp="1"/>
          </p:cNvSpPr>
          <p:nvPr>
            <p:ph type="body" sz="quarter" idx="16" hasCustomPrompt="1"/>
          </p:nvPr>
        </p:nvSpPr>
        <p:spPr>
          <a:xfrm>
            <a:off x="197274"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lumMod val="50000"/>
                  </a:schemeClr>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Tree>
    <p:extLst>
      <p:ext uri="{BB962C8B-B14F-4D97-AF65-F5344CB8AC3E}">
        <p14:creationId xmlns:p14="http://schemas.microsoft.com/office/powerpoint/2010/main" val="1352872723"/>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5" name="Content Placeholder 39"/>
          <p:cNvSpPr>
            <a:spLocks noGrp="1"/>
          </p:cNvSpPr>
          <p:nvPr>
            <p:ph sz="quarter" idx="15" hasCustomPrompt="1"/>
          </p:nvPr>
        </p:nvSpPr>
        <p:spPr bwMode="gray">
          <a:xfrm>
            <a:off x="197274" y="1300068"/>
            <a:ext cx="4287367" cy="3360041"/>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197274" y="180248"/>
            <a:ext cx="8746228" cy="678596"/>
          </a:xfrm>
        </p:spPr>
        <p:txBody>
          <a:bodyPr wrap="square" lIns="91521">
            <a:noAutofit/>
          </a:bodyPr>
          <a:lstStyle>
            <a:lvl1pPr>
              <a:defRPr/>
            </a:lvl1pPr>
          </a:lstStyle>
          <a:p>
            <a:r>
              <a:rPr lang="en-US" dirty="0"/>
              <a:t>Click to Edit Master Title Style</a:t>
            </a:r>
          </a:p>
        </p:txBody>
      </p:sp>
      <p:sp>
        <p:nvSpPr>
          <p:cNvPr id="83" name="Content Placeholder 3"/>
          <p:cNvSpPr>
            <a:spLocks noGrp="1"/>
          </p:cNvSpPr>
          <p:nvPr>
            <p:ph sz="quarter" idx="14" hasCustomPrompt="1"/>
          </p:nvPr>
        </p:nvSpPr>
        <p:spPr>
          <a:xfrm>
            <a:off x="4656135" y="1300068"/>
            <a:ext cx="4287367"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150284306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FB10FF-1F8E-4B8D-B755-EA050A32552C}"/>
              </a:ext>
            </a:extLst>
          </p:cNvPr>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B754FC87-8B80-46A3-9617-30F564D255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2407764807"/>
      </p:ext>
    </p:extLst>
  </p:cSld>
  <p:clrMapOvr>
    <a:masterClrMapping/>
  </p:clrMapOvr>
  <p:transition spd="slow">
    <p:circl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5" name="Content Placeholder 39"/>
          <p:cNvSpPr>
            <a:spLocks noGrp="1"/>
          </p:cNvSpPr>
          <p:nvPr>
            <p:ph sz="quarter" idx="15" hasCustomPrompt="1"/>
          </p:nvPr>
        </p:nvSpPr>
        <p:spPr bwMode="gray">
          <a:xfrm>
            <a:off x="197274"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39"/>
          <p:cNvSpPr>
            <a:spLocks noGrp="1"/>
          </p:cNvSpPr>
          <p:nvPr>
            <p:ph sz="quarter" idx="17" hasCustomPrompt="1"/>
          </p:nvPr>
        </p:nvSpPr>
        <p:spPr bwMode="gray">
          <a:xfrm>
            <a:off x="3164131"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Content Placeholder 39"/>
          <p:cNvSpPr>
            <a:spLocks noGrp="1"/>
          </p:cNvSpPr>
          <p:nvPr>
            <p:ph sz="quarter" idx="18" hasCustomPrompt="1"/>
          </p:nvPr>
        </p:nvSpPr>
        <p:spPr bwMode="gray">
          <a:xfrm>
            <a:off x="6130989"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1"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12"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870756481"/>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Quad">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8746228" cy="678596"/>
          </a:xfrm>
        </p:spPr>
        <p:txBody>
          <a:bodyPr lIns="91521">
            <a:noAutofit/>
          </a:bodyPr>
          <a:lstStyle>
            <a:lvl1pPr>
              <a:defRPr sz="2250"/>
            </a:lvl1pPr>
          </a:lstStyle>
          <a:p>
            <a:r>
              <a:rPr lang="en-US" dirty="0"/>
              <a:t>Click to Edit Master Title Style</a:t>
            </a:r>
          </a:p>
        </p:txBody>
      </p:sp>
      <p:sp>
        <p:nvSpPr>
          <p:cNvPr id="79" name="Content Placeholder 39"/>
          <p:cNvSpPr>
            <a:spLocks noGrp="1"/>
          </p:cNvSpPr>
          <p:nvPr>
            <p:ph sz="quarter" idx="15" hasCustomPrompt="1"/>
          </p:nvPr>
        </p:nvSpPr>
        <p:spPr bwMode="gray">
          <a:xfrm>
            <a:off x="197273" y="1300069"/>
            <a:ext cx="4287367"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0" name="Content Placeholder 3"/>
          <p:cNvSpPr>
            <a:spLocks noGrp="1"/>
          </p:cNvSpPr>
          <p:nvPr>
            <p:ph sz="quarter" idx="14" hasCustomPrompt="1"/>
          </p:nvPr>
        </p:nvSpPr>
        <p:spPr>
          <a:xfrm>
            <a:off x="4656135" y="1300164"/>
            <a:ext cx="4287367"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1" name="Content Placeholder 39"/>
          <p:cNvSpPr>
            <a:spLocks noGrp="1"/>
          </p:cNvSpPr>
          <p:nvPr>
            <p:ph sz="quarter" idx="20" hasCustomPrompt="1"/>
          </p:nvPr>
        </p:nvSpPr>
        <p:spPr bwMode="gray">
          <a:xfrm>
            <a:off x="197273" y="3047205"/>
            <a:ext cx="4287367"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2" name="Content Placeholder 3"/>
          <p:cNvSpPr>
            <a:spLocks noGrp="1"/>
          </p:cNvSpPr>
          <p:nvPr>
            <p:ph sz="quarter" idx="21" hasCustomPrompt="1"/>
          </p:nvPr>
        </p:nvSpPr>
        <p:spPr>
          <a:xfrm>
            <a:off x="4656135" y="3047300"/>
            <a:ext cx="4287367"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4"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1" name="Picture 10"/>
          <p:cNvPicPr>
            <a:picLocks noChangeAspect="1"/>
          </p:cNvPicPr>
          <p:nvPr userDrawn="1"/>
        </p:nvPicPr>
        <p:blipFill>
          <a:blip r:embed="rId2"/>
          <a:stretch>
            <a:fillRect/>
          </a:stretch>
        </p:blipFill>
        <p:spPr>
          <a:xfrm>
            <a:off x="8081801" y="4870915"/>
            <a:ext cx="782016" cy="143333"/>
          </a:xfrm>
          <a:prstGeom prst="rect">
            <a:avLst/>
          </a:prstGeom>
        </p:spPr>
      </p:pic>
      <p:sp>
        <p:nvSpPr>
          <p:cNvPr id="13"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1641112990"/>
      </p:ext>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8746228" cy="678596"/>
          </a:xfrm>
        </p:spPr>
        <p:txBody>
          <a:bodyPr lIns="91521" tIns="45761" rIns="91521" bIns="45761">
            <a:noAutofit/>
          </a:bodyPr>
          <a:lstStyle>
            <a:lvl1pPr>
              <a:defRPr sz="2250"/>
            </a:lvl1pPr>
          </a:lstStyle>
          <a:p>
            <a:r>
              <a:rPr lang="en-US" dirty="0"/>
              <a:t>Click to Edit Master Title Style</a:t>
            </a:r>
          </a:p>
        </p:txBody>
      </p:sp>
      <p:sp>
        <p:nvSpPr>
          <p:cNvPr id="40"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9"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321007714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g Stat">
    <p:spTree>
      <p:nvGrpSpPr>
        <p:cNvPr id="1" name=""/>
        <p:cNvGrpSpPr/>
        <p:nvPr/>
      </p:nvGrpSpPr>
      <p:grpSpPr>
        <a:xfrm>
          <a:off x="0" y="0"/>
          <a:ext cx="0" cy="0"/>
          <a:chOff x="0" y="0"/>
          <a:chExt cx="0" cy="0"/>
        </a:xfrm>
      </p:grpSpPr>
      <p:sp>
        <p:nvSpPr>
          <p:cNvPr id="11" name="Rectangle 10"/>
          <p:cNvSpPr/>
          <p:nvPr/>
        </p:nvSpPr>
        <p:spPr>
          <a:xfrm>
            <a:off x="1036266" y="1028700"/>
            <a:ext cx="3085138" cy="3084335"/>
          </a:xfrm>
          <a:prstGeom prst="rect">
            <a:avLst/>
          </a:prstGeom>
          <a:solidFill>
            <a:srgbClr val="0067C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6412">
              <a:lnSpc>
                <a:spcPct val="95000"/>
              </a:lnSpc>
            </a:pPr>
            <a:endParaRPr lang="en-US" sz="1500" dirty="0" err="1">
              <a:solidFill>
                <a:prstClr val="white"/>
              </a:solidFill>
            </a:endParaRPr>
          </a:p>
        </p:txBody>
      </p:sp>
      <p:sp>
        <p:nvSpPr>
          <p:cNvPr id="6" name="Text Placeholder 5"/>
          <p:cNvSpPr>
            <a:spLocks noGrp="1"/>
          </p:cNvSpPr>
          <p:nvPr userDrawn="1">
            <p:ph type="body" sz="quarter" idx="11"/>
          </p:nvPr>
        </p:nvSpPr>
        <p:spPr>
          <a:xfrm>
            <a:off x="1036265" y="3054931"/>
            <a:ext cx="3085139" cy="408857"/>
          </a:xfrm>
        </p:spPr>
        <p:txBody>
          <a:bodyPr anchor="t" anchorCtr="0"/>
          <a:lstStyle>
            <a:lvl1pPr marL="0" indent="0" algn="ctr">
              <a:buNone/>
              <a:defRPr kumimoji="0" lang="en-US" sz="1650" b="0" i="0" u="none" strike="noStrike" kern="1200" cap="none" spc="0" normalizeH="0" baseline="0" dirty="0" smtClean="0">
                <a:ln>
                  <a:noFill/>
                </a:ln>
                <a:solidFill>
                  <a:srgbClr val="5AC0ED"/>
                </a:solidFill>
                <a:effectLst/>
                <a:uLnTx/>
                <a:uFillTx/>
                <a:latin typeface="+mn-lt"/>
                <a:ea typeface="+mn-ea"/>
                <a:cs typeface="+mn-cs"/>
              </a:defRPr>
            </a:lvl1pPr>
          </a:lstStyle>
          <a:p>
            <a:pPr lvl="0"/>
            <a:r>
              <a:rPr lang="en-US" dirty="0"/>
              <a:t>Click to edit Master text styles</a:t>
            </a:r>
          </a:p>
        </p:txBody>
      </p:sp>
      <p:sp>
        <p:nvSpPr>
          <p:cNvPr id="3" name="Text Placeholder 2"/>
          <p:cNvSpPr>
            <a:spLocks noGrp="1"/>
          </p:cNvSpPr>
          <p:nvPr userDrawn="1">
            <p:ph type="body" sz="quarter" idx="10" hasCustomPrompt="1"/>
          </p:nvPr>
        </p:nvSpPr>
        <p:spPr>
          <a:xfrm>
            <a:off x="1036265" y="1100137"/>
            <a:ext cx="3085139" cy="2043113"/>
          </a:xfrm>
        </p:spPr>
        <p:txBody>
          <a:bodyPr anchor="b"/>
          <a:lstStyle>
            <a:lvl1pPr marL="0" marR="0" indent="0" algn="ctr" defTabSz="685800" rtl="0" eaLnBrk="1" fontAlgn="auto" latinLnBrk="0" hangingPunct="1">
              <a:lnSpc>
                <a:spcPct val="95000"/>
              </a:lnSpc>
              <a:spcBef>
                <a:spcPts val="300"/>
              </a:spcBef>
              <a:spcAft>
                <a:spcPts val="150"/>
              </a:spcAft>
              <a:buClr>
                <a:schemeClr val="accent1"/>
              </a:buClr>
              <a:buSzTx/>
              <a:buFontTx/>
              <a:buNone/>
              <a:tabLst/>
              <a:defRPr kumimoji="0" lang="en-US" sz="9000" b="1" i="0" u="none" strike="noStrike" kern="1200" cap="none" spc="0" normalizeH="0" baseline="0" dirty="0">
                <a:ln>
                  <a:noFill/>
                </a:ln>
                <a:solidFill>
                  <a:schemeClr val="bg1"/>
                </a:solidFill>
                <a:effectLst/>
                <a:uLnTx/>
                <a:uFillTx/>
                <a:latin typeface="+mn-lt"/>
                <a:ea typeface="+mn-ea"/>
                <a:cs typeface="+mn-cs"/>
              </a:defRPr>
            </a:lvl1pPr>
          </a:lstStyle>
          <a:p>
            <a:pPr lvl="0"/>
            <a:r>
              <a:rPr lang="en-US" dirty="0"/>
              <a:t>%</a:t>
            </a:r>
          </a:p>
        </p:txBody>
      </p:sp>
      <p:sp>
        <p:nvSpPr>
          <p:cNvPr id="37" name="Title 1"/>
          <p:cNvSpPr>
            <a:spLocks noGrp="1"/>
          </p:cNvSpPr>
          <p:nvPr userDrawn="1">
            <p:ph type="title" hasCustomPrompt="1"/>
          </p:nvPr>
        </p:nvSpPr>
        <p:spPr bwMode="gray">
          <a:xfrm>
            <a:off x="4658830" y="1871959"/>
            <a:ext cx="4261805" cy="661418"/>
          </a:xfrm>
        </p:spPr>
        <p:txBody>
          <a:bodyPr lIns="91521" tIns="45761" rIns="91521" bIns="45761" anchor="b">
            <a:noAutofit/>
          </a:bodyPr>
          <a:lstStyle>
            <a:lvl1pPr marL="0" marR="0" algn="l" defTabSz="685800" rtl="0" eaLnBrk="1" fontAlgn="auto" latinLnBrk="0" hangingPunct="1">
              <a:lnSpc>
                <a:spcPct val="95000"/>
              </a:lnSpc>
              <a:spcBef>
                <a:spcPts val="300"/>
              </a:spcBef>
              <a:spcAft>
                <a:spcPts val="150"/>
              </a:spcAft>
              <a:buClr>
                <a:schemeClr val="accent1"/>
              </a:buClr>
              <a:buSzTx/>
              <a:tabLst/>
              <a:defRPr kumimoji="0" lang="en-US" sz="3600" b="0" i="0" u="none" strike="noStrike" kern="1200" cap="none" spc="0" normalizeH="0" baseline="0" dirty="0">
                <a:ln>
                  <a:noFill/>
                </a:ln>
                <a:solidFill>
                  <a:sysClr val="windowText" lastClr="000000"/>
                </a:solidFill>
                <a:effectLst/>
                <a:uLnTx/>
                <a:uFillTx/>
                <a:latin typeface="+mn-lt"/>
                <a:ea typeface="+mn-ea"/>
                <a:cs typeface="+mn-cs"/>
              </a:defRPr>
            </a:lvl1pPr>
          </a:lstStyle>
          <a:p>
            <a:r>
              <a:rPr lang="en-US" dirty="0"/>
              <a:t>Click To Edit Master</a:t>
            </a:r>
          </a:p>
        </p:txBody>
      </p:sp>
      <p:sp>
        <p:nvSpPr>
          <p:cNvPr id="38" name="Text Placeholder 2"/>
          <p:cNvSpPr>
            <a:spLocks noGrp="1"/>
          </p:cNvSpPr>
          <p:nvPr userDrawn="1">
            <p:ph type="body" idx="1" hasCustomPrompt="1"/>
          </p:nvPr>
        </p:nvSpPr>
        <p:spPr bwMode="gray">
          <a:xfrm>
            <a:off x="4658830" y="2625561"/>
            <a:ext cx="4261806" cy="369332"/>
          </a:xfrm>
        </p:spPr>
        <p:txBody>
          <a:bodyPr lIns="91521" tIns="45761" rIns="91521" bIns="45761" anchor="t">
            <a:noAutofit/>
          </a:bodyPr>
          <a:lstStyle>
            <a:lvl1pPr marL="0" marR="0" indent="0" algn="l" defTabSz="685800" rtl="0" eaLnBrk="1" fontAlgn="auto" latinLnBrk="0" hangingPunct="1">
              <a:lnSpc>
                <a:spcPct val="95000"/>
              </a:lnSpc>
              <a:spcBef>
                <a:spcPts val="300"/>
              </a:spcBef>
              <a:spcAft>
                <a:spcPts val="150"/>
              </a:spcAft>
              <a:buClr>
                <a:schemeClr val="accent1"/>
              </a:buClr>
              <a:buSzTx/>
              <a:buNone/>
              <a:tabLst/>
              <a:defRPr kumimoji="0" lang="en-US" sz="1800" b="0" i="0" u="none" strike="noStrike" kern="1200" cap="none" spc="0" normalizeH="0" baseline="0" dirty="0">
                <a:ln>
                  <a:noFill/>
                </a:ln>
                <a:solidFill>
                  <a:srgbClr val="0067C5"/>
                </a:solidFill>
                <a:effectLst/>
                <a:uLnTx/>
                <a:uFillTx/>
                <a:latin typeface="+mn-lt"/>
                <a:ea typeface="+mn-ea"/>
                <a:cs typeface="+mn-cs"/>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sp>
        <p:nvSpPr>
          <p:cNvPr id="10" name="Slide Number Placeholder 5"/>
          <p:cNvSpPr>
            <a:spLocks noGrp="1"/>
          </p:cNvSpPr>
          <p:nvPr userDrawn="1">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9" name="Footer Placeholder 4"/>
          <p:cNvSpPr>
            <a:spLocks noGrp="1"/>
          </p:cNvSpPr>
          <p:nvPr userDrawn="1">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
        <p:nvSpPr>
          <p:cNvPr id="12" name="Rectangle 11">
            <a:extLst>
              <a:ext uri="{FF2B5EF4-FFF2-40B4-BE49-F238E27FC236}">
                <a16:creationId xmlns:a16="http://schemas.microsoft.com/office/drawing/2014/main" id="{98774014-DE33-433F-BEA1-FAC71ABE8C7A}"/>
              </a:ext>
            </a:extLst>
          </p:cNvPr>
          <p:cNvSpPr/>
          <p:nvPr userDrawn="1"/>
        </p:nvSpPr>
        <p:spPr>
          <a:xfrm>
            <a:off x="269" y="0"/>
            <a:ext cx="1035996" cy="103599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5216" rtl="0" eaLnBrk="1" latinLnBrk="0" hangingPunct="1">
              <a:defRPr sz="1900" kern="1200">
                <a:solidFill>
                  <a:schemeClr val="lt1"/>
                </a:solidFill>
                <a:latin typeface="+mn-lt"/>
                <a:ea typeface="+mn-ea"/>
                <a:cs typeface="+mn-cs"/>
              </a:defRPr>
            </a:lvl1pPr>
            <a:lvl2pPr marL="457608" algn="l" defTabSz="915216" rtl="0" eaLnBrk="1" latinLnBrk="0" hangingPunct="1">
              <a:defRPr sz="1900" kern="1200">
                <a:solidFill>
                  <a:schemeClr val="lt1"/>
                </a:solidFill>
                <a:latin typeface="+mn-lt"/>
                <a:ea typeface="+mn-ea"/>
                <a:cs typeface="+mn-cs"/>
              </a:defRPr>
            </a:lvl2pPr>
            <a:lvl3pPr marL="915216" algn="l" defTabSz="915216" rtl="0" eaLnBrk="1" latinLnBrk="0" hangingPunct="1">
              <a:defRPr sz="1900" kern="1200">
                <a:solidFill>
                  <a:schemeClr val="lt1"/>
                </a:solidFill>
                <a:latin typeface="+mn-lt"/>
                <a:ea typeface="+mn-ea"/>
                <a:cs typeface="+mn-cs"/>
              </a:defRPr>
            </a:lvl3pPr>
            <a:lvl4pPr marL="1372822" algn="l" defTabSz="915216" rtl="0" eaLnBrk="1" latinLnBrk="0" hangingPunct="1">
              <a:defRPr sz="1900" kern="1200">
                <a:solidFill>
                  <a:schemeClr val="lt1"/>
                </a:solidFill>
                <a:latin typeface="+mn-lt"/>
                <a:ea typeface="+mn-ea"/>
                <a:cs typeface="+mn-cs"/>
              </a:defRPr>
            </a:lvl4pPr>
            <a:lvl5pPr marL="1830430" algn="l" defTabSz="915216" rtl="0" eaLnBrk="1" latinLnBrk="0" hangingPunct="1">
              <a:defRPr sz="1900" kern="1200">
                <a:solidFill>
                  <a:schemeClr val="lt1"/>
                </a:solidFill>
                <a:latin typeface="+mn-lt"/>
                <a:ea typeface="+mn-ea"/>
                <a:cs typeface="+mn-cs"/>
              </a:defRPr>
            </a:lvl5pPr>
            <a:lvl6pPr marL="2288038" algn="l" defTabSz="915216" rtl="0" eaLnBrk="1" latinLnBrk="0" hangingPunct="1">
              <a:defRPr sz="1900" kern="1200">
                <a:solidFill>
                  <a:schemeClr val="lt1"/>
                </a:solidFill>
                <a:latin typeface="+mn-lt"/>
                <a:ea typeface="+mn-ea"/>
                <a:cs typeface="+mn-cs"/>
              </a:defRPr>
            </a:lvl6pPr>
            <a:lvl7pPr marL="2745646" algn="l" defTabSz="915216" rtl="0" eaLnBrk="1" latinLnBrk="0" hangingPunct="1">
              <a:defRPr sz="1900" kern="1200">
                <a:solidFill>
                  <a:schemeClr val="lt1"/>
                </a:solidFill>
                <a:latin typeface="+mn-lt"/>
                <a:ea typeface="+mn-ea"/>
                <a:cs typeface="+mn-cs"/>
              </a:defRPr>
            </a:lvl7pPr>
            <a:lvl8pPr marL="3203253" algn="l" defTabSz="915216" rtl="0" eaLnBrk="1" latinLnBrk="0" hangingPunct="1">
              <a:defRPr sz="1900" kern="1200">
                <a:solidFill>
                  <a:schemeClr val="lt1"/>
                </a:solidFill>
                <a:latin typeface="+mn-lt"/>
                <a:ea typeface="+mn-ea"/>
                <a:cs typeface="+mn-cs"/>
              </a:defRPr>
            </a:lvl8pPr>
            <a:lvl9pPr marL="3660861" algn="l" defTabSz="915216" rtl="0" eaLnBrk="1" latinLnBrk="0" hangingPunct="1">
              <a:defRPr sz="1900" kern="1200">
                <a:solidFill>
                  <a:schemeClr val="lt1"/>
                </a:solidFill>
                <a:latin typeface="+mn-lt"/>
                <a:ea typeface="+mn-ea"/>
                <a:cs typeface="+mn-cs"/>
              </a:defRPr>
            </a:lvl9pPr>
          </a:lstStyle>
          <a:p>
            <a:pPr algn="ctr">
              <a:lnSpc>
                <a:spcPct val="95000"/>
              </a:lnSpc>
            </a:pPr>
            <a:endParaRPr lang="en-US" sz="1500" dirty="0" err="1">
              <a:solidFill>
                <a:srgbClr val="FFFFFF"/>
              </a:solidFill>
            </a:endParaRPr>
          </a:p>
        </p:txBody>
      </p:sp>
    </p:spTree>
    <p:extLst>
      <p:ext uri="{BB962C8B-B14F-4D97-AF65-F5344CB8AC3E}">
        <p14:creationId xmlns:p14="http://schemas.microsoft.com/office/powerpoint/2010/main" val="871426183"/>
      </p:ext>
    </p:extLst>
  </p:cSld>
  <p:clrMapOvr>
    <a:masterClrMapping/>
  </p:clrMapOvr>
  <p:transition spd="med">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7634316" cy="678596"/>
          </a:xfrm>
        </p:spPr>
        <p:txBody>
          <a:bodyPr wrap="square" lIns="91521">
            <a:noAutofit/>
          </a:bodyPr>
          <a:lstStyle>
            <a:lvl1pPr>
              <a:defRPr/>
            </a:lvl1pPr>
          </a:lstStyle>
          <a:p>
            <a:r>
              <a:rPr lang="en-US" dirty="0"/>
              <a:t>Click to Edit Master Title Style</a:t>
            </a:r>
          </a:p>
        </p:txBody>
      </p:sp>
      <p:sp>
        <p:nvSpPr>
          <p:cNvPr id="41" name="Text Placeholder 2"/>
          <p:cNvSpPr>
            <a:spLocks noGrp="1"/>
          </p:cNvSpPr>
          <p:nvPr>
            <p:ph type="body" idx="10" hasCustomPrompt="1"/>
          </p:nvPr>
        </p:nvSpPr>
        <p:spPr bwMode="gray">
          <a:xfrm>
            <a:off x="197274" y="829815"/>
            <a:ext cx="7634316"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
        <p:nvSpPr>
          <p:cNvPr id="11" name="Picture Placeholder 10"/>
          <p:cNvSpPr>
            <a:spLocks noGrp="1"/>
          </p:cNvSpPr>
          <p:nvPr>
            <p:ph type="pic" sz="quarter" idx="22" hasCustomPrompt="1"/>
          </p:nvPr>
        </p:nvSpPr>
        <p:spPr>
          <a:xfrm>
            <a:off x="7945500" y="180249"/>
            <a:ext cx="998002" cy="949648"/>
          </a:xfrm>
        </p:spPr>
        <p:txBody>
          <a:bodyPr wrap="square" lIns="91521" tIns="45761" rIns="91521" bIns="45761">
            <a:noAutofit/>
          </a:bodyPr>
          <a:lstStyle>
            <a:lvl1pPr marL="0" indent="0" algn="ctr">
              <a:lnSpc>
                <a:spcPct val="85000"/>
              </a:lnSpc>
              <a:buFontTx/>
              <a:buNone/>
              <a:defRPr sz="825" baseline="0">
                <a:solidFill>
                  <a:schemeClr val="bg2"/>
                </a:solidFill>
              </a:defRPr>
            </a:lvl1pPr>
          </a:lstStyle>
          <a:p>
            <a:r>
              <a:rPr lang="en-US" dirty="0"/>
              <a:t>CLICK TO INSERT LOGO, OR USE PLACEHOLDER TO ALIGN LOGO.</a:t>
            </a:r>
          </a:p>
        </p:txBody>
      </p:sp>
      <p:sp>
        <p:nvSpPr>
          <p:cNvPr id="14" name="Content Placeholder 3"/>
          <p:cNvSpPr>
            <a:spLocks noGrp="1"/>
          </p:cNvSpPr>
          <p:nvPr>
            <p:ph sz="quarter" idx="14" hasCustomPrompt="1"/>
          </p:nvPr>
        </p:nvSpPr>
        <p:spPr>
          <a:xfrm>
            <a:off x="197273" y="1300164"/>
            <a:ext cx="4290081" cy="3359944"/>
          </a:xfrm>
        </p:spPr>
        <p:txBody>
          <a:bodyPr wrap="square" lIns="91521" tIns="45761" rIns="91521" bIns="45761">
            <a:noAutofit/>
          </a:bodyPr>
          <a:lstStyle>
            <a:lvl1pPr marL="0" indent="0">
              <a:buFont typeface="Arial" panose="020B0604020202020204" pitchFamily="34" charset="0"/>
              <a:buChar char="​"/>
              <a:defRPr>
                <a:solidFill>
                  <a:schemeClr val="accent1"/>
                </a:solidFill>
              </a:defRPr>
            </a:lvl1pPr>
            <a:lvl2pPr marL="127511" indent="-127511">
              <a:buClr>
                <a:schemeClr val="accent1"/>
              </a:buClr>
              <a:buFont typeface="Wingdings" panose="05000000000000000000" pitchFamily="2" charset="2"/>
              <a:buChar char="§"/>
              <a:defRPr/>
            </a:lvl2pPr>
            <a:lvl3pPr marL="259787" indent="-132278">
              <a:buFont typeface="Wingdings" panose="05000000000000000000" pitchFamily="2" charset="2"/>
              <a:buChar char="§"/>
              <a:defRPr/>
            </a:lvl3pPr>
            <a:lvl4pPr marL="431390" indent="-171603">
              <a:buFont typeface="Wingdings" panose="05000000000000000000" pitchFamily="2" charset="2"/>
              <a:buChar char="§"/>
              <a:defRPr/>
            </a:lvl4pPr>
            <a:lvl5pPr marL="602993" indent="-171603">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24" hasCustomPrompt="1"/>
          </p:nvPr>
        </p:nvSpPr>
        <p:spPr>
          <a:xfrm>
            <a:off x="4656136" y="1300163"/>
            <a:ext cx="4328525" cy="3360420"/>
          </a:xfrm>
        </p:spPr>
        <p:txBody>
          <a:bodyPr/>
          <a:lstStyle>
            <a:lvl1pPr marL="0" indent="0">
              <a:buNone/>
              <a:defRPr/>
            </a:lvl1pPr>
          </a:lstStyle>
          <a:p>
            <a:r>
              <a:rPr lang="en-US" dirty="0"/>
              <a:t>Click to add photo</a:t>
            </a:r>
          </a:p>
        </p:txBody>
      </p:sp>
    </p:spTree>
    <p:extLst>
      <p:ext uri="{BB962C8B-B14F-4D97-AF65-F5344CB8AC3E}">
        <p14:creationId xmlns:p14="http://schemas.microsoft.com/office/powerpoint/2010/main" val="3650461274"/>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967273" y="145257"/>
            <a:ext cx="7209456" cy="3525790"/>
          </a:xfrm>
        </p:spPr>
        <p:txBody>
          <a:bodyPr wrap="square" lIns="91521" tIns="45761" rIns="91521" bIns="45761">
            <a:noAutofit/>
          </a:bodyPr>
          <a:lstStyle>
            <a:lvl1pPr marL="88184" indent="-88184">
              <a:lnSpc>
                <a:spcPct val="120000"/>
              </a:lnSpc>
              <a:defRPr sz="2700" b="0"/>
            </a:lvl1pPr>
          </a:lstStyle>
          <a:p>
            <a:r>
              <a:rPr lang="en-US" dirty="0"/>
              <a:t>Click to edit quote</a:t>
            </a:r>
          </a:p>
        </p:txBody>
      </p:sp>
      <p:sp>
        <p:nvSpPr>
          <p:cNvPr id="29" name="Text Placeholder 2"/>
          <p:cNvSpPr>
            <a:spLocks noGrp="1"/>
          </p:cNvSpPr>
          <p:nvPr>
            <p:ph type="body" idx="1" hasCustomPrompt="1"/>
          </p:nvPr>
        </p:nvSpPr>
        <p:spPr bwMode="gray">
          <a:xfrm>
            <a:off x="967273" y="3880598"/>
            <a:ext cx="7209456" cy="241221"/>
          </a:xfrm>
        </p:spPr>
        <p:txBody>
          <a:bodyPr wrap="square" lIns="91521" tIns="45761" rIns="91521" bIns="45761" anchor="t">
            <a:noAutofit/>
          </a:bodyPr>
          <a:lstStyle>
            <a:lvl1pPr marL="0" indent="0" algn="l">
              <a:buNone/>
              <a:defRPr sz="1500" b="1" cap="none" baseline="0">
                <a:solidFill>
                  <a:schemeClr val="accent1"/>
                </a:solidFill>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325113360"/>
      </p:ext>
    </p:extLst>
  </p:cSld>
  <p:clrMapOvr>
    <a:masterClrMapping/>
  </p:clrMapOvr>
  <p:transition spd="med">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967273" y="284773"/>
            <a:ext cx="7209456" cy="4055966"/>
          </a:xfrm>
        </p:spPr>
        <p:txBody>
          <a:bodyPr wrap="square" lIns="91521" tIns="45761" rIns="91521" bIns="45761" anchor="ctr">
            <a:noAutofit/>
          </a:bodyPr>
          <a:lstStyle>
            <a:lvl1pPr marL="0" indent="0" algn="ctr">
              <a:lnSpc>
                <a:spcPct val="80000"/>
              </a:lnSpc>
              <a:defRPr sz="7500" b="1">
                <a:solidFill>
                  <a:schemeClr val="accent1"/>
                </a:solidFill>
              </a:defRPr>
            </a:lvl1pPr>
          </a:lstStyle>
          <a:p>
            <a:r>
              <a:rPr lang="en-US" dirty="0"/>
              <a:t>CLICK TO EDIT STATEMENT</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4043729352"/>
      </p:ext>
    </p:extLst>
  </p:cSld>
  <p:clrMapOvr>
    <a:masterClrMapping/>
  </p:clrMapOvr>
  <p:transition spd="med">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5" name="Picture 4"/>
          <p:cNvPicPr>
            <a:picLocks noChangeAspect="1"/>
          </p:cNvPicPr>
          <p:nvPr userDrawn="1"/>
        </p:nvPicPr>
        <p:blipFill>
          <a:blip r:embed="rId2"/>
          <a:stretch>
            <a:fillRect/>
          </a:stretch>
        </p:blipFill>
        <p:spPr>
          <a:xfrm>
            <a:off x="8081801" y="4870915"/>
            <a:ext cx="782016" cy="143333"/>
          </a:xfrm>
          <a:prstGeom prst="rect">
            <a:avLst/>
          </a:prstGeom>
        </p:spPr>
      </p:pic>
      <p:sp>
        <p:nvSpPr>
          <p:cNvPr id="7"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2032714384"/>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8" name="Media Placeholder 2"/>
          <p:cNvSpPr>
            <a:spLocks noGrp="1"/>
          </p:cNvSpPr>
          <p:nvPr>
            <p:ph type="media" sz="quarter" idx="19" hasCustomPrompt="1"/>
          </p:nvPr>
        </p:nvSpPr>
        <p:spPr>
          <a:xfrm>
            <a:off x="1217137" y="425056"/>
            <a:ext cx="6709730" cy="3773090"/>
          </a:xfrm>
        </p:spPr>
        <p:txBody>
          <a:bodyPr lIns="91521" tIns="45761" rIns="91521" bIns="45761" anchor="ctr">
            <a:noAutofit/>
          </a:bodyPr>
          <a:lstStyle>
            <a:lvl1pPr marL="0" indent="0" algn="ctr">
              <a:buNone/>
              <a:defRPr baseline="0"/>
            </a:lvl1pPr>
          </a:lstStyle>
          <a:p>
            <a:r>
              <a:rPr lang="en-US" dirty="0"/>
              <a:t>Insert video here</a:t>
            </a: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8" name="Picture 7"/>
          <p:cNvPicPr>
            <a:picLocks noChangeAspect="1"/>
          </p:cNvPicPr>
          <p:nvPr userDrawn="1"/>
        </p:nvPicPr>
        <p:blipFill>
          <a:blip r:embed="rId2"/>
          <a:stretch>
            <a:fillRect/>
          </a:stretch>
        </p:blipFill>
        <p:spPr>
          <a:xfrm>
            <a:off x="8081801" y="4870915"/>
            <a:ext cx="782016" cy="143333"/>
          </a:xfrm>
          <a:prstGeom prst="rect">
            <a:avLst/>
          </a:prstGeom>
        </p:spPr>
      </p:pic>
      <p:sp>
        <p:nvSpPr>
          <p:cNvPr id="6"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889696751"/>
      </p:ext>
    </p:extLst>
  </p:cSld>
  <p:clrMapOvr>
    <a:masterClrMapping/>
  </p:clrMapOvr>
  <p:transition spd="med">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ACEC5A4-00B3-461F-8FBD-AE0DBCB7E3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 y="0"/>
            <a:ext cx="9144000" cy="1716791"/>
          </a:xfrm>
          <a:prstGeom prst="rect">
            <a:avLst/>
          </a:prstGeom>
        </p:spPr>
      </p:pic>
      <p:sp>
        <p:nvSpPr>
          <p:cNvPr id="9" name="Content Placeholder 4"/>
          <p:cNvSpPr>
            <a:spLocks noGrp="1"/>
          </p:cNvSpPr>
          <p:nvPr>
            <p:ph sz="quarter" idx="10"/>
          </p:nvPr>
        </p:nvSpPr>
        <p:spPr>
          <a:xfrm>
            <a:off x="661922" y="2134673"/>
            <a:ext cx="7820156" cy="25717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2175961" y="1202232"/>
            <a:ext cx="184731" cy="600164"/>
          </a:xfrm>
          <a:prstGeom prst="rect">
            <a:avLst/>
          </a:prstGeom>
          <a:noFill/>
          <a:ln>
            <a:noFill/>
          </a:ln>
        </p:spPr>
        <p:txBody>
          <a:bodyPr wrap="none" rtlCol="0" anchor="ctr">
            <a:spAutoFit/>
          </a:bodyPr>
          <a:lstStyle/>
          <a:p>
            <a:pPr defTabSz="686412"/>
            <a:endParaRPr lang="en-US" sz="3300" dirty="0">
              <a:solidFill>
                <a:sysClr val="windowText" lastClr="000000"/>
              </a:solidFill>
            </a:endParaRP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7" name="Picture 16"/>
          <p:cNvPicPr>
            <a:picLocks noChangeAspect="1"/>
          </p:cNvPicPr>
          <p:nvPr userDrawn="1"/>
        </p:nvPicPr>
        <p:blipFill>
          <a:blip r:embed="rId3"/>
          <a:stretch>
            <a:fillRect/>
          </a:stretch>
        </p:blipFill>
        <p:spPr>
          <a:xfrm>
            <a:off x="8081801" y="4870915"/>
            <a:ext cx="782016" cy="143333"/>
          </a:xfrm>
          <a:prstGeom prst="rect">
            <a:avLst/>
          </a:prstGeom>
        </p:spPr>
      </p:pic>
      <p:sp>
        <p:nvSpPr>
          <p:cNvPr id="11"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8C6FBA6-3F8B-4E5E-8904-016DBEA899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0" y="1"/>
            <a:ext cx="2059771" cy="1716790"/>
          </a:xfrm>
          <a:prstGeom prst="rect">
            <a:avLst/>
          </a:prstGeom>
        </p:spPr>
      </p:pic>
      <p:sp>
        <p:nvSpPr>
          <p:cNvPr id="14" name="Title 2"/>
          <p:cNvSpPr>
            <a:spLocks noGrp="1"/>
          </p:cNvSpPr>
          <p:nvPr>
            <p:ph type="title" hasCustomPrompt="1"/>
          </p:nvPr>
        </p:nvSpPr>
        <p:spPr>
          <a:xfrm>
            <a:off x="2425407" y="467187"/>
            <a:ext cx="6051753" cy="678596"/>
          </a:xfrm>
        </p:spPr>
        <p:txBody>
          <a:bodyPr wrap="square" lIns="91521">
            <a:noAutofit/>
          </a:bodyPr>
          <a:lstStyle>
            <a:lvl1pPr>
              <a:defRPr lang="en-US" sz="3300" kern="1200" dirty="0">
                <a:solidFill>
                  <a:sysClr val="windowText" lastClr="000000"/>
                </a:solidFill>
                <a:latin typeface="+mn-lt"/>
                <a:ea typeface="+mn-ea"/>
                <a:cs typeface="+mn-cs"/>
              </a:defRPr>
            </a:lvl1pPr>
          </a:lstStyle>
          <a:p>
            <a:r>
              <a:rPr lang="en-US" dirty="0"/>
              <a:t>Click to Edit Master Title Style</a:t>
            </a:r>
          </a:p>
        </p:txBody>
      </p:sp>
    </p:spTree>
    <p:extLst>
      <p:ext uri="{BB962C8B-B14F-4D97-AF65-F5344CB8AC3E}">
        <p14:creationId xmlns:p14="http://schemas.microsoft.com/office/powerpoint/2010/main" val="6274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080">
          <p15:clr>
            <a:srgbClr val="FBAE40"/>
          </p15:clr>
        </p15:guide>
        <p15:guide id="3" pos="67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AF17B6-F48D-4C57-A7FC-68152083A2AA}"/>
              </a:ext>
            </a:extLst>
          </p:cNvPr>
          <p:cNvSpPr>
            <a:spLocks noChangeArrowheads="1"/>
          </p:cNvSpPr>
          <p:nvPr userDrawn="1"/>
        </p:nvSpPr>
        <p:spPr bwMode="auto">
          <a:xfrm>
            <a:off x="5195888" y="0"/>
            <a:ext cx="3948112" cy="5143500"/>
          </a:xfrm>
          <a:prstGeom prst="rect">
            <a:avLst/>
          </a:prstGeom>
          <a:solidFill>
            <a:srgbClr val="6FB533"/>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FEB69E78-37AE-4F86-A3DD-5A49C6F8D23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4258180517"/>
      </p:ext>
    </p:extLst>
  </p:cSld>
  <p:clrMapOvr>
    <a:masterClrMapping/>
  </p:clrMapOvr>
  <p:transition spd="slow">
    <p:circl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5DBCE4F-F334-4A2E-A274-278A0D95AC6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81" t="1526" r="-1" b="3826"/>
          <a:stretch/>
        </p:blipFill>
        <p:spPr>
          <a:xfrm>
            <a:off x="0" y="0"/>
            <a:ext cx="9150955" cy="5143500"/>
          </a:xfrm>
          <a:prstGeom prst="rect">
            <a:avLst/>
          </a:prstGeom>
        </p:spPr>
      </p:pic>
      <p:sp>
        <p:nvSpPr>
          <p:cNvPr id="7"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tx1"/>
                </a:solidFill>
              </a:defRPr>
            </a:lvl1pPr>
          </a:lstStyle>
          <a:p>
            <a:fld id="{B071A5F3-A4FF-4CEE-8215-C08835B585C1}" type="slidenum">
              <a:rPr>
                <a:solidFill>
                  <a:prstClr val="black"/>
                </a:solidFill>
              </a:rPr>
              <a:pPr/>
              <a:t>‹#›</a:t>
            </a:fld>
            <a:endParaRPr dirty="0">
              <a:solidFill>
                <a:prstClr val="black"/>
              </a:solidFill>
            </a:endParaRPr>
          </a:p>
        </p:txBody>
      </p:sp>
      <p:sp>
        <p:nvSpPr>
          <p:cNvPr id="9" name="Text Placeholder 3"/>
          <p:cNvSpPr>
            <a:spLocks noGrp="1"/>
          </p:cNvSpPr>
          <p:nvPr>
            <p:ph type="body" sz="quarter" idx="10" hasCustomPrompt="1"/>
          </p:nvPr>
        </p:nvSpPr>
        <p:spPr>
          <a:xfrm>
            <a:off x="557358" y="1926349"/>
            <a:ext cx="6791189" cy="1102519"/>
          </a:xfrm>
        </p:spPr>
        <p:txBody>
          <a:bodyPr anchor="b"/>
          <a:lstStyle>
            <a:lvl1pPr marL="0" indent="0">
              <a:buNone/>
              <a:defRPr sz="3300">
                <a:solidFill>
                  <a:schemeClr val="tx1"/>
                </a:solidFill>
              </a:defRPr>
            </a:lvl1pPr>
          </a:lstStyle>
          <a:p>
            <a:pPr lvl="0"/>
            <a:r>
              <a:rPr lang="en-US" dirty="0"/>
              <a:t>Click to Edit Master Title Style</a:t>
            </a:r>
          </a:p>
        </p:txBody>
      </p:sp>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tx1"/>
                </a:solidFill>
              </a:defRPr>
            </a:lvl1pPr>
          </a:lstStyle>
          <a:p>
            <a:r>
              <a:rPr dirty="0">
                <a:solidFill>
                  <a:prstClr val="black"/>
                </a:solidFill>
              </a:rPr>
              <a:t>© 2018 NetApp, Inc. All rights reserved.  </a:t>
            </a:r>
            <a:r>
              <a:rPr dirty="0">
                <a:solidFill>
                  <a:prstClr val="black"/>
                </a:solidFill>
                <a:cs typeface="Arial" panose="020B0604020202020204" pitchFamily="34" charset="0"/>
              </a:rPr>
              <a:t>— </a:t>
            </a:r>
            <a:r>
              <a:rPr dirty="0">
                <a:solidFill>
                  <a:prstClr val="black"/>
                </a:solidFill>
              </a:rPr>
              <a:t>NETAPP CONFIDENTIAL </a:t>
            </a:r>
            <a:r>
              <a:rPr dirty="0">
                <a:solidFill>
                  <a:prstClr val="black"/>
                </a:solidFill>
                <a:cs typeface="Arial" panose="020B0604020202020204" pitchFamily="34" charset="0"/>
              </a:rPr>
              <a:t>— </a:t>
            </a:r>
            <a:endParaRPr dirty="0">
              <a:solidFill>
                <a:prstClr val="black"/>
              </a:solidFill>
            </a:endParaRPr>
          </a:p>
        </p:txBody>
      </p:sp>
      <p:pic>
        <p:nvPicPr>
          <p:cNvPr id="10" name="Picture 9">
            <a:extLst>
              <a:ext uri="{FF2B5EF4-FFF2-40B4-BE49-F238E27FC236}">
                <a16:creationId xmlns:a16="http://schemas.microsoft.com/office/drawing/2014/main" id="{FB755897-8EA7-4D96-87E3-B6377EF6F2D3}"/>
              </a:ext>
            </a:extLst>
          </p:cNvPr>
          <p:cNvPicPr>
            <a:picLocks noChangeAspect="1"/>
          </p:cNvPicPr>
          <p:nvPr userDrawn="1"/>
        </p:nvPicPr>
        <p:blipFill>
          <a:blip r:embed="rId3"/>
          <a:stretch>
            <a:fillRect/>
          </a:stretch>
        </p:blipFill>
        <p:spPr>
          <a:xfrm>
            <a:off x="627623" y="742950"/>
            <a:ext cx="1371957" cy="251460"/>
          </a:xfrm>
          <a:prstGeom prst="rect">
            <a:avLst/>
          </a:prstGeom>
        </p:spPr>
      </p:pic>
    </p:spTree>
    <p:extLst>
      <p:ext uri="{BB962C8B-B14F-4D97-AF65-F5344CB8AC3E}">
        <p14:creationId xmlns:p14="http://schemas.microsoft.com/office/powerpoint/2010/main" val="1230925380"/>
      </p:ext>
    </p:extLst>
  </p:cSld>
  <p:clrMapOvr>
    <a:masterClrMapping/>
  </p:clrMapOvr>
  <p:transition spd="med">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9"/>
            <a:ext cx="8746228" cy="678596"/>
          </a:xfrm>
        </p:spPr>
        <p:txBody>
          <a:bodyPr wrap="square" lIns="91521">
            <a:noAutofit/>
          </a:bodyPr>
          <a:lstStyle>
            <a:lvl1pPr>
              <a:defRPr sz="1688"/>
            </a:lvl1pPr>
          </a:lstStyle>
          <a:p>
            <a:r>
              <a:rPr lang="en-US" dirty="0"/>
              <a:t>Click to edit Master title style</a:t>
            </a:r>
          </a:p>
        </p:txBody>
      </p:sp>
      <p:sp>
        <p:nvSpPr>
          <p:cNvPr id="48" name="Content Placeholder 3"/>
          <p:cNvSpPr>
            <a:spLocks noGrp="1"/>
          </p:cNvSpPr>
          <p:nvPr>
            <p:ph sz="quarter" idx="14"/>
          </p:nvPr>
        </p:nvSpPr>
        <p:spPr>
          <a:xfrm>
            <a:off x="197274" y="1300165"/>
            <a:ext cx="8746228" cy="3359944"/>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06848" y="829815"/>
            <a:ext cx="8739368" cy="300082"/>
          </a:xfrm>
        </p:spPr>
        <p:txBody>
          <a:bodyPr lIns="91521" tIns="45761" rIns="91521" bIns="45761" anchor="t">
            <a:noAutofit/>
          </a:bodyPr>
          <a:lstStyle>
            <a:lvl1pPr marL="0" indent="0">
              <a:spcBef>
                <a:spcPts val="0"/>
              </a:spcBef>
              <a:spcAft>
                <a:spcPts val="0"/>
              </a:spcAft>
              <a:buNone/>
              <a:defRPr sz="1013" b="0">
                <a:solidFill>
                  <a:schemeClr val="accent1"/>
                </a:solidFill>
              </a:defRPr>
            </a:lvl1pPr>
            <a:lvl2pPr marL="257474" indent="0">
              <a:buNone/>
              <a:defRPr sz="1125" b="1"/>
            </a:lvl2pPr>
            <a:lvl3pPr marL="514946" indent="0">
              <a:buNone/>
              <a:defRPr sz="1069" b="1"/>
            </a:lvl3pPr>
            <a:lvl4pPr marL="772418" indent="0">
              <a:buNone/>
              <a:defRPr sz="900" b="1"/>
            </a:lvl4pPr>
            <a:lvl5pPr marL="1029892" indent="0">
              <a:buNone/>
              <a:defRPr sz="900" b="1"/>
            </a:lvl5pPr>
            <a:lvl6pPr marL="1287365" indent="0">
              <a:buNone/>
              <a:defRPr sz="900" b="1"/>
            </a:lvl6pPr>
            <a:lvl7pPr marL="1544838" indent="0">
              <a:buNone/>
              <a:defRPr sz="900" b="1"/>
            </a:lvl7pPr>
            <a:lvl8pPr marL="1802310" indent="0">
              <a:buNone/>
              <a:defRPr sz="900" b="1"/>
            </a:lvl8pPr>
            <a:lvl9pPr marL="2059784" indent="0">
              <a:buNone/>
              <a:defRPr sz="900" b="1"/>
            </a:lvl9pPr>
          </a:lstStyle>
          <a:p>
            <a:pPr lvl="0"/>
            <a:r>
              <a:rPr lang="en-US" dirty="0"/>
              <a:t>Click to edit master text styles</a:t>
            </a:r>
          </a:p>
        </p:txBody>
      </p:sp>
      <p:sp>
        <p:nvSpPr>
          <p:cNvPr id="10" name="Footer Placeholder 4"/>
          <p:cNvSpPr>
            <a:spLocks noGrp="1"/>
          </p:cNvSpPr>
          <p:nvPr>
            <p:ph type="ftr" sz="quarter" idx="3"/>
          </p:nvPr>
        </p:nvSpPr>
        <p:spPr>
          <a:xfrm>
            <a:off x="667057" y="4854552"/>
            <a:ext cx="4905348" cy="180367"/>
          </a:xfrm>
          <a:prstGeom prst="rect">
            <a:avLst/>
          </a:prstGeom>
        </p:spPr>
        <p:txBody>
          <a:bodyPr vert="horz" wrap="square" lIns="91521" tIns="45761" rIns="91521" bIns="45761" rtlCol="0" anchor="b">
            <a:noAutofit/>
          </a:bodyPr>
          <a:lstStyle>
            <a:lvl1pPr>
              <a:defRPr lang="en-US" sz="450" smtClean="0">
                <a:solidFill>
                  <a:schemeClr val="bg2"/>
                </a:solidFill>
              </a:defRPr>
            </a:lvl1pPr>
          </a:lstStyle>
          <a:p>
            <a:r>
              <a:rPr lang="en-US"/>
              <a:t>© 2017 NetApp, Inc. All rights reserved.  --- NETAPP CONFIDENTIAL ---</a:t>
            </a:r>
            <a:endParaRPr lang="en-US" dirty="0"/>
          </a:p>
        </p:txBody>
      </p:sp>
      <p:sp>
        <p:nvSpPr>
          <p:cNvPr id="11" name="Slide Number Placeholder 5"/>
          <p:cNvSpPr>
            <a:spLocks noGrp="1"/>
          </p:cNvSpPr>
          <p:nvPr>
            <p:ph type="sldNum" sz="quarter" idx="4"/>
          </p:nvPr>
        </p:nvSpPr>
        <p:spPr>
          <a:xfrm>
            <a:off x="220869" y="4846932"/>
            <a:ext cx="336490" cy="195607"/>
          </a:xfrm>
          <a:prstGeom prst="rect">
            <a:avLst/>
          </a:prstGeom>
        </p:spPr>
        <p:txBody>
          <a:bodyPr vert="horz" wrap="square" lIns="91521" tIns="45761" rIns="91521" bIns="45761" rtlCol="0" anchor="b">
            <a:noAutofit/>
          </a:bodyPr>
          <a:lstStyle>
            <a:lvl1pPr>
              <a:defRPr lang="en-US" sz="591" b="1" smtClean="0">
                <a:solidFill>
                  <a:schemeClr val="bg2">
                    <a:lumMod val="50000"/>
                  </a:schemeClr>
                </a:solidFill>
              </a:defRPr>
            </a:lvl1pPr>
          </a:lstStyle>
          <a:p>
            <a:fld id="{B071A5F3-A4FF-4CEE-8215-C08835B585C1}" type="slidenum">
              <a:rPr lang="en-US" smtClean="0"/>
              <a:pPr/>
              <a:t>‹#›</a:t>
            </a:fld>
            <a:endParaRPr lang="en-US" dirty="0"/>
          </a:p>
        </p:txBody>
      </p:sp>
      <p:pic>
        <p:nvPicPr>
          <p:cNvPr id="8" name="Picture 7"/>
          <p:cNvPicPr>
            <a:picLocks noChangeAspect="1"/>
          </p:cNvPicPr>
          <p:nvPr userDrawn="1"/>
        </p:nvPicPr>
        <p:blipFill>
          <a:blip r:embed="rId2"/>
          <a:stretch>
            <a:fillRect/>
          </a:stretch>
        </p:blipFill>
        <p:spPr>
          <a:xfrm>
            <a:off x="8081801" y="4870915"/>
            <a:ext cx="782016" cy="143333"/>
          </a:xfrm>
          <a:prstGeom prst="rect">
            <a:avLst/>
          </a:prstGeom>
        </p:spPr>
      </p:pic>
    </p:spTree>
    <p:extLst>
      <p:ext uri="{BB962C8B-B14F-4D97-AF65-F5344CB8AC3E}">
        <p14:creationId xmlns:p14="http://schemas.microsoft.com/office/powerpoint/2010/main" val="3856915631"/>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6" descr="FlexPod-LA-orange.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2485397"/>
            <a:ext cx="7062257" cy="633663"/>
          </a:xfrm>
          <a:prstGeom prst="rect">
            <a:avLst/>
          </a:prstGeom>
        </p:spPr>
        <p:txBody>
          <a:bodyPr anchor="b"/>
          <a:lstStyle>
            <a:lvl1pPr>
              <a:defRPr sz="4500" b="1"/>
            </a:lvl1pPr>
          </a:lstStyle>
          <a:p>
            <a:r>
              <a:rPr lang="en-US"/>
              <a:t>Click to edit Master title style</a:t>
            </a:r>
            <a:endParaRPr lang="en-US" dirty="0"/>
          </a:p>
        </p:txBody>
      </p:sp>
      <p:sp>
        <p:nvSpPr>
          <p:cNvPr id="12" name="Subtitle 2"/>
          <p:cNvSpPr>
            <a:spLocks noGrp="1"/>
          </p:cNvSpPr>
          <p:nvPr>
            <p:ph type="subTitle" idx="1"/>
          </p:nvPr>
        </p:nvSpPr>
        <p:spPr>
          <a:xfrm>
            <a:off x="634713" y="3175216"/>
            <a:ext cx="5529263" cy="829520"/>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endParaRPr lang="en-US" dirty="0"/>
          </a:p>
        </p:txBody>
      </p:sp>
      <p:pic>
        <p:nvPicPr>
          <p:cNvPr id="8" name="Picture 8"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432676"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775291"/>
      </p:ext>
    </p:extLst>
  </p:cSld>
  <p:clrMapOvr>
    <a:masterClrMapping/>
  </p:clrMapOvr>
  <p:transition spd="slow">
    <p:circl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6" descr="Screen Shot 2016-07-13 at 2.49.37 P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1"/>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userDrawn="1"/>
        </p:nvSpPr>
        <p:spPr>
          <a:xfrm>
            <a:off x="6307139" y="4897438"/>
            <a:ext cx="2536825" cy="184666"/>
          </a:xfrm>
          <a:prstGeom prst="rect">
            <a:avLst/>
          </a:prstGeom>
          <a:noFill/>
        </p:spPr>
        <p:txBody>
          <a:bodyPr>
            <a:spAutoFit/>
          </a:bodyPr>
          <a:lstStyle/>
          <a:p>
            <a:pPr algn="r" eaLnBrk="1" hangingPunct="1">
              <a:buClr>
                <a:schemeClr val="accent3"/>
              </a:buClr>
              <a:defRPr/>
            </a:pPr>
            <a:r>
              <a:rPr lang="en-US" sz="600" dirty="0">
                <a:solidFill>
                  <a:schemeClr val="bg1"/>
                </a:solidFill>
              </a:rPr>
              <a:t>© 2018 NetApp, Inc. Cisco, Inc. All rights reserved. </a:t>
            </a:r>
          </a:p>
        </p:txBody>
      </p:sp>
      <p:pic>
        <p:nvPicPr>
          <p:cNvPr id="5" name="Picture 8"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432676"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80312939"/>
      </p:ext>
    </p:extLst>
  </p:cSld>
  <p:clrMapOvr>
    <a:masterClrMapping/>
  </p:clrMapOvr>
  <p:transition spd="slow">
    <p:circl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6" descr="Screen Shot 2016-07-13 at 2.54.46 P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sz="2000" dirty="0"/>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dirty="0"/>
              <a:t>Click to edit Master title style</a:t>
            </a:r>
          </a:p>
        </p:txBody>
      </p:sp>
      <p:sp>
        <p:nvSpPr>
          <p:cNvPr id="8" name="TextBox 7"/>
          <p:cNvSpPr txBox="1"/>
          <p:nvPr userDrawn="1"/>
        </p:nvSpPr>
        <p:spPr>
          <a:xfrm>
            <a:off x="5911850" y="4897438"/>
            <a:ext cx="2932113" cy="184666"/>
          </a:xfrm>
          <a:prstGeom prst="rect">
            <a:avLst/>
          </a:prstGeom>
          <a:noFill/>
        </p:spPr>
        <p:txBody>
          <a:bodyPr>
            <a:spAutoFit/>
          </a:bodyPr>
          <a:lstStyle/>
          <a:p>
            <a:pPr algn="r" eaLnBrk="1" hangingPunct="1">
              <a:buClr>
                <a:schemeClr val="accent3"/>
              </a:buClr>
              <a:defRPr/>
            </a:pPr>
            <a:r>
              <a:rPr lang="en-US" sz="600" dirty="0">
                <a:solidFill>
                  <a:schemeClr val="tx1"/>
                </a:solidFill>
              </a:rPr>
              <a:t>© 2018 Cisco and NetApp. All rights reserved.</a:t>
            </a:r>
            <a:endParaRPr lang="en-US" sz="600" dirty="0">
              <a:solidFill>
                <a:schemeClr val="tx1"/>
              </a:solidFill>
              <a:latin typeface="Arial" panose="020B0604020202020204" pitchFamily="34" charset="0"/>
            </a:endParaRPr>
          </a:p>
        </p:txBody>
      </p:sp>
      <p:pic>
        <p:nvPicPr>
          <p:cNvPr id="10" name="Picture 8"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427453" y="250451"/>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323476"/>
      </p:ext>
    </p:extLst>
  </p:cSld>
  <p:clrMapOvr>
    <a:masterClrMapping/>
  </p:clrMapOvr>
  <p:transition spd="slow">
    <p:circl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6" descr="Screen Shot 2016-07-14 at 9.32.51 A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a:spLocks noChangeArrowheads="1"/>
          </p:cNvSpPr>
          <p:nvPr userDrawn="1"/>
        </p:nvSpPr>
        <p:spPr bwMode="auto">
          <a:xfrm>
            <a:off x="1" y="0"/>
            <a:ext cx="9144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sz="2000" dirty="0"/>
          </a:p>
        </p:txBody>
      </p:sp>
      <p:sp>
        <p:nvSpPr>
          <p:cNvPr id="9" name="Title 1"/>
          <p:cNvSpPr>
            <a:spLocks noGrp="1"/>
          </p:cNvSpPr>
          <p:nvPr>
            <p:ph type="ctrTitle"/>
          </p:nvPr>
        </p:nvSpPr>
        <p:spPr>
          <a:xfrm>
            <a:off x="803275" y="2046289"/>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
        <p:nvSpPr>
          <p:cNvPr id="8" name="TextBox 7"/>
          <p:cNvSpPr txBox="1"/>
          <p:nvPr userDrawn="1"/>
        </p:nvSpPr>
        <p:spPr>
          <a:xfrm>
            <a:off x="5911850" y="4897438"/>
            <a:ext cx="2932113" cy="184666"/>
          </a:xfrm>
          <a:prstGeom prst="rect">
            <a:avLst/>
          </a:prstGeom>
          <a:noFill/>
        </p:spPr>
        <p:txBody>
          <a:bodyPr>
            <a:spAutoFit/>
          </a:bodyPr>
          <a:lstStyle/>
          <a:p>
            <a:pPr algn="r" eaLnBrk="1" hangingPunct="1">
              <a:buClr>
                <a:schemeClr val="accent3"/>
              </a:buClr>
              <a:defRPr/>
            </a:pPr>
            <a:r>
              <a:rPr lang="en-US" sz="600" dirty="0">
                <a:solidFill>
                  <a:schemeClr val="bg1"/>
                </a:solidFill>
              </a:rPr>
              <a:t>© 2018 Cisco and NetApp. All rights reserved.</a:t>
            </a:r>
            <a:endParaRPr lang="en-US" sz="600" dirty="0">
              <a:solidFill>
                <a:schemeClr val="bg1"/>
              </a:solidFill>
              <a:latin typeface="Arial" panose="020B0604020202020204" pitchFamily="34" charset="0"/>
            </a:endParaRPr>
          </a:p>
        </p:txBody>
      </p:sp>
      <p:pic>
        <p:nvPicPr>
          <p:cNvPr id="10" name="Picture 8"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432676"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8522247"/>
      </p:ext>
    </p:extLst>
  </p:cSld>
  <p:clrMapOvr>
    <a:masterClrMapping/>
  </p:clrMapOvr>
  <p:transition spd="slow">
    <p:circl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190827"/>
            <a:ext cx="8787870"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511596104"/>
      </p:ext>
    </p:extLst>
  </p:cSld>
  <p:clrMapOvr>
    <a:masterClrMapping/>
  </p:clrMapOvr>
  <p:transition spd="slow">
    <p:circl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2" y="1295869"/>
            <a:ext cx="8696960" cy="3474252"/>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3246" y="190828"/>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678642"/>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Tree>
    <p:extLst>
      <p:ext uri="{BB962C8B-B14F-4D97-AF65-F5344CB8AC3E}">
        <p14:creationId xmlns:p14="http://schemas.microsoft.com/office/powerpoint/2010/main" val="4242637284"/>
      </p:ext>
    </p:extLst>
  </p:cSld>
  <p:clrMapOvr>
    <a:masterClrMapping/>
  </p:clrMapOvr>
  <p:transition spd="slow">
    <p:circl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1" y="190827"/>
            <a:ext cx="8618008"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456121635"/>
      </p:ext>
    </p:extLst>
  </p:cSld>
  <p:clrMapOvr>
    <a:masterClrMapping/>
  </p:clrMapOvr>
  <p:transition spd="slow">
    <p:circl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Bullet_tex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171442" indent="-128582">
              <a:lnSpc>
                <a:spcPct val="95000"/>
              </a:lnSpc>
              <a:spcBef>
                <a:spcPts val="832"/>
              </a:spcBef>
              <a:buClr>
                <a:schemeClr val="tx1"/>
              </a:buClr>
              <a:buSzPct val="80000"/>
              <a:buFont typeface="Arial"/>
              <a:buChar char="•"/>
              <a:defRPr sz="1500" b="0" i="0">
                <a:solidFill>
                  <a:schemeClr val="tx1"/>
                </a:solidFill>
                <a:latin typeface="+mn-lt"/>
                <a:ea typeface="CiscoSansTT Thin" charset="0"/>
                <a:cs typeface="CiscoSansTT Thin" charset="0"/>
              </a:defRPr>
            </a:lvl1pPr>
            <a:lvl2pPr marL="342884" indent="-123819">
              <a:lnSpc>
                <a:spcPct val="95000"/>
              </a:lnSpc>
              <a:spcBef>
                <a:spcPts val="338"/>
              </a:spcBef>
              <a:buClr>
                <a:schemeClr val="tx1"/>
              </a:buClr>
              <a:buSzPct val="80000"/>
              <a:buFont typeface="Arial"/>
              <a:buChar char="•"/>
              <a:defRPr sz="1350" b="0" i="0">
                <a:solidFill>
                  <a:schemeClr val="tx1"/>
                </a:solidFill>
                <a:latin typeface="+mn-lt"/>
                <a:ea typeface="CiscoSansTT Thin" charset="0"/>
                <a:cs typeface="CiscoSansTT Thin" charset="0"/>
              </a:defRPr>
            </a:lvl2pPr>
            <a:lvl3pPr marL="514325" indent="-82149">
              <a:buClr>
                <a:schemeClr val="tx1"/>
              </a:buClr>
              <a:buSzPct val="80000"/>
              <a:buFont typeface="Arial"/>
              <a:buChar char="•"/>
              <a:defRPr sz="1200" b="0" i="0">
                <a:solidFill>
                  <a:schemeClr val="tx1"/>
                </a:solidFill>
                <a:latin typeface="+mn-lt"/>
                <a:ea typeface="CiscoSansTT Thin" charset="0"/>
                <a:cs typeface="CiscoSansTT Thin" charset="0"/>
              </a:defRPr>
            </a:lvl3pPr>
            <a:lvl4pPr marL="683242" indent="-128555">
              <a:buClr>
                <a:schemeClr val="tx1"/>
              </a:buClr>
              <a:buSzPct val="80000"/>
              <a:buFont typeface="Arial"/>
              <a:buChar char="•"/>
              <a:defRPr sz="1050" b="0" i="0">
                <a:solidFill>
                  <a:schemeClr val="tx1"/>
                </a:solidFill>
                <a:latin typeface="+mn-lt"/>
                <a:ea typeface="CiscoSansTT Thin" charset="0"/>
                <a:cs typeface="CiscoSansTT Thin" charset="0"/>
              </a:defRPr>
            </a:lvl4pPr>
            <a:lvl5pPr marL="811797" indent="-126174">
              <a:buClr>
                <a:schemeClr val="tx1"/>
              </a:buClr>
              <a:buSzPct val="80000"/>
              <a:buFont typeface="Arial"/>
              <a:buChar char="•"/>
              <a:defRPr sz="9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3" name="Picture 2"/>
          <p:cNvPicPr>
            <a:picLocks noChangeAspect="1"/>
          </p:cNvPicPr>
          <p:nvPr userDrawn="1"/>
        </p:nvPicPr>
        <p:blipFill>
          <a:blip r:embed="rId5">
            <a:alphaModFix amt="79000"/>
            <a:extLst>
              <a:ext uri="{28A0092B-C50C-407E-A947-70E740481C1C}">
                <a14:useLocalDpi xmlns:a14="http://schemas.microsoft.com/office/drawing/2010/main"/>
              </a:ext>
            </a:extLst>
          </a:blip>
          <a:stretch>
            <a:fillRect/>
          </a:stretch>
        </p:blipFill>
        <p:spPr>
          <a:xfrm>
            <a:off x="3898900" y="1840470"/>
            <a:ext cx="5245100" cy="3310970"/>
          </a:xfrm>
          <a:prstGeom prst="rect">
            <a:avLst/>
          </a:prstGeom>
        </p:spPr>
      </p:pic>
    </p:spTree>
    <p:extLst>
      <p:ext uri="{BB962C8B-B14F-4D97-AF65-F5344CB8AC3E}">
        <p14:creationId xmlns:p14="http://schemas.microsoft.com/office/powerpoint/2010/main" val="39015331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846515"/>
            <a:ext cx="869696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758325"/>
            <a:ext cx="8617693" cy="419719"/>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1196009"/>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3929156113"/>
      </p:ext>
    </p:extLst>
  </p:cSld>
  <p:clrMapOvr>
    <a:masterClrMapping/>
  </p:clrMapOvr>
  <p:transition spd="slow">
    <p:circl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6"/>
            <a:ext cx="8696960" cy="2871283"/>
          </a:xfrm>
          <a:prstGeom prst="rect">
            <a:avLst/>
          </a:prstGeom>
        </p:spPr>
        <p:txBody>
          <a:bodyPr>
            <a:noAutofit/>
          </a:bodyPr>
          <a:lstStyle>
            <a:lvl1pPr marL="233309" indent="-233309">
              <a:spcBef>
                <a:spcPts val="600"/>
              </a:spcBef>
              <a:defRPr>
                <a:solidFill>
                  <a:srgbClr val="000000"/>
                </a:solidFill>
              </a:defRPr>
            </a:lvl1pPr>
            <a:lvl2pPr marL="457094" indent="-233309">
              <a:spcBef>
                <a:spcPts val="400"/>
              </a:spcBef>
              <a:defRPr>
                <a:solidFill>
                  <a:srgbClr val="000000"/>
                </a:solidFill>
              </a:defRPr>
            </a:lvl2pPr>
            <a:lvl3pPr marL="693585" indent="-228546">
              <a:spcBef>
                <a:spcPts val="400"/>
              </a:spcBef>
              <a:defRPr sz="1800">
                <a:solidFill>
                  <a:srgbClr val="000000"/>
                </a:solidFill>
              </a:defRPr>
            </a:lvl3pPr>
            <a:lvl4pPr marL="917368" indent="-228546">
              <a:spcBef>
                <a:spcPts val="400"/>
              </a:spcBef>
              <a:defRPr sz="1600">
                <a:solidFill>
                  <a:srgbClr val="000000"/>
                </a:solidFill>
              </a:defRPr>
            </a:lvl4pPr>
            <a:lvl5pPr marL="1150682" indent="-228546">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2931"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859804455"/>
      </p:ext>
    </p:extLst>
  </p:cSld>
  <p:clrMapOvr>
    <a:masterClrMapping/>
  </p:clrMapOvr>
  <p:transition spd="slow">
    <p:circl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Subtitle, Content - NO LOGO &amp; PAGE NUMBER">
    <p:spTree>
      <p:nvGrpSpPr>
        <p:cNvPr id="1" name=""/>
        <p:cNvGrpSpPr/>
        <p:nvPr/>
      </p:nvGrpSpPr>
      <p:grpSpPr>
        <a:xfrm>
          <a:off x="0" y="0"/>
          <a:ext cx="0" cy="0"/>
          <a:chOff x="0" y="0"/>
          <a:chExt cx="0" cy="0"/>
        </a:xfrm>
      </p:grpSpPr>
      <p:sp>
        <p:nvSpPr>
          <p:cNvPr id="2" name="Title 1"/>
          <p:cNvSpPr>
            <a:spLocks noGrp="1"/>
          </p:cNvSpPr>
          <p:nvPr>
            <p:ph type="title"/>
          </p:nvPr>
        </p:nvSpPr>
        <p:spPr>
          <a:xfrm>
            <a:off x="415290" y="614523"/>
            <a:ext cx="8313420" cy="492443"/>
          </a:xfrm>
        </p:spPr>
        <p:txBody>
          <a:bodyPr/>
          <a:lstStyle>
            <a:lvl1pPr algn="ct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26720" y="1752529"/>
            <a:ext cx="8290560" cy="3078132"/>
          </a:xfrm>
        </p:spPr>
        <p:txBody>
          <a:bodyPr/>
          <a:lstStyle>
            <a:lvl1pPr marL="0" indent="0">
              <a:buClr>
                <a:schemeClr val="bg2"/>
              </a:buClr>
              <a:buSzPct val="100000"/>
              <a:buFontTx/>
              <a:buNone/>
              <a:defRPr sz="1500">
                <a:solidFill>
                  <a:schemeClr val="bg1"/>
                </a:solidFill>
              </a:defRPr>
            </a:lvl1pPr>
            <a:lvl2pPr marL="476234" indent="0">
              <a:buClr>
                <a:schemeClr val="bg2"/>
              </a:buClr>
              <a:buSzPct val="100000"/>
              <a:buFontTx/>
              <a:buNone/>
              <a:defRPr sz="1334">
                <a:solidFill>
                  <a:schemeClr val="bg1"/>
                </a:solidFill>
              </a:defRPr>
            </a:lvl2pPr>
            <a:lvl3pPr marL="907490" indent="0">
              <a:buClr>
                <a:schemeClr val="bg2"/>
              </a:buClr>
              <a:buSzPct val="100000"/>
              <a:buFontTx/>
              <a:buNone/>
              <a:defRPr sz="1334">
                <a:solidFill>
                  <a:schemeClr val="bg1"/>
                </a:solidFill>
              </a:defRPr>
            </a:lvl3pPr>
            <a:lvl4pPr marL="1478969" indent="-190493">
              <a:buClr>
                <a:schemeClr val="bg2"/>
              </a:buClr>
              <a:buFont typeface="Wingdings" panose="05000000000000000000" pitchFamily="2" charset="2"/>
              <a:buChar char="§"/>
              <a:defRPr sz="1500">
                <a:solidFill>
                  <a:schemeClr val="tx1"/>
                </a:solidFill>
              </a:defRPr>
            </a:lvl4pPr>
            <a:lvl5pPr marL="1764709" indent="-190493">
              <a:buClr>
                <a:schemeClr val="bg2"/>
              </a:buClr>
              <a:buFont typeface="Wingdings" panose="05000000000000000000" pitchFamily="2" charset="2"/>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10"/>
          </p:nvPr>
        </p:nvSpPr>
        <p:spPr>
          <a:xfrm>
            <a:off x="415290" y="1049612"/>
            <a:ext cx="8313420" cy="437886"/>
          </a:xfrm>
        </p:spPr>
        <p:txBody>
          <a:bodyPr/>
          <a:lstStyle>
            <a:lvl1pPr marL="0" indent="0" algn="ctr">
              <a:buFontTx/>
              <a:buNone/>
              <a:defRPr sz="2000" b="0">
                <a:solidFill>
                  <a:schemeClr val="tx2"/>
                </a:solidFill>
                <a:latin typeface="Trebuchet MS" panose="020B0603020202020204" pitchFamily="34" charset="0"/>
              </a:defRPr>
            </a:lvl1pPr>
            <a:lvl2pPr marL="476234" indent="0" algn="ctr">
              <a:buFontTx/>
              <a:buNone/>
              <a:defRPr sz="2333">
                <a:solidFill>
                  <a:schemeClr val="tx2"/>
                </a:solidFill>
                <a:latin typeface="Trebuchet MS" panose="020B0603020202020204" pitchFamily="34" charset="0"/>
              </a:defRPr>
            </a:lvl2pPr>
            <a:lvl3pPr marL="907490" indent="0" algn="ctr">
              <a:buFontTx/>
              <a:buNone/>
              <a:defRPr sz="2333">
                <a:solidFill>
                  <a:schemeClr val="tx2"/>
                </a:solidFill>
                <a:latin typeface="Trebuchet MS" panose="020B0603020202020204" pitchFamily="34" charset="0"/>
              </a:defRPr>
            </a:lvl3pPr>
            <a:lvl4pPr marL="1288476" indent="0" algn="ctr">
              <a:buFontTx/>
              <a:buNone/>
              <a:defRPr sz="2333">
                <a:solidFill>
                  <a:schemeClr val="tx2"/>
                </a:solidFill>
                <a:latin typeface="Trebuchet MS" panose="020B0603020202020204" pitchFamily="34" charset="0"/>
              </a:defRPr>
            </a:lvl4pPr>
            <a:lvl5pPr marL="1574216" indent="0" algn="ctr">
              <a:buFontTx/>
              <a:buNone/>
              <a:defRPr sz="2333">
                <a:solidFill>
                  <a:schemeClr val="tx2"/>
                </a:solidFill>
                <a:latin typeface="Trebuchet MS" panose="020B0603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86273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84335714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5" name="Picture 4"/>
          <p:cNvPicPr>
            <a:picLocks noChangeAspect="1"/>
          </p:cNvPicPr>
          <p:nvPr userDrawn="1"/>
        </p:nvPicPr>
        <p:blipFill>
          <a:blip r:embed="rId2"/>
          <a:stretch>
            <a:fillRect/>
          </a:stretch>
        </p:blipFill>
        <p:spPr>
          <a:xfrm>
            <a:off x="8081801" y="4870915"/>
            <a:ext cx="782016" cy="143333"/>
          </a:xfrm>
          <a:prstGeom prst="rect">
            <a:avLst/>
          </a:prstGeom>
        </p:spPr>
      </p:pic>
      <p:sp>
        <p:nvSpPr>
          <p:cNvPr id="7"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dirty="0">
                <a:solidFill>
                  <a:srgbClr val="A2A5A2">
                    <a:lumMod val="50000"/>
                  </a:srgbClr>
                </a:solidFill>
              </a:rPr>
              <a:t>© 2018 NetApp, Inc. All rights reserved.  </a:t>
            </a:r>
            <a:r>
              <a:rPr dirty="0">
                <a:solidFill>
                  <a:srgbClr val="A2A5A2">
                    <a:lumMod val="50000"/>
                  </a:srgbClr>
                </a:solidFill>
                <a:cs typeface="Arial" panose="020B0604020202020204" pitchFamily="34" charset="0"/>
              </a:rPr>
              <a:t>— </a:t>
            </a:r>
            <a:r>
              <a:rPr dirty="0">
                <a:solidFill>
                  <a:srgbClr val="A2A5A2">
                    <a:lumMod val="50000"/>
                  </a:srgbClr>
                </a:solidFill>
              </a:rPr>
              <a:t>NETAPP CONFIDENTIAL </a:t>
            </a:r>
            <a:r>
              <a:rPr dirty="0">
                <a:solidFill>
                  <a:srgbClr val="A2A5A2">
                    <a:lumMod val="50000"/>
                  </a:srgbClr>
                </a:solidFill>
                <a:cs typeface="Arial" panose="020B0604020202020204" pitchFamily="34" charset="0"/>
              </a:rPr>
              <a:t>— </a:t>
            </a:r>
            <a:endParaRPr dirty="0">
              <a:solidFill>
                <a:srgbClr val="A2A5A2">
                  <a:lumMod val="50000"/>
                </a:srgbClr>
              </a:solidFill>
            </a:endParaRPr>
          </a:p>
        </p:txBody>
      </p:sp>
    </p:spTree>
    <p:extLst>
      <p:ext uri="{BB962C8B-B14F-4D97-AF65-F5344CB8AC3E}">
        <p14:creationId xmlns:p14="http://schemas.microsoft.com/office/powerpoint/2010/main" val="1203432451"/>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5" name="Content Placeholder 39"/>
          <p:cNvSpPr>
            <a:spLocks noGrp="1"/>
          </p:cNvSpPr>
          <p:nvPr>
            <p:ph sz="quarter" idx="15" hasCustomPrompt="1"/>
          </p:nvPr>
        </p:nvSpPr>
        <p:spPr bwMode="gray">
          <a:xfrm>
            <a:off x="197274" y="1300068"/>
            <a:ext cx="4287367" cy="3360041"/>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197274" y="180248"/>
            <a:ext cx="8746228" cy="678596"/>
          </a:xfrm>
        </p:spPr>
        <p:txBody>
          <a:bodyPr wrap="square" lIns="91521">
            <a:noAutofit/>
          </a:bodyPr>
          <a:lstStyle>
            <a:lvl1pPr>
              <a:defRPr/>
            </a:lvl1pPr>
          </a:lstStyle>
          <a:p>
            <a:r>
              <a:rPr lang="en-US" dirty="0"/>
              <a:t>Click to Edit Master Title Style</a:t>
            </a:r>
          </a:p>
        </p:txBody>
      </p:sp>
      <p:sp>
        <p:nvSpPr>
          <p:cNvPr id="83" name="Content Placeholder 3"/>
          <p:cNvSpPr>
            <a:spLocks noGrp="1"/>
          </p:cNvSpPr>
          <p:nvPr>
            <p:ph sz="quarter" idx="14" hasCustomPrompt="1"/>
          </p:nvPr>
        </p:nvSpPr>
        <p:spPr>
          <a:xfrm>
            <a:off x="4656135" y="1300068"/>
            <a:ext cx="4287367"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19 NetApp, Inc. All rights reserved.  — NETAPP CONFIDENTIAL — Limited Use Only</a:t>
            </a:r>
            <a:endParaRPr dirty="0">
              <a:solidFill>
                <a:srgbClr val="A2A5A2">
                  <a:lumMod val="50000"/>
                </a:srgbClr>
              </a:solidFill>
            </a:endParaRPr>
          </a:p>
        </p:txBody>
      </p:sp>
    </p:spTree>
    <p:extLst>
      <p:ext uri="{BB962C8B-B14F-4D97-AF65-F5344CB8AC3E}">
        <p14:creationId xmlns:p14="http://schemas.microsoft.com/office/powerpoint/2010/main" val="113228200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4" name="Picture 7" descr="FlexPod-Flash-3.jpg">
            <a:extLst>
              <a:ext uri="{FF2B5EF4-FFF2-40B4-BE49-F238E27FC236}">
                <a16:creationId xmlns:a16="http://schemas.microsoft.com/office/drawing/2014/main" id="{BA9A38E1-EE33-403B-8D94-343B5EA82C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024B1C5A-2950-405D-82CF-30A5BEF5C5E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3624162"/>
            <a:ext cx="6400579"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204654590"/>
      </p:ext>
    </p:extLst>
  </p:cSld>
  <p:clrMapOvr>
    <a:masterClrMapping/>
  </p:clrMapOvr>
  <p:transition spd="slow">
    <p:circl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4" name="Picture 7" descr="FlexPod-shipping-containers-2.jpg">
            <a:extLst>
              <a:ext uri="{FF2B5EF4-FFF2-40B4-BE49-F238E27FC236}">
                <a16:creationId xmlns:a16="http://schemas.microsoft.com/office/drawing/2014/main" id="{A078DAEF-4DAA-48F0-8A86-C400802262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63367738-31A4-4DDF-9614-7CB8D6A04F6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3624162"/>
            <a:ext cx="5740498"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39695501"/>
      </p:ext>
    </p:extLst>
  </p:cSld>
  <p:clrMapOvr>
    <a:masterClrMapping/>
  </p:clrMapOvr>
  <p:transition spd="slow">
    <p:circl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4" name="Picture 7" descr="FlexPod-LA-2.jpg">
            <a:extLst>
              <a:ext uri="{FF2B5EF4-FFF2-40B4-BE49-F238E27FC236}">
                <a16:creationId xmlns:a16="http://schemas.microsoft.com/office/drawing/2014/main" id="{D0DEC677-1DC2-4366-B919-5281D4DB828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DA145EFF-DDBB-4EC0-984C-0A96C65EDBA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1382545"/>
            <a:ext cx="5707077"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628590655"/>
      </p:ext>
    </p:extLst>
  </p:cSld>
  <p:clrMapOvr>
    <a:masterClrMapping/>
  </p:clrMapOvr>
  <p:transition spd="slow">
    <p:circl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4" name="Picture 7" descr="FSA-Image-2.jpg">
            <a:extLst>
              <a:ext uri="{FF2B5EF4-FFF2-40B4-BE49-F238E27FC236}">
                <a16:creationId xmlns:a16="http://schemas.microsoft.com/office/drawing/2014/main" id="{AA723932-E905-479E-976D-322582ED21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548AE4E8-082C-4BFB-967A-283E48D3972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1382959"/>
            <a:ext cx="5840764"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64757794"/>
      </p:ext>
    </p:extLst>
  </p:cSld>
  <p:clrMapOvr>
    <a:masterClrMapping/>
  </p:clrMapOvr>
  <p:transition spd="slow">
    <p:circl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3" name="Picture 7" descr="Screen Shot 2016-07-14 at 12.49.21 PM.png">
            <a:extLst>
              <a:ext uri="{FF2B5EF4-FFF2-40B4-BE49-F238E27FC236}">
                <a16:creationId xmlns:a16="http://schemas.microsoft.com/office/drawing/2014/main" id="{0E1C38AC-9332-445F-82F1-5110C1D1F004}"/>
              </a:ext>
            </a:extLst>
          </p:cNvPr>
          <p:cNvPicPr>
            <a:picLocks noChangeAspect="1"/>
          </p:cNvPicPr>
          <p:nvPr userDrawn="1"/>
        </p:nvPicPr>
        <p:blipFill>
          <a:blip r:embed="rId2">
            <a:extLst>
              <a:ext uri="{28A0092B-C50C-407E-A947-70E740481C1C}">
                <a14:useLocalDpi xmlns:a14="http://schemas.microsoft.com/office/drawing/2010/main" val="0"/>
              </a:ext>
            </a:extLst>
          </a:blip>
          <a:srcRect l="7857" r="15912" b="143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96C40ECC-360D-4142-B6FA-0A47E2A859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29E178A8-0818-44F9-AD82-EBCBEFF1C366}"/>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7EF210E2-B184-494B-AEA5-2C7B318A9D77}"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3426637518"/>
      </p:ext>
    </p:extLst>
  </p:cSld>
  <p:clrMapOvr>
    <a:masterClrMapping/>
  </p:clrMapOvr>
  <p:transition spd="slow">
    <p:circl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696960"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3426321877"/>
      </p:ext>
    </p:extLst>
  </p:cSld>
  <p:clrMapOvr>
    <a:masterClrMapping/>
  </p:clrMapOvr>
  <p:transition spd="slow">
    <p:circl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7" descr="Screen Shot 2016-07-13 at 2.49.37 PM.png">
            <a:extLst>
              <a:ext uri="{FF2B5EF4-FFF2-40B4-BE49-F238E27FC236}">
                <a16:creationId xmlns:a16="http://schemas.microsoft.com/office/drawing/2014/main" id="{6E92BA73-A8BE-4B7F-932F-EBA5B652A83F}"/>
              </a:ext>
            </a:extLst>
          </p:cNvPr>
          <p:cNvPicPr>
            <a:picLocks noChangeAspect="1"/>
          </p:cNvPicPr>
          <p:nvPr userDrawn="1"/>
        </p:nvPicPr>
        <p:blipFill>
          <a:blip r:embed="rId2">
            <a:extLst>
              <a:ext uri="{28A0092B-C50C-407E-A947-70E740481C1C}">
                <a14:useLocalDpi xmlns:a14="http://schemas.microsoft.com/office/drawing/2010/main" val="0"/>
              </a:ext>
            </a:extLst>
          </a:blip>
          <a:srcRect l="19165" t="1654" r="893" b="4549"/>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541AD65A-37D6-4D26-BFDF-876A3ECF1CF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FF3F76FF-A552-488B-92EB-EB16EC2CD24B}"/>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924BE25A-EFF2-47F0-B9CF-514D6BF0F16F}"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2618954835"/>
      </p:ext>
    </p:extLst>
  </p:cSld>
  <p:clrMapOvr>
    <a:masterClrMapping/>
  </p:clrMapOvr>
  <p:transition spd="slow">
    <p:circl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3" name="Picture 7" descr="Screen Shot 2016-07-14 at 4.26.16 PM.png">
            <a:extLst>
              <a:ext uri="{FF2B5EF4-FFF2-40B4-BE49-F238E27FC236}">
                <a16:creationId xmlns:a16="http://schemas.microsoft.com/office/drawing/2014/main" id="{428063E9-F870-408D-8C3C-BF5ED75F9115}"/>
              </a:ext>
            </a:extLst>
          </p:cNvPr>
          <p:cNvPicPr>
            <a:picLocks noChangeAspect="1"/>
          </p:cNvPicPr>
          <p:nvPr userDrawn="1"/>
        </p:nvPicPr>
        <p:blipFill>
          <a:blip r:embed="rId2">
            <a:extLst>
              <a:ext uri="{28A0092B-C50C-407E-A947-70E740481C1C}">
                <a14:useLocalDpi xmlns:a14="http://schemas.microsoft.com/office/drawing/2010/main" val="0"/>
              </a:ext>
            </a:extLst>
          </a:blip>
          <a:srcRect r="2107" b="66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000390F9-CD2B-4A77-A203-B0DE9458951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B25AF353-4753-4AE1-8AD7-46B19DA46EA3}"/>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2803D59-AE6D-411D-87B7-AACC391BC628}"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3836221909"/>
      </p:ext>
    </p:extLst>
  </p:cSld>
  <p:clrMapOvr>
    <a:masterClrMapping/>
  </p:clrMapOvr>
  <p:transition spd="slow">
    <p:circl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7" descr="Screen Shot 2016-07-14 at 2.40.14 PM.png">
            <a:extLst>
              <a:ext uri="{FF2B5EF4-FFF2-40B4-BE49-F238E27FC236}">
                <a16:creationId xmlns:a16="http://schemas.microsoft.com/office/drawing/2014/main" id="{6644ABD4-C1E8-4C8C-A8FA-B400B19A953C}"/>
              </a:ext>
            </a:extLst>
          </p:cNvPr>
          <p:cNvPicPr>
            <a:picLocks noChangeAspect="1"/>
          </p:cNvPicPr>
          <p:nvPr userDrawn="1"/>
        </p:nvPicPr>
        <p:blipFill>
          <a:blip r:embed="rId2">
            <a:extLst>
              <a:ext uri="{28A0092B-C50C-407E-A947-70E740481C1C}">
                <a14:useLocalDpi xmlns:a14="http://schemas.microsoft.com/office/drawing/2010/main" val="0"/>
              </a:ext>
            </a:extLst>
          </a:blip>
          <a:srcRect l="11494" r="7607"/>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84872229-5889-4183-BA6E-C0515E94E8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02CF77D2-9534-4D6B-8538-184C36DE2382}"/>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1C7D2F4-2C0C-4718-829C-9984FBDA21AF}"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853149153"/>
      </p:ext>
    </p:extLst>
  </p:cSld>
  <p:clrMapOvr>
    <a:masterClrMapping/>
  </p:clrMapOvr>
  <p:transition spd="slow">
    <p:circl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7" descr="offset_379195.jpg">
            <a:extLst>
              <a:ext uri="{FF2B5EF4-FFF2-40B4-BE49-F238E27FC236}">
                <a16:creationId xmlns:a16="http://schemas.microsoft.com/office/drawing/2014/main" id="{F4AF5428-2907-4A48-87DE-06B7E0689E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90228F39-59D8-499B-A1E8-1B278401FDFC}"/>
              </a:ext>
            </a:extLst>
          </p:cNvPr>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10" descr="FlexPod_Reg_CMYK-withbubble.png">
            <a:extLst>
              <a:ext uri="{FF2B5EF4-FFF2-40B4-BE49-F238E27FC236}">
                <a16:creationId xmlns:a16="http://schemas.microsoft.com/office/drawing/2014/main" id="{2AB56B34-4C5F-4E7F-A4C9-08AF591D199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4">
            <a:extLst>
              <a:ext uri="{FF2B5EF4-FFF2-40B4-BE49-F238E27FC236}">
                <a16:creationId xmlns:a16="http://schemas.microsoft.com/office/drawing/2014/main" id="{C1DA6D82-7D79-4514-93E0-7FF2756006AC}"/>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AAC35C6C-F280-4C4D-BA07-5C4B46522055}"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211619" y="800100"/>
            <a:ext cx="3725381" cy="1980785"/>
          </a:xfrm>
          <a:prstGeom prst="rect">
            <a:avLst/>
          </a:prstGeom>
        </p:spPr>
        <p:txBody>
          <a:bodyPr anchor="t"/>
          <a:lstStyle>
            <a:lvl1pPr>
              <a:defRPr sz="2800" b="1">
                <a:solidFill>
                  <a:schemeClr val="bg1"/>
                </a:solidFill>
              </a:defRPr>
            </a:lvl1pPr>
          </a:lstStyle>
          <a:p>
            <a:r>
              <a:rPr lang="en-US"/>
              <a:t>Click to edit Master title style</a:t>
            </a:r>
          </a:p>
        </p:txBody>
      </p:sp>
    </p:spTree>
    <p:extLst>
      <p:ext uri="{BB962C8B-B14F-4D97-AF65-F5344CB8AC3E}">
        <p14:creationId xmlns:p14="http://schemas.microsoft.com/office/powerpoint/2010/main" val="129843194"/>
      </p:ext>
    </p:extLst>
  </p:cSld>
  <p:clrMapOvr>
    <a:masterClrMapping/>
  </p:clrMapOvr>
  <p:transition spd="slow">
    <p:circl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7" descr="Screen Shot 2016-07-13 at 2.54.46 PM.png">
            <a:extLst>
              <a:ext uri="{FF2B5EF4-FFF2-40B4-BE49-F238E27FC236}">
                <a16:creationId xmlns:a16="http://schemas.microsoft.com/office/drawing/2014/main" id="{4B1785C5-EC2B-478D-BCCE-FF469E5FA1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F408F4F5-12C6-4DA0-A917-6652565739D6}"/>
              </a:ext>
            </a:extLst>
          </p:cNvPr>
          <p:cNvSpPr>
            <a:spLocks noChangeArrowheads="1"/>
          </p:cNvSpPr>
          <p:nvPr userDrawn="1"/>
        </p:nvSpPr>
        <p:spPr bwMode="auto">
          <a:xfrm>
            <a:off x="0" y="0"/>
            <a:ext cx="6985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10" descr="FlexPod_Reg_CMYK-withbubble.png">
            <a:extLst>
              <a:ext uri="{FF2B5EF4-FFF2-40B4-BE49-F238E27FC236}">
                <a16:creationId xmlns:a16="http://schemas.microsoft.com/office/drawing/2014/main" id="{A989B292-898D-4C8E-98BA-3E1CE09B2D9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4">
            <a:extLst>
              <a:ext uri="{FF2B5EF4-FFF2-40B4-BE49-F238E27FC236}">
                <a16:creationId xmlns:a16="http://schemas.microsoft.com/office/drawing/2014/main" id="{56905631-0EBB-41FF-8233-61DA58BBB9F4}"/>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B6C47B28-6DF9-4023-B70C-A410A94E76B0}"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p>
        </p:txBody>
      </p:sp>
    </p:spTree>
    <p:extLst>
      <p:ext uri="{BB962C8B-B14F-4D97-AF65-F5344CB8AC3E}">
        <p14:creationId xmlns:p14="http://schemas.microsoft.com/office/powerpoint/2010/main" val="2622607913"/>
      </p:ext>
    </p:extLst>
  </p:cSld>
  <p:clrMapOvr>
    <a:masterClrMapping/>
  </p:clrMapOvr>
  <p:transition spd="slow">
    <p:circl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BD70FD-6403-4F98-A1BB-5ADCF5AAFC6D}"/>
              </a:ext>
            </a:extLst>
          </p:cNvPr>
          <p:cNvSpPr>
            <a:spLocks noChangeArrowheads="1"/>
          </p:cNvSpPr>
          <p:nvPr userDrawn="1"/>
        </p:nvSpPr>
        <p:spPr bwMode="auto">
          <a:xfrm>
            <a:off x="5195888" y="0"/>
            <a:ext cx="3948112" cy="5143500"/>
          </a:xfrm>
          <a:prstGeom prst="rect">
            <a:avLst/>
          </a:prstGeom>
          <a:solidFill>
            <a:srgbClr val="3C3939"/>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3CF03F17-05C2-403E-B765-341D727BA8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1858368869"/>
      </p:ext>
    </p:extLst>
  </p:cSld>
  <p:clrMapOvr>
    <a:masterClrMapping/>
  </p:clrMapOvr>
  <p:transition spd="slow">
    <p:circl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FB10FF-1F8E-4B8D-B755-EA050A32552C}"/>
              </a:ext>
            </a:extLst>
          </p:cNvPr>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B754FC87-8B80-46A3-9617-30F564D255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1571214513"/>
      </p:ext>
    </p:extLst>
  </p:cSld>
  <p:clrMapOvr>
    <a:masterClrMapping/>
  </p:clrMapOvr>
  <p:transition spd="slow">
    <p:circl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AF17B6-F48D-4C57-A7FC-68152083A2AA}"/>
              </a:ext>
            </a:extLst>
          </p:cNvPr>
          <p:cNvSpPr>
            <a:spLocks noChangeArrowheads="1"/>
          </p:cNvSpPr>
          <p:nvPr userDrawn="1"/>
        </p:nvSpPr>
        <p:spPr bwMode="auto">
          <a:xfrm>
            <a:off x="5195888" y="0"/>
            <a:ext cx="3948112" cy="5143500"/>
          </a:xfrm>
          <a:prstGeom prst="rect">
            <a:avLst/>
          </a:prstGeom>
          <a:solidFill>
            <a:srgbClr val="6FB533"/>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FEB69E78-37AE-4F86-A3DD-5A49C6F8D23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1114574898"/>
      </p:ext>
    </p:extLst>
  </p:cSld>
  <p:clrMapOvr>
    <a:masterClrMapping/>
  </p:clrMapOvr>
  <p:transition spd="slow">
    <p:circl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846515"/>
            <a:ext cx="869696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758325"/>
            <a:ext cx="8617693" cy="419719"/>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1196009"/>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2275142466"/>
      </p:ext>
    </p:extLst>
  </p:cSld>
  <p:clrMapOvr>
    <a:masterClrMapping/>
  </p:clrMapOvr>
  <p:transition spd="slow">
    <p:circl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696960"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3486770769"/>
      </p:ext>
    </p:extLst>
  </p:cSld>
  <p:clrMapOvr>
    <a:masterClrMapping/>
  </p:clrMapOvr>
  <p:transition spd="slow">
    <p:circl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249964"/>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60318517"/>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249964"/>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146132046"/>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733267077"/>
      </p:ext>
    </p:extLst>
  </p:cSld>
  <p:clrMapOvr>
    <a:masterClrMapping/>
  </p:clrMapOvr>
  <p:transition spd="med">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Subtitle and Two Columns">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
        <p:nvSpPr>
          <p:cNvPr id="5" name="Content Placeholder 4"/>
          <p:cNvSpPr>
            <a:spLocks noGrp="1"/>
          </p:cNvSpPr>
          <p:nvPr>
            <p:ph sz="quarter" idx="12"/>
          </p:nvPr>
        </p:nvSpPr>
        <p:spPr>
          <a:xfrm>
            <a:off x="4670227" y="1305596"/>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5061140"/>
      </p:ext>
    </p:extLst>
  </p:cSld>
  <p:clrMapOvr>
    <a:masterClrMapping/>
  </p:clrMapOvr>
  <p:transition spd="slow">
    <p:circl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2002449875"/>
      </p:ext>
    </p:extLst>
  </p:cSld>
  <p:clrMapOvr>
    <a:masterClrMapping/>
  </p:clrMapOvr>
  <p:transition spd="slow">
    <p:circl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14"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
        <p:nvSpPr>
          <p:cNvPr id="6" name="Text Placeholder 3"/>
          <p:cNvSpPr>
            <a:spLocks noGrp="1"/>
          </p:cNvSpPr>
          <p:nvPr>
            <p:ph type="body" sz="quarter" idx="10"/>
          </p:nvPr>
        </p:nvSpPr>
        <p:spPr>
          <a:xfrm>
            <a:off x="245457"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1"/>
          </p:nvPr>
        </p:nvSpPr>
        <p:spPr>
          <a:xfrm>
            <a:off x="4640994"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8231671"/>
      </p:ext>
    </p:extLst>
  </p:cSld>
  <p:clrMapOvr>
    <a:masterClrMapping/>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1782"/>
            <a:ext cx="8746228" cy="3359923"/>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BCE88CC7-722E-43DA-8471-07E918EAEB67}"/>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B0FC793E-34A3-45A0-B24E-F3D58E21113C}" type="slidenum">
              <a:rPr/>
              <a:pPr>
                <a:defRPr/>
              </a:pPr>
              <a:t>‹#›</a:t>
            </a:fld>
            <a:endParaRPr/>
          </a:p>
        </p:txBody>
      </p:sp>
      <p:sp>
        <p:nvSpPr>
          <p:cNvPr id="5" name="Footer Placeholder 4">
            <a:extLst>
              <a:ext uri="{FF2B5EF4-FFF2-40B4-BE49-F238E27FC236}">
                <a16:creationId xmlns:a16="http://schemas.microsoft.com/office/drawing/2014/main" id="{FDB1E3D8-E8D5-4F8A-8100-01630857005F}"/>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405017304"/>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EDD9CAE5-9943-4B1C-B923-523E710D2A66}"/>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6E7ABDF4-0127-43A7-A368-8BD5628E1C8C}" type="slidenum">
              <a:rPr/>
              <a:pPr>
                <a:defRPr/>
              </a:pPr>
              <a:t>‹#›</a:t>
            </a:fld>
            <a:endParaRPr/>
          </a:p>
        </p:txBody>
      </p:sp>
      <p:sp>
        <p:nvSpPr>
          <p:cNvPr id="6" name="Footer Placeholder 4">
            <a:extLst>
              <a:ext uri="{FF2B5EF4-FFF2-40B4-BE49-F238E27FC236}">
                <a16:creationId xmlns:a16="http://schemas.microsoft.com/office/drawing/2014/main" id="{3291FB1D-AD51-491C-A8BB-DF257AF990F0}"/>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2607757811"/>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C3E3A1D3-0000-4C50-8B8A-07AFD62EFC7A}"/>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B67C6C48-1F9A-4720-8664-704E432E7D41}" type="slidenum">
              <a:rPr/>
              <a:pPr>
                <a:defRPr/>
              </a:pPr>
              <a:t>‹#›</a:t>
            </a:fld>
            <a:endParaRPr/>
          </a:p>
        </p:txBody>
      </p:sp>
      <p:sp>
        <p:nvSpPr>
          <p:cNvPr id="6" name="Footer Placeholder 4">
            <a:extLst>
              <a:ext uri="{FF2B5EF4-FFF2-40B4-BE49-F238E27FC236}">
                <a16:creationId xmlns:a16="http://schemas.microsoft.com/office/drawing/2014/main" id="{45E4ACBB-BE17-4F20-8EA1-0209D6F4B2CE}"/>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1113211384"/>
      </p:ext>
    </p:extLst>
  </p:cSld>
  <p:clrMapOvr>
    <a:masterClrMapping/>
  </p:clrMapOvr>
  <p:transition spd="med">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A60D91B9-DA32-45BD-95C0-B2C86C0EB1FD}"/>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D94D223D-027E-488F-84A4-B850BADB914C}" type="slidenum">
              <a:rPr/>
              <a:pPr>
                <a:defRPr/>
              </a:pPr>
              <a:t>‹#›</a:t>
            </a:fld>
            <a:endParaRPr/>
          </a:p>
        </p:txBody>
      </p:sp>
      <p:sp>
        <p:nvSpPr>
          <p:cNvPr id="6" name="Footer Placeholder 4">
            <a:extLst>
              <a:ext uri="{FF2B5EF4-FFF2-40B4-BE49-F238E27FC236}">
                <a16:creationId xmlns:a16="http://schemas.microsoft.com/office/drawing/2014/main" id="{1451BFED-03A8-4AF3-8D9E-422ADB2671BE}"/>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1250584817"/>
      </p:ext>
    </p:extLst>
  </p:cSld>
  <p:clrMapOvr>
    <a:masterClrMapping/>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47"/>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3" y="1300164"/>
            <a:ext cx="8746228" cy="3359944"/>
          </a:xfrm>
        </p:spPr>
        <p:txBody>
          <a:bodyPr lIns="9152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206848" y="829814"/>
            <a:ext cx="873936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3" name="Text Placeholder 6"/>
          <p:cNvSpPr>
            <a:spLocks noGrp="1"/>
          </p:cNvSpPr>
          <p:nvPr>
            <p:ph type="body" sz="quarter" idx="16"/>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6" name="Footer Placeholder 4">
            <a:extLst>
              <a:ext uri="{FF2B5EF4-FFF2-40B4-BE49-F238E27FC236}">
                <a16:creationId xmlns:a16="http://schemas.microsoft.com/office/drawing/2014/main" id="{A3B4D934-F38B-4CA9-8039-426BCC7E6F7D}"/>
              </a:ext>
            </a:extLst>
          </p:cNvPr>
          <p:cNvSpPr>
            <a:spLocks noGrp="1"/>
          </p:cNvSpPr>
          <p:nvPr>
            <p:ph type="ftr" sz="quarter" idx="17"/>
          </p:nvPr>
        </p:nvSpPr>
        <p:spPr>
          <a:xfrm>
            <a:off x="666750" y="4854575"/>
            <a:ext cx="4905375" cy="180975"/>
          </a:xfrm>
          <a:prstGeom prst="rect">
            <a:avLst/>
          </a:prstGeom>
        </p:spPr>
        <p:txBody>
          <a:bodyPr vert="horz" wrap="square" lIns="91521" tIns="45761" rIns="91521" bIns="45761" rtlCol="0" anchor="b">
            <a:noAutofit/>
          </a:bodyPr>
          <a:lstStyle>
            <a:lvl1pPr>
              <a:defRPr lang="en-US" sz="600">
                <a:solidFill>
                  <a:schemeClr val="bg2"/>
                </a:solidFill>
              </a:defRPr>
            </a:lvl1pPr>
          </a:lstStyle>
          <a:p>
            <a:pPr>
              <a:defRPr/>
            </a:pPr>
            <a:r>
              <a:t>© 2016 NetApp, Inc. All rights reserved.  --- NETAPP CONFIDENTIAL ---</a:t>
            </a:r>
          </a:p>
        </p:txBody>
      </p:sp>
      <p:sp>
        <p:nvSpPr>
          <p:cNvPr id="7" name="Slide Number Placeholder 5">
            <a:extLst>
              <a:ext uri="{FF2B5EF4-FFF2-40B4-BE49-F238E27FC236}">
                <a16:creationId xmlns:a16="http://schemas.microsoft.com/office/drawing/2014/main" id="{5E40887F-FAE6-4240-89AB-1CA06BF87C33}"/>
              </a:ext>
            </a:extLst>
          </p:cNvPr>
          <p:cNvSpPr>
            <a:spLocks noGrp="1"/>
          </p:cNvSpPr>
          <p:nvPr>
            <p:ph type="sldNum" sz="quarter" idx="18"/>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chemeClr val="bg2">
                    <a:lumMod val="50000"/>
                  </a:schemeClr>
                </a:solidFill>
              </a:defRPr>
            </a:lvl1pPr>
          </a:lstStyle>
          <a:p>
            <a:pPr>
              <a:defRPr/>
            </a:pPr>
            <a:fld id="{947CA8EF-EC70-405F-B968-4ED65F99D11C}" type="slidenum">
              <a:rPr/>
              <a:pPr>
                <a:defRPr/>
              </a:pPr>
              <a:t>‹#›</a:t>
            </a:fld>
            <a:endParaRPr/>
          </a:p>
        </p:txBody>
      </p:sp>
    </p:spTree>
    <p:extLst>
      <p:ext uri="{BB962C8B-B14F-4D97-AF65-F5344CB8AC3E}">
        <p14:creationId xmlns:p14="http://schemas.microsoft.com/office/powerpoint/2010/main" val="464670940"/>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590140499"/>
      </p:ext>
    </p:extLst>
  </p:cSld>
  <p:clrMapOvr>
    <a:masterClrMapping/>
  </p:clrMapOvr>
  <p:transition spd="med">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FC5CD1-5D5A-4EDD-B3E0-96DA0CF3144D}"/>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286852832"/>
      </p:ext>
    </p:extLst>
  </p:cSld>
  <p:clrMapOvr>
    <a:masterClrMapping/>
  </p:clrMapOvr>
  <p:transition spd="slow">
    <p:circl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7EE1CED-E19E-E547-BCC6-4B72D90680A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1256" y="-1102466"/>
            <a:ext cx="5305018" cy="5143395"/>
          </a:xfrm>
          <a:prstGeom prst="rect">
            <a:avLst/>
          </a:prstGeom>
        </p:spPr>
      </p:pic>
      <p:sp>
        <p:nvSpPr>
          <p:cNvPr id="16" name="Rectangle 15"/>
          <p:cNvSpPr/>
          <p:nvPr userDrawn="1"/>
        </p:nvSpPr>
        <p:spPr>
          <a:xfrm>
            <a:off x="3829050" y="0"/>
            <a:ext cx="5314950" cy="3429000"/>
          </a:xfrm>
          <a:prstGeom prst="rect">
            <a:avLst/>
          </a:prstGeom>
          <a:gradFill flip="none" rotWithShape="1">
            <a:gsLst>
              <a:gs pos="46000">
                <a:schemeClr val="bg1">
                  <a:alpha val="82000"/>
                </a:schemeClr>
              </a:gs>
              <a:gs pos="100000">
                <a:schemeClr val="bg1">
                  <a:alpha val="12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5000"/>
              </a:lnSpc>
            </a:pPr>
            <a:endParaRPr lang="en-US" sz="1500" dirty="0" err="1"/>
          </a:p>
        </p:txBody>
      </p:sp>
      <p:pic>
        <p:nvPicPr>
          <p:cNvPr id="17" name="Picture 16">
            <a:extLst>
              <a:ext uri="{FF2B5EF4-FFF2-40B4-BE49-F238E27FC236}">
                <a16:creationId xmlns:a16="http://schemas.microsoft.com/office/drawing/2014/main" id="{1D09364C-C64E-724D-929D-1B9DCCEBAD2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87401" y="1495"/>
            <a:ext cx="1556598" cy="1141505"/>
          </a:xfrm>
          <a:prstGeom prst="rect">
            <a:avLst/>
          </a:prstGeom>
        </p:spPr>
      </p:pic>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buClr>
                <a:srgbClr val="9DA5A5"/>
              </a:buClr>
              <a:defRPr/>
            </a:lvl1pPr>
            <a:lvl2pPr>
              <a:buClr>
                <a:srgbClr val="9DA5A5"/>
              </a:buClr>
              <a:defRPr/>
            </a:lvl2pPr>
            <a:lvl3pPr>
              <a:buClr>
                <a:srgbClr val="9DA5A5"/>
              </a:buClr>
              <a:defRPr/>
            </a:lvl3pPr>
            <a:lvl4pPr>
              <a:buClr>
                <a:srgbClr val="9DA5A5"/>
              </a:buClr>
              <a:defRPr/>
            </a:lvl4pPr>
            <a:lvl5pPr>
              <a:buClr>
                <a:srgbClr val="9DA5A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rgbClr val="9DA5A5"/>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19 NetApp, Inc. All rights reserved.  — NETAPP CONFIDENTIAL — #NetAppPartnerAcademy #DataDriven</a:t>
            </a:r>
            <a:endParaRPr dirty="0">
              <a:solidFill>
                <a:srgbClr val="A2A5A2">
                  <a:lumMod val="50000"/>
                </a:srgbClr>
              </a:solidFill>
            </a:endParaRPr>
          </a:p>
        </p:txBody>
      </p:sp>
    </p:spTree>
    <p:extLst>
      <p:ext uri="{BB962C8B-B14F-4D97-AF65-F5344CB8AC3E}">
        <p14:creationId xmlns:p14="http://schemas.microsoft.com/office/powerpoint/2010/main" val="829657350"/>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rgbClr val="FFFFFF"/>
        </a:solidFill>
        <a:effectLst/>
      </p:bgPr>
    </p:bg>
    <p:spTree>
      <p:nvGrpSpPr>
        <p:cNvPr id="1" name=""/>
        <p:cNvGrpSpPr/>
        <p:nvPr/>
      </p:nvGrpSpPr>
      <p:grpSpPr>
        <a:xfrm>
          <a:off x="0" y="0"/>
          <a:ext cx="0" cy="0"/>
          <a:chOff x="0" y="0"/>
          <a:chExt cx="0" cy="0"/>
        </a:xfrm>
      </p:grpSpPr>
      <p:pic>
        <p:nvPicPr>
          <p:cNvPr id="10" name="Picture 3" descr="Z:\2018 Projects\NetApp\Demand Gen campaigns\FlexPod campaign (18-CL-0370-00287)\4815_Campaign Imagery (x4)\6_Final Files\NET_4784_FlexPod Demand Gen_Image_B_100518.png">
            <a:extLst>
              <a:ext uri="{FF2B5EF4-FFF2-40B4-BE49-F238E27FC236}">
                <a16:creationId xmlns:a16="http://schemas.microsoft.com/office/drawing/2014/main" id="{F2CA5487-D4F7-DD4F-B8A7-9E4D6E77BD9F}"/>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ctrTitle" hasCustomPrompt="1"/>
          </p:nvPr>
        </p:nvSpPr>
        <p:spPr>
          <a:xfrm>
            <a:off x="634714" y="3239836"/>
            <a:ext cx="6400579"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3" y="3929653"/>
            <a:ext cx="5529263" cy="829520"/>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pic>
        <p:nvPicPr>
          <p:cNvPr id="6" name="Picture 5" descr="Cisco_CMYKReversedLogo.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0670" y="4615716"/>
            <a:ext cx="573883" cy="301950"/>
          </a:xfrm>
          <a:prstGeom prst="rect">
            <a:avLst/>
          </a:prstGeom>
        </p:spPr>
      </p:pic>
      <p:pic>
        <p:nvPicPr>
          <p:cNvPr id="8" name="Picture 7" descr="na_logo_hrz_1c-rev_rgb_lrg.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12681" y="4738784"/>
            <a:ext cx="763962" cy="139366"/>
          </a:xfrm>
          <a:prstGeom prst="rect">
            <a:avLst/>
          </a:prstGeom>
        </p:spPr>
      </p:pic>
    </p:spTree>
    <p:extLst>
      <p:ext uri="{BB962C8B-B14F-4D97-AF65-F5344CB8AC3E}">
        <p14:creationId xmlns:p14="http://schemas.microsoft.com/office/powerpoint/2010/main" val="23342012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rgbClr val="FFFFFF"/>
        </a:solidFill>
        <a:effectLst/>
      </p:bgPr>
    </p:bg>
    <p:spTree>
      <p:nvGrpSpPr>
        <p:cNvPr id="1" name=""/>
        <p:cNvGrpSpPr/>
        <p:nvPr/>
      </p:nvGrpSpPr>
      <p:grpSpPr>
        <a:xfrm>
          <a:off x="0" y="0"/>
          <a:ext cx="0" cy="0"/>
          <a:chOff x="0" y="0"/>
          <a:chExt cx="0" cy="0"/>
        </a:xfrm>
      </p:grpSpPr>
      <p:pic>
        <p:nvPicPr>
          <p:cNvPr id="3" name="Picture 2" descr="FlexPod-shipping-containers-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5" y="3624163"/>
            <a:ext cx="5740498"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3" y="4313980"/>
            <a:ext cx="5529263" cy="829520"/>
          </a:xfrm>
          <a:prstGeom prst="rect">
            <a:avLst/>
          </a:prstGeom>
        </p:spPr>
        <p:txBody>
          <a:bodyPr/>
          <a:lstStyle>
            <a:lvl1pPr marL="0" indent="0" algn="l">
              <a:buNone/>
              <a:defRPr sz="1800">
                <a:solidFill>
                  <a:schemeClr val="tx2"/>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195734853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B">
    <p:bg>
      <p:bgPr>
        <a:solidFill>
          <a:srgbClr val="FFFFFF"/>
        </a:solidFill>
        <a:effectLst/>
      </p:bgPr>
    </p:bg>
    <p:spTree>
      <p:nvGrpSpPr>
        <p:cNvPr id="1" name=""/>
        <p:cNvGrpSpPr/>
        <p:nvPr/>
      </p:nvGrpSpPr>
      <p:grpSpPr>
        <a:xfrm>
          <a:off x="0" y="0"/>
          <a:ext cx="0" cy="0"/>
          <a:chOff x="0" y="0"/>
          <a:chExt cx="0" cy="0"/>
        </a:xfrm>
      </p:grpSpPr>
      <p:pic>
        <p:nvPicPr>
          <p:cNvPr id="2" name="Picture 1" descr="FlexPod-LA-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4" y="1382546"/>
            <a:ext cx="5707077"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3" y="2072364"/>
            <a:ext cx="5529263" cy="829520"/>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32526172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D">
    <p:bg>
      <p:bgPr>
        <a:solidFill>
          <a:srgbClr val="FFFFFF"/>
        </a:solidFill>
        <a:effectLst/>
      </p:bgPr>
    </p:bg>
    <p:spTree>
      <p:nvGrpSpPr>
        <p:cNvPr id="1" name=""/>
        <p:cNvGrpSpPr/>
        <p:nvPr/>
      </p:nvGrpSpPr>
      <p:grpSpPr>
        <a:xfrm>
          <a:off x="0" y="0"/>
          <a:ext cx="0" cy="0"/>
          <a:chOff x="0" y="0"/>
          <a:chExt cx="0" cy="0"/>
        </a:xfrm>
      </p:grpSpPr>
      <p:pic>
        <p:nvPicPr>
          <p:cNvPr id="2" name="Picture 1" descr="FSA-Image-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5" y="1382960"/>
            <a:ext cx="5840764"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3" y="2072778"/>
            <a:ext cx="5529263" cy="829520"/>
          </a:xfrm>
          <a:prstGeom prst="rect">
            <a:avLst/>
          </a:prstGeom>
        </p:spPr>
        <p:txBody>
          <a:bodyPr/>
          <a:lstStyle>
            <a:lvl1pPr marL="0" indent="0" algn="l">
              <a:buNone/>
              <a:defRPr sz="1800">
                <a:solidFill>
                  <a:schemeClr val="tx2"/>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139940228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BREAK SLIDE A">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4 at 12.49.21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9"/>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73913255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BREAK SLIDE B">
    <p:bg>
      <p:bgPr>
        <a:solidFill>
          <a:srgbClr val="FFFFFF"/>
        </a:solidFill>
        <a:effectLst/>
      </p:bgPr>
    </p:bg>
    <p:spTree>
      <p:nvGrpSpPr>
        <p:cNvPr id="1" name=""/>
        <p:cNvGrpSpPr/>
        <p:nvPr/>
      </p:nvGrpSpPr>
      <p:grpSpPr>
        <a:xfrm>
          <a:off x="0" y="0"/>
          <a:ext cx="0" cy="0"/>
          <a:chOff x="0" y="0"/>
          <a:chExt cx="0" cy="0"/>
        </a:xfrm>
      </p:grpSpPr>
      <p:pic>
        <p:nvPicPr>
          <p:cNvPr id="3" name="Picture 2" descr="Screen Shot 2016-07-13 at 2.49.37 PM.png"/>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a:stretch/>
        </p:blipFill>
        <p:spPr>
          <a:xfrm>
            <a:off x="0" y="2"/>
            <a:ext cx="9144000" cy="5166178"/>
          </a:xfrm>
          <a:prstGeom prst="rect">
            <a:avLst/>
          </a:prstGeom>
          <a:ln>
            <a:noFill/>
          </a:ln>
          <a:effectLst/>
        </p:spPr>
      </p:pic>
      <p:sp>
        <p:nvSpPr>
          <p:cNvPr id="9" name="Title 1"/>
          <p:cNvSpPr>
            <a:spLocks noGrp="1"/>
          </p:cNvSpPr>
          <p:nvPr>
            <p:ph type="ctrTitle" hasCustomPrompt="1"/>
          </p:nvPr>
        </p:nvSpPr>
        <p:spPr>
          <a:xfrm>
            <a:off x="803275" y="2046289"/>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253485328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BREAK SLIDE C">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4 at 4.26.1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9"/>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280322114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 SLIDE D">
    <p:bg>
      <p:bgPr>
        <a:solidFill>
          <a:srgbClr val="FFFFFF"/>
        </a:solidFill>
        <a:effectLst/>
      </p:bgPr>
    </p:bg>
    <p:spTree>
      <p:nvGrpSpPr>
        <p:cNvPr id="1" name=""/>
        <p:cNvGrpSpPr/>
        <p:nvPr/>
      </p:nvGrpSpPr>
      <p:grpSpPr>
        <a:xfrm>
          <a:off x="0" y="0"/>
          <a:ext cx="0" cy="0"/>
          <a:chOff x="0" y="0"/>
          <a:chExt cx="0" cy="0"/>
        </a:xfrm>
      </p:grpSpPr>
      <p:pic>
        <p:nvPicPr>
          <p:cNvPr id="3" name="Picture 2" descr="Screen Shot 2016-07-14 at 2.40.14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9"/>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5514976" y="4897259"/>
            <a:ext cx="3329393"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Tree>
    <p:extLst>
      <p:ext uri="{BB962C8B-B14F-4D97-AF65-F5344CB8AC3E}">
        <p14:creationId xmlns:p14="http://schemas.microsoft.com/office/powerpoint/2010/main" val="289874522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Subtitle and Two Columns">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
        <p:nvSpPr>
          <p:cNvPr id="5" name="Content Placeholder 4"/>
          <p:cNvSpPr>
            <a:spLocks noGrp="1"/>
          </p:cNvSpPr>
          <p:nvPr>
            <p:ph sz="quarter" idx="12"/>
          </p:nvPr>
        </p:nvSpPr>
        <p:spPr>
          <a:xfrm>
            <a:off x="4670227" y="1305596"/>
            <a:ext cx="411480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400">
                <a:solidFill>
                  <a:srgbClr val="000000"/>
                </a:solidFill>
              </a:defRPr>
            </a:lvl3pPr>
            <a:lvl4pPr marL="917414" indent="-228558">
              <a:spcBef>
                <a:spcPts val="400"/>
              </a:spcBef>
              <a:defRPr sz="1200">
                <a:solidFill>
                  <a:srgbClr val="000000"/>
                </a:solidFill>
              </a:defRPr>
            </a:lvl4pPr>
            <a:lvl5pPr marL="1150739" indent="-228558">
              <a:spcBef>
                <a:spcPts val="400"/>
              </a:spcBef>
              <a:defRPr sz="12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722992"/>
      </p:ext>
    </p:extLst>
  </p:cSld>
  <p:clrMapOvr>
    <a:masterClrMapping/>
  </p:clrMapOvr>
  <p:transition spd="slow">
    <p:circl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13_Title Slide">
    <p:bg>
      <p:bgPr>
        <a:solidFill>
          <a:srgbClr val="FFFFFF"/>
        </a:solidFill>
        <a:effectLst/>
      </p:bgPr>
    </p:bg>
    <p:spTree>
      <p:nvGrpSpPr>
        <p:cNvPr id="1" name=""/>
        <p:cNvGrpSpPr/>
        <p:nvPr/>
      </p:nvGrpSpPr>
      <p:grpSpPr>
        <a:xfrm>
          <a:off x="0" y="0"/>
          <a:ext cx="0" cy="0"/>
          <a:chOff x="0" y="0"/>
          <a:chExt cx="0" cy="0"/>
        </a:xfrm>
      </p:grpSpPr>
      <p:pic>
        <p:nvPicPr>
          <p:cNvPr id="2" name="Picture 1" descr="offset_379195.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4" name="Rectangle 3"/>
          <p:cNvSpPr/>
          <p:nvPr userDrawn="1"/>
        </p:nvSpPr>
        <p:spPr bwMode="auto">
          <a:xfrm>
            <a:off x="2" y="0"/>
            <a:ext cx="4775200" cy="5143500"/>
          </a:xfrm>
          <a:prstGeom prst="rect">
            <a:avLst/>
          </a:prstGeom>
          <a:solidFill>
            <a:srgbClr val="000000">
              <a:alpha val="66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1620" y="800101"/>
            <a:ext cx="3725381" cy="1980785"/>
          </a:xfrm>
          <a:prstGeom prst="rect">
            <a:avLst/>
          </a:prstGeom>
        </p:spPr>
        <p:txBody>
          <a:bodyPr anchor="t"/>
          <a:lstStyle>
            <a:lvl1pPr>
              <a:defRPr sz="2800" b="1">
                <a:solidFill>
                  <a:schemeClr val="bg1"/>
                </a:solidFill>
              </a:defRPr>
            </a:lvl1pPr>
          </a:lstStyle>
          <a:p>
            <a:r>
              <a:rPr lang="en-US"/>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2" y="259488"/>
            <a:ext cx="1380393" cy="199549"/>
          </a:xfrm>
          <a:prstGeom prst="rect">
            <a:avLst/>
          </a:prstGeom>
        </p:spPr>
      </p:pic>
    </p:spTree>
    <p:extLst>
      <p:ext uri="{BB962C8B-B14F-4D97-AF65-F5344CB8AC3E}">
        <p14:creationId xmlns:p14="http://schemas.microsoft.com/office/powerpoint/2010/main" val="65768771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6_Title Slide">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3 at 2.54.4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6" y="0"/>
            <a:ext cx="9144006" cy="5143500"/>
          </a:xfrm>
          <a:prstGeom prst="rect">
            <a:avLst/>
          </a:prstGeom>
        </p:spPr>
      </p:pic>
      <p:sp>
        <p:nvSpPr>
          <p:cNvPr id="7" name="Rectangle 6"/>
          <p:cNvSpPr/>
          <p:nvPr userDrawn="1"/>
        </p:nvSpPr>
        <p:spPr bwMode="auto">
          <a:xfrm>
            <a:off x="1" y="0"/>
            <a:ext cx="6984775" cy="5143500"/>
          </a:xfrm>
          <a:prstGeom prst="rect">
            <a:avLst/>
          </a:prstGeom>
          <a:solidFill>
            <a:srgbClr val="000000">
              <a:alpha val="77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2" y="259488"/>
            <a:ext cx="1380393" cy="199549"/>
          </a:xfrm>
          <a:prstGeom prst="rect">
            <a:avLst/>
          </a:prstGeom>
        </p:spPr>
      </p:pic>
    </p:spTree>
    <p:extLst>
      <p:ext uri="{BB962C8B-B14F-4D97-AF65-F5344CB8AC3E}">
        <p14:creationId xmlns:p14="http://schemas.microsoft.com/office/powerpoint/2010/main" val="33864830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6" y="1276351"/>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6" y="0"/>
            <a:ext cx="3948545" cy="5143500"/>
          </a:xfrm>
          <a:prstGeom prst="rect">
            <a:avLst/>
          </a:prstGeom>
          <a:solidFill>
            <a:srgbClr val="3C3939"/>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576836" y="4897259"/>
            <a:ext cx="3267533"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
        <p:nvSpPr>
          <p:cNvPr id="3" name="Title 2">
            <a:extLst>
              <a:ext uri="{FF2B5EF4-FFF2-40B4-BE49-F238E27FC236}">
                <a16:creationId xmlns:a16="http://schemas.microsoft.com/office/drawing/2014/main" id="{0F7570A9-27A2-EF4A-B40C-6B709109FB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844208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6" y="1835150"/>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6" y="0"/>
            <a:ext cx="3948545" cy="5143500"/>
          </a:xfrm>
          <a:prstGeom prst="rect">
            <a:avLst/>
          </a:prstGeom>
          <a:solidFill>
            <a:srgbClr val="0B568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
        <p:nvSpPr>
          <p:cNvPr id="7" name="TextBox 6">
            <a:extLst>
              <a:ext uri="{FF2B5EF4-FFF2-40B4-BE49-F238E27FC236}">
                <a16:creationId xmlns:a16="http://schemas.microsoft.com/office/drawing/2014/main" id="{D6CC2215-1C1C-5340-AA56-E2E60613F0BC}"/>
              </a:ext>
            </a:extLst>
          </p:cNvPr>
          <p:cNvSpPr txBox="1"/>
          <p:nvPr userDrawn="1"/>
        </p:nvSpPr>
        <p:spPr>
          <a:xfrm>
            <a:off x="5722571" y="4897259"/>
            <a:ext cx="3121798"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sp>
        <p:nvSpPr>
          <p:cNvPr id="2" name="Title 1">
            <a:extLst>
              <a:ext uri="{FF2B5EF4-FFF2-40B4-BE49-F238E27FC236}">
                <a16:creationId xmlns:a16="http://schemas.microsoft.com/office/drawing/2014/main" id="{49E42035-9EFD-1340-A1C6-49745E7FBAC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6280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6" y="1835150"/>
            <a:ext cx="4458656" cy="3157305"/>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6" y="0"/>
            <a:ext cx="3948545" cy="5143500"/>
          </a:xfrm>
          <a:prstGeom prst="rect">
            <a:avLst/>
          </a:prstGeom>
          <a:solidFill>
            <a:srgbClr val="6FB53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320603" y="4897259"/>
            <a:ext cx="3523766" cy="184666"/>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11" name="Picture 10"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1" y="258938"/>
            <a:ext cx="1377104" cy="200646"/>
          </a:xfrm>
          <a:prstGeom prst="rect">
            <a:avLst/>
          </a:prstGeom>
        </p:spPr>
      </p:pic>
      <p:sp>
        <p:nvSpPr>
          <p:cNvPr id="2" name="Title 1">
            <a:extLst>
              <a:ext uri="{FF2B5EF4-FFF2-40B4-BE49-F238E27FC236}">
                <a16:creationId xmlns:a16="http://schemas.microsoft.com/office/drawing/2014/main" id="{18035722-CC8A-6342-B3F0-EE6ED4ABE1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826903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hasCustomPrompt="1"/>
          </p:nvPr>
        </p:nvSpPr>
        <p:spPr>
          <a:xfrm>
            <a:off x="228600" y="1846516"/>
            <a:ext cx="8534400" cy="2372961"/>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1" hasCustomPrompt="1"/>
          </p:nvPr>
        </p:nvSpPr>
        <p:spPr bwMode="gray">
          <a:xfrm>
            <a:off x="153245" y="1023963"/>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
        <p:nvSpPr>
          <p:cNvPr id="2" name="Title 1">
            <a:extLst>
              <a:ext uri="{FF2B5EF4-FFF2-40B4-BE49-F238E27FC236}">
                <a16:creationId xmlns:a16="http://schemas.microsoft.com/office/drawing/2014/main" id="{4CEB9B17-8DEB-D64E-A562-77A793E139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557495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597355"/>
            <a:ext cx="8534245" cy="2871283"/>
          </a:xfrm>
          <a:prstGeom prst="rect">
            <a:avLst/>
          </a:prstGeom>
        </p:spPr>
        <p:txBody>
          <a:bodyPr>
            <a:noAutofit/>
          </a:bodyPr>
          <a:lstStyle>
            <a:lvl1pPr marL="233315" indent="-233315">
              <a:spcBef>
                <a:spcPts val="600"/>
              </a:spcBef>
              <a:defRPr>
                <a:solidFill>
                  <a:srgbClr val="000000"/>
                </a:solidFill>
              </a:defRPr>
            </a:lvl1pPr>
            <a:lvl2pPr marL="457106" indent="-233315">
              <a:spcBef>
                <a:spcPts val="400"/>
              </a:spcBef>
              <a:defRPr>
                <a:solidFill>
                  <a:srgbClr val="000000"/>
                </a:solidFill>
              </a:defRPr>
            </a:lvl2pPr>
            <a:lvl3pPr marL="693602" indent="-228552">
              <a:spcBef>
                <a:spcPts val="400"/>
              </a:spcBef>
              <a:defRPr sz="1800">
                <a:solidFill>
                  <a:srgbClr val="000000"/>
                </a:solidFill>
              </a:defRPr>
            </a:lvl3pPr>
            <a:lvl4pPr marL="917391" indent="-228552">
              <a:spcBef>
                <a:spcPts val="400"/>
              </a:spcBef>
              <a:defRPr sz="1600">
                <a:solidFill>
                  <a:srgbClr val="000000"/>
                </a:solidFill>
              </a:defRPr>
            </a:lvl4pPr>
            <a:lvl5pPr marL="1150710" indent="-228552">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A4722D9-D1DB-A447-BC8C-87FE2BDBE7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624693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Virtual Cloud">
    <p:bg>
      <p:bgPr>
        <a:solidFill>
          <a:schemeClr val="bg1"/>
        </a:solidFill>
        <a:effectLst/>
      </p:bgPr>
    </p:bg>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4" y="258764"/>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281442"/>
      </p:ext>
    </p:extLst>
  </p:cSld>
  <p:clrMapOvr>
    <a:masterClrMapping/>
  </p:clrMapOvr>
  <p:transition spd="slow">
    <p:circl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Virtual Cloud">
    <p:bg>
      <p:bgPr>
        <a:solidFill>
          <a:schemeClr val="bg1"/>
        </a:solidFill>
        <a:effectLst/>
      </p:bgPr>
    </p:bg>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4" y="258764"/>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
        <p:nvSpPr>
          <p:cNvPr id="4" name="Text Placeholder 2">
            <a:extLst>
              <a:ext uri="{FF2B5EF4-FFF2-40B4-BE49-F238E27FC236}">
                <a16:creationId xmlns:a16="http://schemas.microsoft.com/office/drawing/2014/main" id="{F92D8BE6-5C54-284A-B4C2-991079421B9F}"/>
              </a:ext>
            </a:extLst>
          </p:cNvPr>
          <p:cNvSpPr>
            <a:spLocks noGrp="1"/>
          </p:cNvSpPr>
          <p:nvPr>
            <p:ph type="body" idx="11" hasCustomPrompt="1"/>
          </p:nvPr>
        </p:nvSpPr>
        <p:spPr bwMode="gray">
          <a:xfrm>
            <a:off x="153245" y="1023963"/>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Tree>
    <p:extLst>
      <p:ext uri="{BB962C8B-B14F-4D97-AF65-F5344CB8AC3E}">
        <p14:creationId xmlns:p14="http://schemas.microsoft.com/office/powerpoint/2010/main" val="1505971609"/>
      </p:ext>
    </p:extLst>
  </p:cSld>
  <p:clrMapOvr>
    <a:masterClrMapping/>
  </p:clrMapOvr>
  <p:transition spd="slow">
    <p:circl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8559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2956808288"/>
      </p:ext>
    </p:extLst>
  </p:cSld>
  <p:clrMapOvr>
    <a:masterClrMapping/>
  </p:clrMapOvr>
  <p:transition spd="slow">
    <p:circl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Virtual Cloud">
    <p:bg>
      <p:bgPr>
        <a:solidFill>
          <a:schemeClr val="bg1"/>
        </a:solidFill>
        <a:effectLst/>
      </p:bgPr>
    </p:bg>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FFE91D8F-60AF-49E2-A000-E17EFA23B71D}"/>
              </a:ext>
            </a:extLst>
          </p:cNvPr>
          <p:cNvCxnSpPr>
            <a:cxnSpLocks noChangeShapeType="1"/>
          </p:cNvCxnSpPr>
          <p:nvPr userDrawn="1"/>
        </p:nvCxnSpPr>
        <p:spPr bwMode="auto">
          <a:xfrm>
            <a:off x="0" y="25400"/>
            <a:ext cx="9144000" cy="0"/>
          </a:xfrm>
          <a:prstGeom prst="line">
            <a:avLst/>
          </a:prstGeom>
          <a:noFill/>
          <a:ln w="50800">
            <a:solidFill>
              <a:srgbClr val="2497D5"/>
            </a:solidFill>
            <a:round/>
            <a:headEnd/>
            <a:tailEnd/>
          </a:ln>
          <a:extLst>
            <a:ext uri="{909E8E84-426E-40DD-AFC4-6F175D3DCCD1}">
              <a14:hiddenFill xmlns:a14="http://schemas.microsoft.com/office/drawing/2010/main">
                <a:noFill/>
              </a14:hiddenFill>
            </a:ext>
          </a:extLst>
        </p:spPr>
      </p:cxnSp>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402514" y="258764"/>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66BF7BD-4C5D-484B-9984-3573D983CD7B}"/>
              </a:ext>
            </a:extLst>
          </p:cNvPr>
          <p:cNvSpPr txBox="1"/>
          <p:nvPr userDrawn="1"/>
        </p:nvSpPr>
        <p:spPr>
          <a:xfrm>
            <a:off x="5562601" y="4897438"/>
            <a:ext cx="3281363" cy="184666"/>
          </a:xfrm>
          <a:prstGeom prst="rect">
            <a:avLst/>
          </a:prstGeom>
          <a:noFill/>
        </p:spPr>
        <p:txBody>
          <a:bodyPr>
            <a:spAutoFit/>
          </a:bodyPr>
          <a:lstStyle/>
          <a:p>
            <a:pPr algn="r" eaLnBrk="1" hangingPunct="1">
              <a:buClr>
                <a:schemeClr val="accent3"/>
              </a:buClr>
              <a:defRPr/>
            </a:pPr>
            <a:r>
              <a:rPr lang="en-US" sz="600">
                <a:latin typeface="Arial" charset="0"/>
              </a:rPr>
              <a:t>© 2019 Cisco and NetApp. All rights reserved. NetApp Confidential - Limited Use Only</a:t>
            </a:r>
          </a:p>
        </p:txBody>
      </p:sp>
      <p:sp>
        <p:nvSpPr>
          <p:cNvPr id="9" name="Title 1"/>
          <p:cNvSpPr>
            <a:spLocks noGrp="1"/>
          </p:cNvSpPr>
          <p:nvPr>
            <p:ph type="ctrTitle"/>
          </p:nvPr>
        </p:nvSpPr>
        <p:spPr>
          <a:xfrm>
            <a:off x="278058" y="259487"/>
            <a:ext cx="7521556" cy="437508"/>
          </a:xfrm>
          <a:prstGeom prst="rect">
            <a:avLst/>
          </a:prstGeom>
        </p:spPr>
        <p:txBody>
          <a:bodyPr anchor="t"/>
          <a:lstStyle>
            <a:lvl1pPr>
              <a:defRPr sz="2800" b="1">
                <a:solidFill>
                  <a:schemeClr val="tx1"/>
                </a:solidFill>
              </a:defRPr>
            </a:lvl1pPr>
          </a:lstStyle>
          <a:p>
            <a:r>
              <a:rPr lang="en-US"/>
              <a:t>Click to edit Master title style</a:t>
            </a:r>
          </a:p>
        </p:txBody>
      </p:sp>
      <p:sp>
        <p:nvSpPr>
          <p:cNvPr id="14" name="Text Placeholder 13"/>
          <p:cNvSpPr>
            <a:spLocks noGrp="1"/>
          </p:cNvSpPr>
          <p:nvPr>
            <p:ph type="body" sz="quarter" idx="10"/>
          </p:nvPr>
        </p:nvSpPr>
        <p:spPr>
          <a:xfrm>
            <a:off x="278059" y="1191987"/>
            <a:ext cx="8566310" cy="3532414"/>
          </a:xfrm>
        </p:spPr>
        <p:txBody>
          <a:bodyPr/>
          <a:lstStyle>
            <a:lvl1pPr>
              <a:buClrTx/>
              <a:defRPr sz="1500"/>
            </a:lvl1pPr>
            <a:lvl2pPr>
              <a:buClrTx/>
              <a:defRPr sz="1200"/>
            </a:lvl2pPr>
            <a:lvl3pPr>
              <a:buClrTx/>
              <a:defRPr sz="1200"/>
            </a:lvl3pPr>
            <a:lvl4pPr>
              <a:buClrTx/>
              <a:defRPr sz="1200"/>
            </a:lvl4pPr>
            <a:lvl5pPr>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0481573"/>
      </p:ext>
    </p:extLst>
  </p:cSld>
  <p:clrMapOvr>
    <a:masterClrMapping/>
  </p:clrMapOvr>
  <p:transition spd="slow">
    <p:circl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Heading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6F9F80A8-1020-4CD0-89A5-C65DDC8911FC}"/>
              </a:ext>
            </a:extLst>
          </p:cNvPr>
          <p:cNvSpPr>
            <a:spLocks noGrp="1"/>
          </p:cNvSpPr>
          <p:nvPr>
            <p:ph type="ftr" sz="quarter" idx="10"/>
          </p:nvPr>
        </p:nvSpPr>
        <p:spPr>
          <a:xfrm>
            <a:off x="0" y="0"/>
            <a:ext cx="0" cy="0"/>
          </a:xfrm>
        </p:spPr>
        <p:txBody>
          <a:bodyPr/>
          <a:lstStyle>
            <a:lvl1pPr>
              <a:defRPr dirty="0">
                <a:hlinkClick r:id="" action="ppaction://noaction"/>
              </a:defRPr>
            </a:lvl1pPr>
          </a:lstStyle>
          <a:p>
            <a:pPr>
              <a:defRPr/>
            </a:pPr>
            <a:endParaRPr lang="en-US"/>
          </a:p>
        </p:txBody>
      </p:sp>
    </p:spTree>
    <p:extLst>
      <p:ext uri="{BB962C8B-B14F-4D97-AF65-F5344CB8AC3E}">
        <p14:creationId xmlns:p14="http://schemas.microsoft.com/office/powerpoint/2010/main" val="170702512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7358" y="1939771"/>
            <a:ext cx="5599655"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347372"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2"/>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grpSp>
        <p:nvGrpSpPr>
          <p:cNvPr id="11" name="Group 10">
            <a:extLst>
              <a:ext uri="{FF2B5EF4-FFF2-40B4-BE49-F238E27FC236}">
                <a16:creationId xmlns:a16="http://schemas.microsoft.com/office/drawing/2014/main" id="{A2B401C0-FAD9-4B0E-B809-84C34B2AF070}"/>
              </a:ext>
            </a:extLst>
          </p:cNvPr>
          <p:cNvGrpSpPr>
            <a:grpSpLocks noChangeAspect="1"/>
          </p:cNvGrpSpPr>
          <p:nvPr userDrawn="1"/>
        </p:nvGrpSpPr>
        <p:grpSpPr>
          <a:xfrm>
            <a:off x="6308665" y="2"/>
            <a:ext cx="2837639" cy="4141222"/>
            <a:chOff x="8207212" y="0"/>
            <a:chExt cx="3981613" cy="5812241"/>
          </a:xfrm>
        </p:grpSpPr>
        <p:pic>
          <p:nvPicPr>
            <p:cNvPr id="13" name="Picture 12">
              <a:extLst>
                <a:ext uri="{FF2B5EF4-FFF2-40B4-BE49-F238E27FC236}">
                  <a16:creationId xmlns:a16="http://schemas.microsoft.com/office/drawing/2014/main" id="{76BE7FCD-5FE5-4C5E-9560-AD1D7BB3F8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04445" y="1655064"/>
              <a:ext cx="1325880" cy="1105145"/>
            </a:xfrm>
            <a:prstGeom prst="rect">
              <a:avLst/>
            </a:prstGeom>
          </p:spPr>
        </p:pic>
        <p:sp>
          <p:nvSpPr>
            <p:cNvPr id="14" name="Rectangle 13">
              <a:extLst>
                <a:ext uri="{FF2B5EF4-FFF2-40B4-BE49-F238E27FC236}">
                  <a16:creationId xmlns:a16="http://schemas.microsoft.com/office/drawing/2014/main" id="{258BB352-F1D8-4E7A-9C0C-57F3B548677C}"/>
                </a:ext>
              </a:extLst>
            </p:cNvPr>
            <p:cNvSpPr>
              <a:spLocks noChangeAspect="1"/>
            </p:cNvSpPr>
            <p:nvPr/>
          </p:nvSpPr>
          <p:spPr>
            <a:xfrm>
              <a:off x="10530325" y="0"/>
              <a:ext cx="1658500" cy="1655064"/>
            </a:xfrm>
            <a:prstGeom prst="rect">
              <a:avLst/>
            </a:prstGeom>
            <a:solidFill>
              <a:srgbClr val="02773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7" name="Rectangle 16">
              <a:extLst>
                <a:ext uri="{FF2B5EF4-FFF2-40B4-BE49-F238E27FC236}">
                  <a16:creationId xmlns:a16="http://schemas.microsoft.com/office/drawing/2014/main" id="{4BE8051A-EBEA-4D4B-864C-587B681D762C}"/>
                </a:ext>
              </a:extLst>
            </p:cNvPr>
            <p:cNvSpPr>
              <a:spLocks noChangeAspect="1"/>
            </p:cNvSpPr>
            <p:nvPr/>
          </p:nvSpPr>
          <p:spPr>
            <a:xfrm>
              <a:off x="8454100" y="906808"/>
              <a:ext cx="749808" cy="748256"/>
            </a:xfrm>
            <a:prstGeom prst="rect">
              <a:avLst/>
            </a:prstGeom>
            <a:solidFill>
              <a:srgbClr val="00322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8" name="Rectangle 17">
              <a:extLst>
                <a:ext uri="{FF2B5EF4-FFF2-40B4-BE49-F238E27FC236}">
                  <a16:creationId xmlns:a16="http://schemas.microsoft.com/office/drawing/2014/main" id="{F94F1F5E-3095-4757-A98B-A7926C9CD2F2}"/>
                </a:ext>
              </a:extLst>
            </p:cNvPr>
            <p:cNvSpPr>
              <a:spLocks noChangeAspect="1"/>
            </p:cNvSpPr>
            <p:nvPr/>
          </p:nvSpPr>
          <p:spPr>
            <a:xfrm>
              <a:off x="8207212" y="2760209"/>
              <a:ext cx="996696" cy="994632"/>
            </a:xfrm>
            <a:prstGeom prst="rect">
              <a:avLst/>
            </a:prstGeom>
            <a:solidFill>
              <a:srgbClr val="BCDD7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19" name="Rectangle 18">
              <a:extLst>
                <a:ext uri="{FF2B5EF4-FFF2-40B4-BE49-F238E27FC236}">
                  <a16:creationId xmlns:a16="http://schemas.microsoft.com/office/drawing/2014/main" id="{62EAF146-DE9D-40E3-A5A8-A8D6061B809B}"/>
                </a:ext>
              </a:extLst>
            </p:cNvPr>
            <p:cNvSpPr>
              <a:spLocks noChangeAspect="1"/>
            </p:cNvSpPr>
            <p:nvPr/>
          </p:nvSpPr>
          <p:spPr>
            <a:xfrm>
              <a:off x="9203908" y="3754841"/>
              <a:ext cx="2057400" cy="2057400"/>
            </a:xfrm>
            <a:prstGeom prst="rect">
              <a:avLst/>
            </a:prstGeom>
            <a:solidFill>
              <a:srgbClr val="4AB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grpSp>
    </p:spTree>
    <p:extLst>
      <p:ext uri="{BB962C8B-B14F-4D97-AF65-F5344CB8AC3E}">
        <p14:creationId xmlns:p14="http://schemas.microsoft.com/office/powerpoint/2010/main" val="2652109149"/>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1F689-3696-41C6-A1AF-AB2AFA9B50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43679" y="1"/>
            <a:ext cx="3800321" cy="2810590"/>
          </a:xfrm>
          <a:prstGeom prst="rect">
            <a:avLst/>
          </a:prstGeom>
        </p:spPr>
      </p:pic>
      <p:sp>
        <p:nvSpPr>
          <p:cNvPr id="2" name="Title 1"/>
          <p:cNvSpPr>
            <a:spLocks noGrp="1"/>
          </p:cNvSpPr>
          <p:nvPr>
            <p:ph type="ctrTitle" hasCustomPrompt="1"/>
          </p:nvPr>
        </p:nvSpPr>
        <p:spPr bwMode="gray">
          <a:xfrm>
            <a:off x="557358" y="1939771"/>
            <a:ext cx="6791189"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791189"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3"/>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spTree>
    <p:extLst>
      <p:ext uri="{BB962C8B-B14F-4D97-AF65-F5344CB8AC3E}">
        <p14:creationId xmlns:p14="http://schemas.microsoft.com/office/powerpoint/2010/main" val="1288085717"/>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489AFE-A44B-4116-8BEE-531DA422A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10092" y="-6927"/>
            <a:ext cx="3833908" cy="3147822"/>
          </a:xfrm>
          <a:prstGeom prst="rect">
            <a:avLst/>
          </a:prstGeom>
        </p:spPr>
      </p:pic>
      <p:sp>
        <p:nvSpPr>
          <p:cNvPr id="2" name="Title 1"/>
          <p:cNvSpPr>
            <a:spLocks noGrp="1"/>
          </p:cNvSpPr>
          <p:nvPr>
            <p:ph type="ctrTitle" hasCustomPrompt="1"/>
          </p:nvPr>
        </p:nvSpPr>
        <p:spPr bwMode="gray">
          <a:xfrm>
            <a:off x="557358" y="1939771"/>
            <a:ext cx="6791189" cy="1102519"/>
          </a:xfrm>
        </p:spPr>
        <p:txBody>
          <a:bodyPr wrap="square" lIns="91521" tIns="45761" rIns="91440" bIns="45761">
            <a:noAutofit/>
          </a:bodyPr>
          <a:lstStyle>
            <a:lvl1pPr algn="l">
              <a:lnSpc>
                <a:spcPct val="95000"/>
              </a:lnSpc>
              <a:defRPr sz="3300" b="0">
                <a:solidFill>
                  <a:schemeClr val="tx1"/>
                </a:solidFill>
              </a:defRPr>
            </a:lvl1pPr>
          </a:lstStyle>
          <a:p>
            <a:r>
              <a:rPr lang="en-US" dirty="0"/>
              <a:t>Click to Edit Master Title Style</a:t>
            </a:r>
          </a:p>
        </p:txBody>
      </p:sp>
      <p:sp>
        <p:nvSpPr>
          <p:cNvPr id="25" name="Text Placeholder 24"/>
          <p:cNvSpPr>
            <a:spLocks noGrp="1"/>
          </p:cNvSpPr>
          <p:nvPr>
            <p:ph type="body" sz="quarter" idx="10" hasCustomPrompt="1"/>
          </p:nvPr>
        </p:nvSpPr>
        <p:spPr bwMode="gray">
          <a:xfrm>
            <a:off x="557358" y="3021008"/>
            <a:ext cx="6791189" cy="840263"/>
          </a:xfrm>
        </p:spPr>
        <p:txBody>
          <a:bodyPr wrap="square" lIns="91521" tIns="45761" rIns="91440" bIns="45761">
            <a:noAutofit/>
          </a:bodyPr>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dirty="0"/>
              <a:t>Click to edit master text styles</a:t>
            </a:r>
          </a:p>
        </p:txBody>
      </p:sp>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A8C32CF-CE42-4CC7-A1AD-548B295F266E}"/>
              </a:ext>
            </a:extLst>
          </p:cNvPr>
          <p:cNvPicPr>
            <a:picLocks noChangeAspect="1"/>
          </p:cNvPicPr>
          <p:nvPr userDrawn="1"/>
        </p:nvPicPr>
        <p:blipFill>
          <a:blip r:embed="rId3"/>
          <a:stretch>
            <a:fillRect/>
          </a:stretch>
        </p:blipFill>
        <p:spPr>
          <a:xfrm>
            <a:off x="627623" y="742950"/>
            <a:ext cx="1371957" cy="251460"/>
          </a:xfrm>
          <a:prstGeom prst="rect">
            <a:avLst/>
          </a:prstGeom>
        </p:spPr>
      </p:pic>
      <p:sp>
        <p:nvSpPr>
          <p:cNvPr id="5" name="Text Placeholder 4"/>
          <p:cNvSpPr>
            <a:spLocks noGrp="1"/>
          </p:cNvSpPr>
          <p:nvPr>
            <p:ph type="body" sz="quarter" idx="11" hasCustomPrompt="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Name</a:t>
            </a:r>
          </a:p>
        </p:txBody>
      </p:sp>
      <p:sp>
        <p:nvSpPr>
          <p:cNvPr id="15" name="Text Placeholder 4"/>
          <p:cNvSpPr>
            <a:spLocks noGrp="1"/>
          </p:cNvSpPr>
          <p:nvPr>
            <p:ph type="body" sz="quarter" idx="12" hasCustomPrompt="1"/>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Presenter’s Title</a:t>
            </a:r>
          </a:p>
        </p:txBody>
      </p:sp>
      <p:sp>
        <p:nvSpPr>
          <p:cNvPr id="16" name="Text Placeholder 4"/>
          <p:cNvSpPr>
            <a:spLocks noGrp="1"/>
          </p:cNvSpPr>
          <p:nvPr>
            <p:ph type="body" sz="quarter" idx="13" hasCustomPrompt="1"/>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dirty="0"/>
              <a:t>Date</a:t>
            </a:r>
          </a:p>
        </p:txBody>
      </p:sp>
    </p:spTree>
    <p:extLst>
      <p:ext uri="{BB962C8B-B14F-4D97-AF65-F5344CB8AC3E}">
        <p14:creationId xmlns:p14="http://schemas.microsoft.com/office/powerpoint/2010/main" val="2002997946"/>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A3E5A4-8CB8-4966-9F87-6858B16140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62" y="1"/>
            <a:ext cx="9134239" cy="1716790"/>
          </a:xfrm>
          <a:prstGeom prst="rect">
            <a:avLst/>
          </a:prstGeom>
        </p:spPr>
      </p:pic>
      <p:sp>
        <p:nvSpPr>
          <p:cNvPr id="25" name="Text Placeholder 24"/>
          <p:cNvSpPr>
            <a:spLocks noGrp="1"/>
          </p:cNvSpPr>
          <p:nvPr>
            <p:ph type="body" sz="quarter" idx="10" hasCustomPrompt="1"/>
          </p:nvPr>
        </p:nvSpPr>
        <p:spPr bwMode="auto">
          <a:xfrm>
            <a:off x="1179294" y="3064061"/>
            <a:ext cx="6785365" cy="696142"/>
          </a:xfrm>
        </p:spPr>
        <p:txBody>
          <a:bodyPr wrap="square" lIns="91521">
            <a:noAutofit/>
          </a:bodyPr>
          <a:lstStyle>
            <a:lvl1pPr marL="0" indent="0">
              <a:lnSpc>
                <a:spcPct val="85000"/>
              </a:lnSpc>
              <a:spcBef>
                <a:spcPts val="0"/>
              </a:spcBef>
              <a:spcAft>
                <a:spcPts val="450"/>
              </a:spcAft>
              <a:buFontTx/>
              <a:buNone/>
              <a:defRPr sz="1650" b="0">
                <a:solidFill>
                  <a:schemeClr val="accent1"/>
                </a:solidFill>
              </a:defRPr>
            </a:lvl1pPr>
            <a:lvl2pPr marL="86994" indent="-86994">
              <a:lnSpc>
                <a:spcPct val="85000"/>
              </a:lnSpc>
              <a:buFont typeface="Arial" panose="020B0604020202020204" pitchFamily="34" charset="0"/>
              <a:buChar char=" "/>
              <a:defRPr sz="1725" b="0">
                <a:solidFill>
                  <a:schemeClr val="bg2"/>
                </a:solidFill>
              </a:defRPr>
            </a:lvl2pPr>
            <a:lvl3pPr marL="86994" indent="-86994">
              <a:lnSpc>
                <a:spcPct val="85000"/>
              </a:lnSpc>
              <a:buFont typeface="Arial" panose="020B0604020202020204" pitchFamily="34" charset="0"/>
              <a:buChar char=" "/>
              <a:defRPr sz="1725" b="0">
                <a:solidFill>
                  <a:schemeClr val="bg2"/>
                </a:solidFill>
              </a:defRPr>
            </a:lvl3pPr>
            <a:lvl4pPr marL="86994" indent="-86994">
              <a:lnSpc>
                <a:spcPct val="85000"/>
              </a:lnSpc>
              <a:buFont typeface="Arial" panose="020B0604020202020204" pitchFamily="34" charset="0"/>
              <a:buChar char=" "/>
              <a:defRPr sz="1725" b="0">
                <a:solidFill>
                  <a:schemeClr val="bg2"/>
                </a:solidFill>
              </a:defRPr>
            </a:lvl4pPr>
            <a:lvl5pPr marL="86994" indent="-86994">
              <a:lnSpc>
                <a:spcPct val="85000"/>
              </a:lnSpc>
              <a:buFont typeface="Arial" panose="020B0604020202020204" pitchFamily="34" charset="0"/>
              <a:buChar char=" "/>
              <a:defRPr sz="1725" b="0">
                <a:solidFill>
                  <a:schemeClr val="bg2"/>
                </a:solidFill>
              </a:defRPr>
            </a:lvl5pPr>
          </a:lstStyle>
          <a:p>
            <a:pPr lvl="0"/>
            <a:r>
              <a:rPr lang="en-US" dirty="0"/>
              <a:t>Click to edit master text styles</a:t>
            </a:r>
          </a:p>
        </p:txBody>
      </p:sp>
      <p:sp>
        <p:nvSpPr>
          <p:cNvPr id="2" name="Title 1"/>
          <p:cNvSpPr>
            <a:spLocks noGrp="1"/>
          </p:cNvSpPr>
          <p:nvPr>
            <p:ph type="ctrTitle" hasCustomPrompt="1"/>
          </p:nvPr>
        </p:nvSpPr>
        <p:spPr bwMode="auto">
          <a:xfrm>
            <a:off x="1179292" y="1939770"/>
            <a:ext cx="6785366" cy="1104138"/>
          </a:xfrm>
        </p:spPr>
        <p:txBody>
          <a:bodyPr wrap="square" lIns="91521">
            <a:noAutofit/>
          </a:bodyPr>
          <a:lstStyle>
            <a:lvl1pPr algn="l">
              <a:lnSpc>
                <a:spcPct val="95000"/>
              </a:lnSpc>
              <a:defRPr sz="3300" b="0">
                <a:solidFill>
                  <a:schemeClr val="tx1"/>
                </a:solidFill>
              </a:defRPr>
            </a:lvl1pPr>
          </a:lstStyle>
          <a:p>
            <a:r>
              <a:rPr lang="en-US" dirty="0"/>
              <a:t>Click to Edit Master Title Style</a:t>
            </a:r>
          </a:p>
        </p:txBody>
      </p:sp>
      <p:sp>
        <p:nvSpPr>
          <p:cNvPr id="29"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3" name="Picture 12"/>
          <p:cNvPicPr>
            <a:picLocks noChangeAspect="1"/>
          </p:cNvPicPr>
          <p:nvPr userDrawn="1"/>
        </p:nvPicPr>
        <p:blipFill>
          <a:blip r:embed="rId3"/>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pic>
        <p:nvPicPr>
          <p:cNvPr id="9" name="Picture 8">
            <a:extLst>
              <a:ext uri="{FF2B5EF4-FFF2-40B4-BE49-F238E27FC236}">
                <a16:creationId xmlns:a16="http://schemas.microsoft.com/office/drawing/2014/main" id="{288716FB-C701-449A-8043-5F0611D035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0" y="1"/>
            <a:ext cx="2059771" cy="1716790"/>
          </a:xfrm>
          <a:prstGeom prst="rect">
            <a:avLst/>
          </a:prstGeom>
        </p:spPr>
      </p:pic>
    </p:spTree>
    <p:extLst>
      <p:ext uri="{BB962C8B-B14F-4D97-AF65-F5344CB8AC3E}">
        <p14:creationId xmlns:p14="http://schemas.microsoft.com/office/powerpoint/2010/main" val="1601381320"/>
      </p:ext>
    </p:extLst>
  </p:cSld>
  <p:clrMapOvr>
    <a:masterClrMapping/>
  </p:clrMapOvr>
  <p:transition spd="med">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97274" y="174288"/>
            <a:ext cx="4939046" cy="684556"/>
          </a:xfrm>
        </p:spPr>
        <p:txBody>
          <a:bodyPr wrap="square" lIns="91521">
            <a:noAutofit/>
          </a:bodyPr>
          <a:lstStyle>
            <a:lvl1pPr>
              <a:defRPr sz="2250"/>
            </a:lvl1pPr>
          </a:lstStyle>
          <a:p>
            <a:r>
              <a:rPr lang="en-US" dirty="0"/>
              <a:t>Click to Edit Master Title Style</a:t>
            </a:r>
          </a:p>
        </p:txBody>
      </p:sp>
      <p:sp>
        <p:nvSpPr>
          <p:cNvPr id="50" name="Content Placeholder 39"/>
          <p:cNvSpPr>
            <a:spLocks noGrp="1"/>
          </p:cNvSpPr>
          <p:nvPr>
            <p:ph sz="quarter" idx="15" hasCustomPrompt="1"/>
          </p:nvPr>
        </p:nvSpPr>
        <p:spPr bwMode="gray">
          <a:xfrm>
            <a:off x="197273" y="1300068"/>
            <a:ext cx="4458861" cy="3360041"/>
          </a:xfrm>
        </p:spPr>
        <p:txBody>
          <a:bodyPr wrap="square" lIns="91521">
            <a:noAutofit/>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idx="10" hasCustomPrompt="1"/>
          </p:nvPr>
        </p:nvSpPr>
        <p:spPr bwMode="gray">
          <a:xfrm>
            <a:off x="197273" y="829815"/>
            <a:ext cx="4939046"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grpSp>
        <p:nvGrpSpPr>
          <p:cNvPr id="2" name="Group 1">
            <a:extLst>
              <a:ext uri="{FF2B5EF4-FFF2-40B4-BE49-F238E27FC236}">
                <a16:creationId xmlns:a16="http://schemas.microsoft.com/office/drawing/2014/main" id="{92B1DE7B-9588-45A9-B4CA-A749F744B516}"/>
              </a:ext>
            </a:extLst>
          </p:cNvPr>
          <p:cNvGrpSpPr>
            <a:grpSpLocks noChangeAspect="1"/>
          </p:cNvGrpSpPr>
          <p:nvPr userDrawn="1"/>
        </p:nvGrpSpPr>
        <p:grpSpPr>
          <a:xfrm>
            <a:off x="6637786" y="0"/>
            <a:ext cx="2506214" cy="1849956"/>
            <a:chOff x="8848076" y="0"/>
            <a:chExt cx="3340749" cy="2466608"/>
          </a:xfrm>
        </p:grpSpPr>
        <p:pic>
          <p:nvPicPr>
            <p:cNvPr id="18" name="Picture 17">
              <a:extLst>
                <a:ext uri="{FF2B5EF4-FFF2-40B4-BE49-F238E27FC236}">
                  <a16:creationId xmlns:a16="http://schemas.microsoft.com/office/drawing/2014/main" id="{CD3FF8CF-3042-4A20-91B5-FB66AEA6A1E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2899" y="647879"/>
              <a:ext cx="868611" cy="724062"/>
            </a:xfrm>
            <a:prstGeom prst="rect">
              <a:avLst/>
            </a:prstGeom>
          </p:spPr>
        </p:pic>
        <p:sp>
          <p:nvSpPr>
            <p:cNvPr id="19" name="Rectangle 18">
              <a:extLst>
                <a:ext uri="{FF2B5EF4-FFF2-40B4-BE49-F238E27FC236}">
                  <a16:creationId xmlns:a16="http://schemas.microsoft.com/office/drawing/2014/main" id="{A161E791-21E5-40C6-9804-4D79551C90B1}"/>
                </a:ext>
              </a:extLst>
            </p:cNvPr>
            <p:cNvSpPr>
              <a:spLocks noChangeAspect="1"/>
            </p:cNvSpPr>
            <p:nvPr userDrawn="1"/>
          </p:nvSpPr>
          <p:spPr>
            <a:xfrm>
              <a:off x="11091545" y="1371600"/>
              <a:ext cx="1097280" cy="1095008"/>
            </a:xfrm>
            <a:prstGeom prst="rect">
              <a:avLst/>
            </a:prstGeom>
            <a:solidFill>
              <a:srgbClr val="126E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0" name="Rectangle 19">
              <a:extLst>
                <a:ext uri="{FF2B5EF4-FFF2-40B4-BE49-F238E27FC236}">
                  <a16:creationId xmlns:a16="http://schemas.microsoft.com/office/drawing/2014/main" id="{7B0C2CA3-32D6-47F4-ABC3-866431349AD1}"/>
                </a:ext>
              </a:extLst>
            </p:cNvPr>
            <p:cNvSpPr>
              <a:spLocks noChangeAspect="1"/>
            </p:cNvSpPr>
            <p:nvPr userDrawn="1"/>
          </p:nvSpPr>
          <p:spPr>
            <a:xfrm>
              <a:off x="11091545" y="0"/>
              <a:ext cx="649224" cy="647879"/>
            </a:xfrm>
            <a:prstGeom prst="rect">
              <a:avLst/>
            </a:prstGeom>
            <a:solidFill>
              <a:srgbClr val="A2E1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1" name="Rectangle 20">
              <a:extLst>
                <a:ext uri="{FF2B5EF4-FFF2-40B4-BE49-F238E27FC236}">
                  <a16:creationId xmlns:a16="http://schemas.microsoft.com/office/drawing/2014/main" id="{18B5FA5D-C46B-48AC-8A5F-100547C5BD77}"/>
                </a:ext>
              </a:extLst>
            </p:cNvPr>
            <p:cNvSpPr>
              <a:spLocks noChangeAspect="1"/>
            </p:cNvSpPr>
            <p:nvPr userDrawn="1"/>
          </p:nvSpPr>
          <p:spPr>
            <a:xfrm>
              <a:off x="8848076" y="0"/>
              <a:ext cx="1374789" cy="13719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sp>
          <p:nvSpPr>
            <p:cNvPr id="22" name="Rectangle 21">
              <a:extLst>
                <a:ext uri="{FF2B5EF4-FFF2-40B4-BE49-F238E27FC236}">
                  <a16:creationId xmlns:a16="http://schemas.microsoft.com/office/drawing/2014/main" id="{E7DB503E-9645-4252-B767-CF2ED689D542}"/>
                </a:ext>
              </a:extLst>
            </p:cNvPr>
            <p:cNvSpPr>
              <a:spLocks noChangeAspect="1"/>
            </p:cNvSpPr>
            <p:nvPr userDrawn="1"/>
          </p:nvSpPr>
          <p:spPr>
            <a:xfrm>
              <a:off x="9728064" y="1371941"/>
              <a:ext cx="494801" cy="493776"/>
            </a:xfrm>
            <a:prstGeom prst="rect">
              <a:avLst/>
            </a:prstGeom>
            <a:solidFill>
              <a:srgbClr val="06264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6412">
                <a:lnSpc>
                  <a:spcPct val="95000"/>
                </a:lnSpc>
              </a:pPr>
              <a:endParaRPr lang="en-US" sz="1425" dirty="0" err="1">
                <a:solidFill>
                  <a:srgbClr val="5A5A5A"/>
                </a:solidFill>
              </a:endParaRPr>
            </a:p>
          </p:txBody>
        </p:sp>
      </p:grpSp>
    </p:spTree>
    <p:extLst>
      <p:ext uri="{BB962C8B-B14F-4D97-AF65-F5344CB8AC3E}">
        <p14:creationId xmlns:p14="http://schemas.microsoft.com/office/powerpoint/2010/main" val="2988965521"/>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97274" y="174288"/>
            <a:ext cx="8746228" cy="684556"/>
          </a:xfrm>
        </p:spPr>
        <p:txBody>
          <a:bodyPr wrap="square" lIns="91521">
            <a:noAutofit/>
          </a:bodyPr>
          <a:lstStyle>
            <a:lvl1pPr>
              <a:defRPr sz="2250"/>
            </a:lvl1pPr>
          </a:lstStyle>
          <a:p>
            <a:r>
              <a:rPr lang="en-US" dirty="0"/>
              <a:t>Click to Edit Master Title Style</a:t>
            </a:r>
          </a:p>
        </p:txBody>
      </p:sp>
      <p:sp>
        <p:nvSpPr>
          <p:cNvPr id="50" name="Content Placeholder 39"/>
          <p:cNvSpPr>
            <a:spLocks noGrp="1"/>
          </p:cNvSpPr>
          <p:nvPr>
            <p:ph sz="quarter" idx="15" hasCustomPrompt="1"/>
          </p:nvPr>
        </p:nvSpPr>
        <p:spPr bwMode="gray">
          <a:xfrm>
            <a:off x="197274" y="1300068"/>
            <a:ext cx="4307320" cy="3360041"/>
          </a:xfrm>
        </p:spPr>
        <p:txBody>
          <a:bodyPr wrap="square" lIns="91521">
            <a:noAutofit/>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idx="10" hasCustomPrompt="1"/>
          </p:nvPr>
        </p:nvSpPr>
        <p:spPr bwMode="gray">
          <a:xfrm>
            <a:off x="197273"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
        <p:nvSpPr>
          <p:cNvPr id="14" name="Content Placeholder 39"/>
          <p:cNvSpPr>
            <a:spLocks noGrp="1"/>
          </p:cNvSpPr>
          <p:nvPr>
            <p:ph sz="quarter" idx="16" hasCustomPrompt="1"/>
          </p:nvPr>
        </p:nvSpPr>
        <p:spPr bwMode="gray">
          <a:xfrm>
            <a:off x="4636182" y="1300068"/>
            <a:ext cx="4307320" cy="3360041"/>
          </a:xfrm>
        </p:spPr>
        <p:txBody>
          <a:bodyPr wrap="square" lIns="91521">
            <a:noAutofit/>
          </a:bodyPr>
          <a:lstStyle>
            <a:lvl1pPr marL="257404" indent="-257404">
              <a:buFont typeface="+mj-lt"/>
              <a:buAutoNum type="arabicParenR" startAt="5"/>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824337"/>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1423272682"/>
      </p:ext>
    </p:extLst>
  </p:cSld>
  <p:clrMapOvr>
    <a:masterClrMapping/>
  </p:clrMapOvr>
  <p:transition spd="med">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1782"/>
            <a:ext cx="8746228" cy="3359923"/>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2934320159"/>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14"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p>
        </p:txBody>
      </p:sp>
      <p:sp>
        <p:nvSpPr>
          <p:cNvPr id="6" name="Text Placeholder 3"/>
          <p:cNvSpPr>
            <a:spLocks noGrp="1"/>
          </p:cNvSpPr>
          <p:nvPr>
            <p:ph type="body" sz="quarter" idx="10"/>
          </p:nvPr>
        </p:nvSpPr>
        <p:spPr>
          <a:xfrm>
            <a:off x="245457"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1"/>
          </p:nvPr>
        </p:nvSpPr>
        <p:spPr>
          <a:xfrm>
            <a:off x="4640994" y="1249964"/>
            <a:ext cx="4169632" cy="326603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424940"/>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with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0164"/>
            <a:ext cx="8746228"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
        <p:nvSpPr>
          <p:cNvPr id="10" name="Text Placeholder 6"/>
          <p:cNvSpPr>
            <a:spLocks noGrp="1"/>
          </p:cNvSpPr>
          <p:nvPr>
            <p:ph type="body" sz="quarter" idx="16" hasCustomPrompt="1"/>
          </p:nvPr>
        </p:nvSpPr>
        <p:spPr>
          <a:xfrm>
            <a:off x="197274"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lumMod val="50000"/>
                  </a:schemeClr>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spTree>
    <p:extLst>
      <p:ext uri="{BB962C8B-B14F-4D97-AF65-F5344CB8AC3E}">
        <p14:creationId xmlns:p14="http://schemas.microsoft.com/office/powerpoint/2010/main" val="2888059541"/>
      </p:ext>
    </p:extLst>
  </p:cSld>
  <p:clrMapOvr>
    <a:masterClrMapping/>
  </p:clrMapOvr>
  <p:transition spd="med">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5" name="Content Placeholder 39"/>
          <p:cNvSpPr>
            <a:spLocks noGrp="1"/>
          </p:cNvSpPr>
          <p:nvPr>
            <p:ph sz="quarter" idx="15" hasCustomPrompt="1"/>
          </p:nvPr>
        </p:nvSpPr>
        <p:spPr bwMode="gray">
          <a:xfrm>
            <a:off x="197274" y="1300068"/>
            <a:ext cx="4287367" cy="3360041"/>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197274" y="180248"/>
            <a:ext cx="8746228" cy="678596"/>
          </a:xfrm>
        </p:spPr>
        <p:txBody>
          <a:bodyPr wrap="square" lIns="91521">
            <a:noAutofit/>
          </a:bodyPr>
          <a:lstStyle>
            <a:lvl1pPr>
              <a:defRPr/>
            </a:lvl1pPr>
          </a:lstStyle>
          <a:p>
            <a:r>
              <a:rPr lang="en-US" dirty="0"/>
              <a:t>Click to Edit Master Title Style</a:t>
            </a:r>
          </a:p>
        </p:txBody>
      </p:sp>
      <p:sp>
        <p:nvSpPr>
          <p:cNvPr id="83" name="Content Placeholder 3"/>
          <p:cNvSpPr>
            <a:spLocks noGrp="1"/>
          </p:cNvSpPr>
          <p:nvPr>
            <p:ph sz="quarter" idx="14" hasCustomPrompt="1"/>
          </p:nvPr>
        </p:nvSpPr>
        <p:spPr>
          <a:xfrm>
            <a:off x="4656135" y="1300068"/>
            <a:ext cx="4287367" cy="3359944"/>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601373870"/>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5" name="Content Placeholder 39"/>
          <p:cNvSpPr>
            <a:spLocks noGrp="1"/>
          </p:cNvSpPr>
          <p:nvPr>
            <p:ph sz="quarter" idx="15" hasCustomPrompt="1"/>
          </p:nvPr>
        </p:nvSpPr>
        <p:spPr bwMode="gray">
          <a:xfrm>
            <a:off x="197274"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39"/>
          <p:cNvSpPr>
            <a:spLocks noGrp="1"/>
          </p:cNvSpPr>
          <p:nvPr>
            <p:ph sz="quarter" idx="17" hasCustomPrompt="1"/>
          </p:nvPr>
        </p:nvSpPr>
        <p:spPr bwMode="gray">
          <a:xfrm>
            <a:off x="3164131"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Content Placeholder 39"/>
          <p:cNvSpPr>
            <a:spLocks noGrp="1"/>
          </p:cNvSpPr>
          <p:nvPr>
            <p:ph sz="quarter" idx="18" hasCustomPrompt="1"/>
          </p:nvPr>
        </p:nvSpPr>
        <p:spPr bwMode="gray">
          <a:xfrm>
            <a:off x="6130989" y="1300068"/>
            <a:ext cx="2812513" cy="3360041"/>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1"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0" name="Picture 9"/>
          <p:cNvPicPr>
            <a:picLocks noChangeAspect="1"/>
          </p:cNvPicPr>
          <p:nvPr userDrawn="1"/>
        </p:nvPicPr>
        <p:blipFill>
          <a:blip r:embed="rId2"/>
          <a:stretch>
            <a:fillRect/>
          </a:stretch>
        </p:blipFill>
        <p:spPr>
          <a:xfrm>
            <a:off x="8081801" y="4870915"/>
            <a:ext cx="782016" cy="143333"/>
          </a:xfrm>
          <a:prstGeom prst="rect">
            <a:avLst/>
          </a:prstGeom>
        </p:spPr>
      </p:pic>
      <p:sp>
        <p:nvSpPr>
          <p:cNvPr id="12"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4206603856"/>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Quad">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8746228" cy="678596"/>
          </a:xfrm>
        </p:spPr>
        <p:txBody>
          <a:bodyPr lIns="91521">
            <a:noAutofit/>
          </a:bodyPr>
          <a:lstStyle>
            <a:lvl1pPr>
              <a:defRPr sz="2250"/>
            </a:lvl1pPr>
          </a:lstStyle>
          <a:p>
            <a:r>
              <a:rPr lang="en-US" dirty="0"/>
              <a:t>Click to Edit Master Title Style</a:t>
            </a:r>
          </a:p>
        </p:txBody>
      </p:sp>
      <p:sp>
        <p:nvSpPr>
          <p:cNvPr id="79" name="Content Placeholder 39"/>
          <p:cNvSpPr>
            <a:spLocks noGrp="1"/>
          </p:cNvSpPr>
          <p:nvPr>
            <p:ph sz="quarter" idx="15" hasCustomPrompt="1"/>
          </p:nvPr>
        </p:nvSpPr>
        <p:spPr bwMode="gray">
          <a:xfrm>
            <a:off x="197273" y="1300069"/>
            <a:ext cx="4287367"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0" name="Content Placeholder 3"/>
          <p:cNvSpPr>
            <a:spLocks noGrp="1"/>
          </p:cNvSpPr>
          <p:nvPr>
            <p:ph sz="quarter" idx="14" hasCustomPrompt="1"/>
          </p:nvPr>
        </p:nvSpPr>
        <p:spPr>
          <a:xfrm>
            <a:off x="4656135" y="1300164"/>
            <a:ext cx="4287367"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1" name="Content Placeholder 39"/>
          <p:cNvSpPr>
            <a:spLocks noGrp="1"/>
          </p:cNvSpPr>
          <p:nvPr>
            <p:ph sz="quarter" idx="20" hasCustomPrompt="1"/>
          </p:nvPr>
        </p:nvSpPr>
        <p:spPr bwMode="gray">
          <a:xfrm>
            <a:off x="197273" y="3047205"/>
            <a:ext cx="4287367" cy="1568824"/>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2" name="Content Placeholder 3"/>
          <p:cNvSpPr>
            <a:spLocks noGrp="1"/>
          </p:cNvSpPr>
          <p:nvPr>
            <p:ph sz="quarter" idx="21" hasCustomPrompt="1"/>
          </p:nvPr>
        </p:nvSpPr>
        <p:spPr>
          <a:xfrm>
            <a:off x="4656135" y="3047300"/>
            <a:ext cx="4287367" cy="1568778"/>
          </a:xfrm>
        </p:spPr>
        <p:txBody>
          <a:bodyPr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4"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1" name="Picture 10"/>
          <p:cNvPicPr>
            <a:picLocks noChangeAspect="1"/>
          </p:cNvPicPr>
          <p:nvPr userDrawn="1"/>
        </p:nvPicPr>
        <p:blipFill>
          <a:blip r:embed="rId2"/>
          <a:stretch>
            <a:fillRect/>
          </a:stretch>
        </p:blipFill>
        <p:spPr>
          <a:xfrm>
            <a:off x="8081801" y="4870915"/>
            <a:ext cx="782016" cy="143333"/>
          </a:xfrm>
          <a:prstGeom prst="rect">
            <a:avLst/>
          </a:prstGeom>
        </p:spPr>
      </p:pic>
      <p:sp>
        <p:nvSpPr>
          <p:cNvPr id="13"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2470616148"/>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8746228" cy="678596"/>
          </a:xfrm>
        </p:spPr>
        <p:txBody>
          <a:bodyPr lIns="91521" tIns="45761" rIns="91521" bIns="45761">
            <a:noAutofit/>
          </a:bodyPr>
          <a:lstStyle>
            <a:lvl1pPr>
              <a:defRPr sz="2250"/>
            </a:lvl1pPr>
          </a:lstStyle>
          <a:p>
            <a:r>
              <a:rPr lang="en-US" dirty="0"/>
              <a:t>Click to Edit Master Title Style</a:t>
            </a:r>
          </a:p>
        </p:txBody>
      </p:sp>
      <p:sp>
        <p:nvSpPr>
          <p:cNvPr id="40" name="Text Placeholder 2"/>
          <p:cNvSpPr>
            <a:spLocks noGrp="1"/>
          </p:cNvSpPr>
          <p:nvPr>
            <p:ph type="body" idx="10" hasCustomPrompt="1"/>
          </p:nvPr>
        </p:nvSpPr>
        <p:spPr bwMode="gray">
          <a:xfrm>
            <a:off x="197274" y="829815"/>
            <a:ext cx="874622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9"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1545523317"/>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ig Stat">
    <p:spTree>
      <p:nvGrpSpPr>
        <p:cNvPr id="1" name=""/>
        <p:cNvGrpSpPr/>
        <p:nvPr/>
      </p:nvGrpSpPr>
      <p:grpSpPr>
        <a:xfrm>
          <a:off x="0" y="0"/>
          <a:ext cx="0" cy="0"/>
          <a:chOff x="0" y="0"/>
          <a:chExt cx="0" cy="0"/>
        </a:xfrm>
      </p:grpSpPr>
      <p:sp>
        <p:nvSpPr>
          <p:cNvPr id="11" name="Rectangle 10"/>
          <p:cNvSpPr/>
          <p:nvPr/>
        </p:nvSpPr>
        <p:spPr>
          <a:xfrm>
            <a:off x="1036266" y="1028700"/>
            <a:ext cx="3085138" cy="3084335"/>
          </a:xfrm>
          <a:prstGeom prst="rect">
            <a:avLst/>
          </a:prstGeom>
          <a:solidFill>
            <a:srgbClr val="0067C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6412">
              <a:lnSpc>
                <a:spcPct val="95000"/>
              </a:lnSpc>
            </a:pPr>
            <a:endParaRPr lang="en-US" sz="1500" dirty="0" err="1">
              <a:solidFill>
                <a:prstClr val="white"/>
              </a:solidFill>
            </a:endParaRPr>
          </a:p>
        </p:txBody>
      </p:sp>
      <p:sp>
        <p:nvSpPr>
          <p:cNvPr id="6" name="Text Placeholder 5"/>
          <p:cNvSpPr>
            <a:spLocks noGrp="1"/>
          </p:cNvSpPr>
          <p:nvPr userDrawn="1">
            <p:ph type="body" sz="quarter" idx="11"/>
          </p:nvPr>
        </p:nvSpPr>
        <p:spPr>
          <a:xfrm>
            <a:off x="1036265" y="3054931"/>
            <a:ext cx="3085139" cy="408857"/>
          </a:xfrm>
        </p:spPr>
        <p:txBody>
          <a:bodyPr anchor="t" anchorCtr="0"/>
          <a:lstStyle>
            <a:lvl1pPr marL="0" indent="0" algn="ctr">
              <a:buNone/>
              <a:defRPr kumimoji="0" lang="en-US" sz="1650" b="0" i="0" u="none" strike="noStrike" kern="1200" cap="none" spc="0" normalizeH="0" baseline="0" dirty="0" smtClean="0">
                <a:ln>
                  <a:noFill/>
                </a:ln>
                <a:solidFill>
                  <a:srgbClr val="5AC0ED"/>
                </a:solidFill>
                <a:effectLst/>
                <a:uLnTx/>
                <a:uFillTx/>
                <a:latin typeface="+mn-lt"/>
                <a:ea typeface="+mn-ea"/>
                <a:cs typeface="+mn-cs"/>
              </a:defRPr>
            </a:lvl1pPr>
          </a:lstStyle>
          <a:p>
            <a:pPr lvl="0"/>
            <a:r>
              <a:rPr lang="en-US"/>
              <a:t>Edit Master text styles</a:t>
            </a:r>
          </a:p>
        </p:txBody>
      </p:sp>
      <p:sp>
        <p:nvSpPr>
          <p:cNvPr id="3" name="Text Placeholder 2"/>
          <p:cNvSpPr>
            <a:spLocks noGrp="1"/>
          </p:cNvSpPr>
          <p:nvPr userDrawn="1">
            <p:ph type="body" sz="quarter" idx="10" hasCustomPrompt="1"/>
          </p:nvPr>
        </p:nvSpPr>
        <p:spPr>
          <a:xfrm>
            <a:off x="1036265" y="1100137"/>
            <a:ext cx="3085139" cy="2043113"/>
          </a:xfrm>
        </p:spPr>
        <p:txBody>
          <a:bodyPr anchor="b"/>
          <a:lstStyle>
            <a:lvl1pPr marL="0" marR="0" indent="0" algn="ctr" defTabSz="685800" rtl="0" eaLnBrk="1" fontAlgn="auto" latinLnBrk="0" hangingPunct="1">
              <a:lnSpc>
                <a:spcPct val="95000"/>
              </a:lnSpc>
              <a:spcBef>
                <a:spcPts val="300"/>
              </a:spcBef>
              <a:spcAft>
                <a:spcPts val="150"/>
              </a:spcAft>
              <a:buClr>
                <a:schemeClr val="accent1"/>
              </a:buClr>
              <a:buSzTx/>
              <a:buFontTx/>
              <a:buNone/>
              <a:tabLst/>
              <a:defRPr kumimoji="0" lang="en-US" sz="9000" b="1" i="0" u="none" strike="noStrike" kern="1200" cap="none" spc="0" normalizeH="0" baseline="0" dirty="0">
                <a:ln>
                  <a:noFill/>
                </a:ln>
                <a:solidFill>
                  <a:schemeClr val="bg1"/>
                </a:solidFill>
                <a:effectLst/>
                <a:uLnTx/>
                <a:uFillTx/>
                <a:latin typeface="+mn-lt"/>
                <a:ea typeface="+mn-ea"/>
                <a:cs typeface="+mn-cs"/>
              </a:defRPr>
            </a:lvl1pPr>
          </a:lstStyle>
          <a:p>
            <a:pPr lvl="0"/>
            <a:r>
              <a:rPr lang="en-US" dirty="0"/>
              <a:t>%</a:t>
            </a:r>
          </a:p>
        </p:txBody>
      </p:sp>
      <p:sp>
        <p:nvSpPr>
          <p:cNvPr id="37" name="Title 1"/>
          <p:cNvSpPr>
            <a:spLocks noGrp="1"/>
          </p:cNvSpPr>
          <p:nvPr userDrawn="1">
            <p:ph type="title" hasCustomPrompt="1"/>
          </p:nvPr>
        </p:nvSpPr>
        <p:spPr bwMode="gray">
          <a:xfrm>
            <a:off x="4658830" y="1871959"/>
            <a:ext cx="4261805" cy="661418"/>
          </a:xfrm>
        </p:spPr>
        <p:txBody>
          <a:bodyPr lIns="91521" tIns="45761" rIns="91521" bIns="45761" anchor="b">
            <a:noAutofit/>
          </a:bodyPr>
          <a:lstStyle>
            <a:lvl1pPr marL="0" marR="0" algn="l" defTabSz="685800" rtl="0" eaLnBrk="1" fontAlgn="auto" latinLnBrk="0" hangingPunct="1">
              <a:lnSpc>
                <a:spcPct val="95000"/>
              </a:lnSpc>
              <a:spcBef>
                <a:spcPts val="300"/>
              </a:spcBef>
              <a:spcAft>
                <a:spcPts val="150"/>
              </a:spcAft>
              <a:buClr>
                <a:schemeClr val="accent1"/>
              </a:buClr>
              <a:buSzTx/>
              <a:tabLst/>
              <a:defRPr kumimoji="0" lang="en-US" sz="3600" b="0" i="0" u="none" strike="noStrike" kern="1200" cap="none" spc="0" normalizeH="0" baseline="0" dirty="0">
                <a:ln>
                  <a:noFill/>
                </a:ln>
                <a:solidFill>
                  <a:sysClr val="windowText" lastClr="000000"/>
                </a:solidFill>
                <a:effectLst/>
                <a:uLnTx/>
                <a:uFillTx/>
                <a:latin typeface="+mn-lt"/>
                <a:ea typeface="+mn-ea"/>
                <a:cs typeface="+mn-cs"/>
              </a:defRPr>
            </a:lvl1pPr>
          </a:lstStyle>
          <a:p>
            <a:r>
              <a:rPr lang="en-US" dirty="0"/>
              <a:t>Click To Edit Master</a:t>
            </a:r>
          </a:p>
        </p:txBody>
      </p:sp>
      <p:sp>
        <p:nvSpPr>
          <p:cNvPr id="38" name="Text Placeholder 2"/>
          <p:cNvSpPr>
            <a:spLocks noGrp="1"/>
          </p:cNvSpPr>
          <p:nvPr userDrawn="1">
            <p:ph type="body" idx="1" hasCustomPrompt="1"/>
          </p:nvPr>
        </p:nvSpPr>
        <p:spPr bwMode="gray">
          <a:xfrm>
            <a:off x="4658830" y="2625561"/>
            <a:ext cx="4261806" cy="369332"/>
          </a:xfrm>
        </p:spPr>
        <p:txBody>
          <a:bodyPr lIns="91521" tIns="45761" rIns="91521" bIns="45761" anchor="t">
            <a:noAutofit/>
          </a:bodyPr>
          <a:lstStyle>
            <a:lvl1pPr marL="0" marR="0" indent="0" algn="l" defTabSz="685800" rtl="0" eaLnBrk="1" fontAlgn="auto" latinLnBrk="0" hangingPunct="1">
              <a:lnSpc>
                <a:spcPct val="95000"/>
              </a:lnSpc>
              <a:spcBef>
                <a:spcPts val="300"/>
              </a:spcBef>
              <a:spcAft>
                <a:spcPts val="150"/>
              </a:spcAft>
              <a:buClr>
                <a:schemeClr val="accent1"/>
              </a:buClr>
              <a:buSzTx/>
              <a:buNone/>
              <a:tabLst/>
              <a:defRPr kumimoji="0" lang="en-US" sz="1800" b="0" i="0" u="none" strike="noStrike" kern="1200" cap="none" spc="0" normalizeH="0" baseline="0" dirty="0">
                <a:ln>
                  <a:noFill/>
                </a:ln>
                <a:solidFill>
                  <a:srgbClr val="0067C5"/>
                </a:solidFill>
                <a:effectLst/>
                <a:uLnTx/>
                <a:uFillTx/>
                <a:latin typeface="+mn-lt"/>
                <a:ea typeface="+mn-ea"/>
                <a:cs typeface="+mn-cs"/>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sp>
        <p:nvSpPr>
          <p:cNvPr id="10" name="Slide Number Placeholder 5"/>
          <p:cNvSpPr>
            <a:spLocks noGrp="1"/>
          </p:cNvSpPr>
          <p:nvPr userDrawn="1">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9" name="Footer Placeholder 4"/>
          <p:cNvSpPr>
            <a:spLocks noGrp="1"/>
          </p:cNvSpPr>
          <p:nvPr userDrawn="1">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
        <p:nvSpPr>
          <p:cNvPr id="12" name="Rectangle 11">
            <a:extLst>
              <a:ext uri="{FF2B5EF4-FFF2-40B4-BE49-F238E27FC236}">
                <a16:creationId xmlns:a16="http://schemas.microsoft.com/office/drawing/2014/main" id="{98774014-DE33-433F-BEA1-FAC71ABE8C7A}"/>
              </a:ext>
            </a:extLst>
          </p:cNvPr>
          <p:cNvSpPr/>
          <p:nvPr userDrawn="1"/>
        </p:nvSpPr>
        <p:spPr>
          <a:xfrm>
            <a:off x="269" y="0"/>
            <a:ext cx="1035996" cy="103599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5216" rtl="0" eaLnBrk="1" latinLnBrk="0" hangingPunct="1">
              <a:defRPr sz="1900" kern="1200">
                <a:solidFill>
                  <a:schemeClr val="lt1"/>
                </a:solidFill>
                <a:latin typeface="+mn-lt"/>
                <a:ea typeface="+mn-ea"/>
                <a:cs typeface="+mn-cs"/>
              </a:defRPr>
            </a:lvl1pPr>
            <a:lvl2pPr marL="457608" algn="l" defTabSz="915216" rtl="0" eaLnBrk="1" latinLnBrk="0" hangingPunct="1">
              <a:defRPr sz="1900" kern="1200">
                <a:solidFill>
                  <a:schemeClr val="lt1"/>
                </a:solidFill>
                <a:latin typeface="+mn-lt"/>
                <a:ea typeface="+mn-ea"/>
                <a:cs typeface="+mn-cs"/>
              </a:defRPr>
            </a:lvl2pPr>
            <a:lvl3pPr marL="915216" algn="l" defTabSz="915216" rtl="0" eaLnBrk="1" latinLnBrk="0" hangingPunct="1">
              <a:defRPr sz="1900" kern="1200">
                <a:solidFill>
                  <a:schemeClr val="lt1"/>
                </a:solidFill>
                <a:latin typeface="+mn-lt"/>
                <a:ea typeface="+mn-ea"/>
                <a:cs typeface="+mn-cs"/>
              </a:defRPr>
            </a:lvl3pPr>
            <a:lvl4pPr marL="1372822" algn="l" defTabSz="915216" rtl="0" eaLnBrk="1" latinLnBrk="0" hangingPunct="1">
              <a:defRPr sz="1900" kern="1200">
                <a:solidFill>
                  <a:schemeClr val="lt1"/>
                </a:solidFill>
                <a:latin typeface="+mn-lt"/>
                <a:ea typeface="+mn-ea"/>
                <a:cs typeface="+mn-cs"/>
              </a:defRPr>
            </a:lvl4pPr>
            <a:lvl5pPr marL="1830430" algn="l" defTabSz="915216" rtl="0" eaLnBrk="1" latinLnBrk="0" hangingPunct="1">
              <a:defRPr sz="1900" kern="1200">
                <a:solidFill>
                  <a:schemeClr val="lt1"/>
                </a:solidFill>
                <a:latin typeface="+mn-lt"/>
                <a:ea typeface="+mn-ea"/>
                <a:cs typeface="+mn-cs"/>
              </a:defRPr>
            </a:lvl5pPr>
            <a:lvl6pPr marL="2288038" algn="l" defTabSz="915216" rtl="0" eaLnBrk="1" latinLnBrk="0" hangingPunct="1">
              <a:defRPr sz="1900" kern="1200">
                <a:solidFill>
                  <a:schemeClr val="lt1"/>
                </a:solidFill>
                <a:latin typeface="+mn-lt"/>
                <a:ea typeface="+mn-ea"/>
                <a:cs typeface="+mn-cs"/>
              </a:defRPr>
            </a:lvl6pPr>
            <a:lvl7pPr marL="2745646" algn="l" defTabSz="915216" rtl="0" eaLnBrk="1" latinLnBrk="0" hangingPunct="1">
              <a:defRPr sz="1900" kern="1200">
                <a:solidFill>
                  <a:schemeClr val="lt1"/>
                </a:solidFill>
                <a:latin typeface="+mn-lt"/>
                <a:ea typeface="+mn-ea"/>
                <a:cs typeface="+mn-cs"/>
              </a:defRPr>
            </a:lvl7pPr>
            <a:lvl8pPr marL="3203253" algn="l" defTabSz="915216" rtl="0" eaLnBrk="1" latinLnBrk="0" hangingPunct="1">
              <a:defRPr sz="1900" kern="1200">
                <a:solidFill>
                  <a:schemeClr val="lt1"/>
                </a:solidFill>
                <a:latin typeface="+mn-lt"/>
                <a:ea typeface="+mn-ea"/>
                <a:cs typeface="+mn-cs"/>
              </a:defRPr>
            </a:lvl8pPr>
            <a:lvl9pPr marL="3660861" algn="l" defTabSz="915216" rtl="0" eaLnBrk="1" latinLnBrk="0" hangingPunct="1">
              <a:defRPr sz="1900" kern="1200">
                <a:solidFill>
                  <a:schemeClr val="lt1"/>
                </a:solidFill>
                <a:latin typeface="+mn-lt"/>
                <a:ea typeface="+mn-ea"/>
                <a:cs typeface="+mn-cs"/>
              </a:defRPr>
            </a:lvl9pPr>
          </a:lstStyle>
          <a:p>
            <a:pPr algn="ctr">
              <a:lnSpc>
                <a:spcPct val="95000"/>
              </a:lnSpc>
            </a:pPr>
            <a:endParaRPr lang="en-US" sz="1500" dirty="0" err="1">
              <a:solidFill>
                <a:srgbClr val="FFFFFF"/>
              </a:solidFill>
            </a:endParaRPr>
          </a:p>
        </p:txBody>
      </p:sp>
    </p:spTree>
    <p:extLst>
      <p:ext uri="{BB962C8B-B14F-4D97-AF65-F5344CB8AC3E}">
        <p14:creationId xmlns:p14="http://schemas.microsoft.com/office/powerpoint/2010/main" val="397182620"/>
      </p:ext>
    </p:extLst>
  </p:cSld>
  <p:clrMapOvr>
    <a:masterClrMapping/>
  </p:clrMapOvr>
  <p:transition spd="med">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274" y="180248"/>
            <a:ext cx="7634316" cy="678596"/>
          </a:xfrm>
        </p:spPr>
        <p:txBody>
          <a:bodyPr wrap="square" lIns="91521">
            <a:noAutofit/>
          </a:bodyPr>
          <a:lstStyle>
            <a:lvl1pPr>
              <a:defRPr/>
            </a:lvl1pPr>
          </a:lstStyle>
          <a:p>
            <a:r>
              <a:rPr lang="en-US" dirty="0"/>
              <a:t>Click to Edit Master Title Style</a:t>
            </a:r>
          </a:p>
        </p:txBody>
      </p:sp>
      <p:sp>
        <p:nvSpPr>
          <p:cNvPr id="41" name="Text Placeholder 2"/>
          <p:cNvSpPr>
            <a:spLocks noGrp="1"/>
          </p:cNvSpPr>
          <p:nvPr>
            <p:ph type="body" idx="10" hasCustomPrompt="1"/>
          </p:nvPr>
        </p:nvSpPr>
        <p:spPr bwMode="gray">
          <a:xfrm>
            <a:off x="197274" y="829815"/>
            <a:ext cx="7634316"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2"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
        <p:nvSpPr>
          <p:cNvPr id="11" name="Picture Placeholder 10"/>
          <p:cNvSpPr>
            <a:spLocks noGrp="1"/>
          </p:cNvSpPr>
          <p:nvPr>
            <p:ph type="pic" sz="quarter" idx="22" hasCustomPrompt="1"/>
          </p:nvPr>
        </p:nvSpPr>
        <p:spPr>
          <a:xfrm>
            <a:off x="7945500" y="180249"/>
            <a:ext cx="998002" cy="949648"/>
          </a:xfrm>
        </p:spPr>
        <p:txBody>
          <a:bodyPr wrap="square" lIns="91521" tIns="45761" rIns="91521" bIns="45761">
            <a:noAutofit/>
          </a:bodyPr>
          <a:lstStyle>
            <a:lvl1pPr marL="0" indent="0" algn="ctr">
              <a:lnSpc>
                <a:spcPct val="85000"/>
              </a:lnSpc>
              <a:buFontTx/>
              <a:buNone/>
              <a:defRPr sz="825" baseline="0">
                <a:solidFill>
                  <a:schemeClr val="bg2"/>
                </a:solidFill>
              </a:defRPr>
            </a:lvl1pPr>
          </a:lstStyle>
          <a:p>
            <a:r>
              <a:rPr lang="en-US" dirty="0"/>
              <a:t>CLICK TO INSERT LOGO, OR USE PLACEHOLDER TO ALIGN LOGO.</a:t>
            </a:r>
          </a:p>
        </p:txBody>
      </p:sp>
      <p:sp>
        <p:nvSpPr>
          <p:cNvPr id="14" name="Content Placeholder 3"/>
          <p:cNvSpPr>
            <a:spLocks noGrp="1"/>
          </p:cNvSpPr>
          <p:nvPr>
            <p:ph sz="quarter" idx="14" hasCustomPrompt="1"/>
          </p:nvPr>
        </p:nvSpPr>
        <p:spPr>
          <a:xfrm>
            <a:off x="197273" y="1300164"/>
            <a:ext cx="4290081" cy="3359944"/>
          </a:xfrm>
        </p:spPr>
        <p:txBody>
          <a:bodyPr wrap="square" lIns="91521" tIns="45761" rIns="91521" bIns="45761">
            <a:noAutofit/>
          </a:bodyPr>
          <a:lstStyle>
            <a:lvl1pPr marL="0" indent="0">
              <a:buFont typeface="Arial" panose="020B0604020202020204" pitchFamily="34" charset="0"/>
              <a:buChar char="​"/>
              <a:defRPr>
                <a:solidFill>
                  <a:schemeClr val="accent1"/>
                </a:solidFill>
              </a:defRPr>
            </a:lvl1pPr>
            <a:lvl2pPr marL="127511" indent="-127511">
              <a:buClr>
                <a:schemeClr val="accent1"/>
              </a:buClr>
              <a:buFont typeface="Wingdings" panose="05000000000000000000" pitchFamily="2" charset="2"/>
              <a:buChar char="§"/>
              <a:defRPr/>
            </a:lvl2pPr>
            <a:lvl3pPr marL="259787" indent="-132278">
              <a:buFont typeface="Wingdings" panose="05000000000000000000" pitchFamily="2" charset="2"/>
              <a:buChar char="§"/>
              <a:defRPr/>
            </a:lvl3pPr>
            <a:lvl4pPr marL="431390" indent="-171603">
              <a:buFont typeface="Wingdings" panose="05000000000000000000" pitchFamily="2" charset="2"/>
              <a:buChar char="§"/>
              <a:defRPr/>
            </a:lvl4pPr>
            <a:lvl5pPr marL="602993" indent="-171603">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24" hasCustomPrompt="1"/>
          </p:nvPr>
        </p:nvSpPr>
        <p:spPr>
          <a:xfrm>
            <a:off x="4656136" y="1300163"/>
            <a:ext cx="4328525" cy="3360420"/>
          </a:xfrm>
        </p:spPr>
        <p:txBody>
          <a:bodyPr/>
          <a:lstStyle>
            <a:lvl1pPr marL="0" indent="0">
              <a:buNone/>
              <a:defRPr/>
            </a:lvl1pPr>
          </a:lstStyle>
          <a:p>
            <a:r>
              <a:rPr lang="en-US" dirty="0"/>
              <a:t>Click to add photo</a:t>
            </a:r>
          </a:p>
        </p:txBody>
      </p:sp>
    </p:spTree>
    <p:extLst>
      <p:ext uri="{BB962C8B-B14F-4D97-AF65-F5344CB8AC3E}">
        <p14:creationId xmlns:p14="http://schemas.microsoft.com/office/powerpoint/2010/main" val="1243263816"/>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967273" y="145257"/>
            <a:ext cx="7209456" cy="3525790"/>
          </a:xfrm>
        </p:spPr>
        <p:txBody>
          <a:bodyPr wrap="square" lIns="91521" tIns="45761" rIns="91521" bIns="45761">
            <a:noAutofit/>
          </a:bodyPr>
          <a:lstStyle>
            <a:lvl1pPr marL="88184" indent="-88184">
              <a:lnSpc>
                <a:spcPct val="120000"/>
              </a:lnSpc>
              <a:defRPr sz="2700" b="0"/>
            </a:lvl1pPr>
          </a:lstStyle>
          <a:p>
            <a:r>
              <a:rPr lang="en-US" dirty="0"/>
              <a:t>Click to edit quote</a:t>
            </a:r>
          </a:p>
        </p:txBody>
      </p:sp>
      <p:sp>
        <p:nvSpPr>
          <p:cNvPr id="29" name="Text Placeholder 2"/>
          <p:cNvSpPr>
            <a:spLocks noGrp="1"/>
          </p:cNvSpPr>
          <p:nvPr>
            <p:ph type="body" idx="1" hasCustomPrompt="1"/>
          </p:nvPr>
        </p:nvSpPr>
        <p:spPr bwMode="gray">
          <a:xfrm>
            <a:off x="967273" y="3880598"/>
            <a:ext cx="7209456" cy="241221"/>
          </a:xfrm>
        </p:spPr>
        <p:txBody>
          <a:bodyPr wrap="square" lIns="91521" tIns="45761" rIns="91521" bIns="45761" anchor="t">
            <a:noAutofit/>
          </a:bodyPr>
          <a:lstStyle>
            <a:lvl1pPr marL="0" indent="0" algn="l">
              <a:buNone/>
              <a:defRPr sz="1500" b="1" cap="none" baseline="0">
                <a:solidFill>
                  <a:schemeClr val="accent1"/>
                </a:solidFill>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dirty="0"/>
              <a:t>Click to edit master text styles</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751713667"/>
      </p:ext>
    </p:extLst>
  </p:cSld>
  <p:clrMapOvr>
    <a:masterClrMapping/>
  </p:clrMapOvr>
  <p:transition spd="med">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967273" y="284773"/>
            <a:ext cx="7209456" cy="4055966"/>
          </a:xfrm>
        </p:spPr>
        <p:txBody>
          <a:bodyPr wrap="square" lIns="91521" tIns="45761" rIns="91521" bIns="45761" anchor="ctr">
            <a:noAutofit/>
          </a:bodyPr>
          <a:lstStyle>
            <a:lvl1pPr marL="0" indent="0" algn="ctr">
              <a:lnSpc>
                <a:spcPct val="80000"/>
              </a:lnSpc>
              <a:defRPr sz="7500" b="1">
                <a:solidFill>
                  <a:schemeClr val="accent1"/>
                </a:solidFill>
              </a:defRPr>
            </a:lvl1pPr>
          </a:lstStyle>
          <a:p>
            <a:r>
              <a:rPr lang="en-US" dirty="0"/>
              <a:t>CLICK TO EDIT STATEMENT</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10"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1407019569"/>
      </p:ext>
    </p:extLst>
  </p:cSld>
  <p:clrMapOvr>
    <a:masterClrMapping/>
  </p:clrMapOvr>
  <p:transition spd="med">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5" name="Picture 4"/>
          <p:cNvPicPr>
            <a:picLocks noChangeAspect="1"/>
          </p:cNvPicPr>
          <p:nvPr userDrawn="1"/>
        </p:nvPicPr>
        <p:blipFill>
          <a:blip r:embed="rId2"/>
          <a:stretch>
            <a:fillRect/>
          </a:stretch>
        </p:blipFill>
        <p:spPr>
          <a:xfrm>
            <a:off x="8081801" y="4870915"/>
            <a:ext cx="782016" cy="143333"/>
          </a:xfrm>
          <a:prstGeom prst="rect">
            <a:avLst/>
          </a:prstGeom>
        </p:spPr>
      </p:pic>
      <p:sp>
        <p:nvSpPr>
          <p:cNvPr id="7"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2145929606"/>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47"/>
            <a:ext cx="8746228" cy="678596"/>
          </a:xfrm>
        </p:spPr>
        <p:txBody>
          <a:bodyPr>
            <a:noAutofit/>
          </a:bodyPr>
          <a:lstStyle>
            <a:lvl1pPr>
              <a:defRPr sz="2249"/>
            </a:lvl1pPr>
          </a:lstStyle>
          <a:p>
            <a:r>
              <a:rPr lang="en-US" dirty="0"/>
              <a:t>Click to edit Master title style</a:t>
            </a:r>
          </a:p>
        </p:txBody>
      </p:sp>
      <p:sp>
        <p:nvSpPr>
          <p:cNvPr id="48" name="Content Placeholder 3"/>
          <p:cNvSpPr>
            <a:spLocks noGrp="1"/>
          </p:cNvSpPr>
          <p:nvPr>
            <p:ph sz="quarter" idx="14"/>
          </p:nvPr>
        </p:nvSpPr>
        <p:spPr>
          <a:xfrm>
            <a:off x="197273" y="1300164"/>
            <a:ext cx="8746228" cy="335994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p:nvPr>
        </p:nvSpPr>
        <p:spPr bwMode="gray">
          <a:xfrm>
            <a:off x="206848" y="829815"/>
            <a:ext cx="8739368" cy="300082"/>
          </a:xfrm>
        </p:spPr>
        <p:txBody>
          <a:bodyPr>
            <a:noAutofit/>
          </a:bodyPr>
          <a:lstStyle>
            <a:lvl1pPr marL="0" indent="0">
              <a:spcBef>
                <a:spcPts val="0"/>
              </a:spcBef>
              <a:spcAft>
                <a:spcPts val="0"/>
              </a:spcAft>
              <a:buNone/>
              <a:defRPr sz="1350" b="0">
                <a:solidFill>
                  <a:schemeClr val="accent1"/>
                </a:solidFill>
              </a:defRPr>
            </a:lvl1pPr>
            <a:lvl2pPr marL="343121" indent="0">
              <a:buNone/>
              <a:defRPr sz="1500" b="1"/>
            </a:lvl2pPr>
            <a:lvl3pPr marL="686240" indent="0">
              <a:buNone/>
              <a:defRPr sz="1425" b="1"/>
            </a:lvl3pPr>
            <a:lvl4pPr marL="1029359" indent="0">
              <a:buNone/>
              <a:defRPr sz="1200" b="1"/>
            </a:lvl4pPr>
            <a:lvl5pPr marL="1372480" indent="0">
              <a:buNone/>
              <a:defRPr sz="1200" b="1"/>
            </a:lvl5pPr>
            <a:lvl6pPr marL="1715600" indent="0">
              <a:buNone/>
              <a:defRPr sz="1200" b="1"/>
            </a:lvl6pPr>
            <a:lvl7pPr marL="2058720" indent="0">
              <a:buNone/>
              <a:defRPr sz="1200" b="1"/>
            </a:lvl7pPr>
            <a:lvl8pPr marL="2401840" indent="0">
              <a:buNone/>
              <a:defRPr sz="1200" b="1"/>
            </a:lvl8pPr>
            <a:lvl9pPr marL="2744960"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031AF1B9-DBBE-496D-AB69-66E0611064ED}"/>
              </a:ext>
            </a:extLst>
          </p:cNvPr>
          <p:cNvSpPr>
            <a:spLocks noGrp="1"/>
          </p:cNvSpPr>
          <p:nvPr>
            <p:ph type="sldNum" sz="quarter" idx="15"/>
          </p:nvPr>
        </p:nvSpPr>
        <p:spPr/>
        <p:txBody>
          <a:bodyPr rtlCol="0"/>
          <a:lstStyle>
            <a:lvl1pPr>
              <a:defRPr lang="en-US" sz="788" b="1">
                <a:solidFill>
                  <a:schemeClr val="bg2">
                    <a:lumMod val="50000"/>
                  </a:schemeClr>
                </a:solidFill>
              </a:defRPr>
            </a:lvl1pPr>
          </a:lstStyle>
          <a:p>
            <a:pPr>
              <a:defRPr/>
            </a:pPr>
            <a:fld id="{DC6FF0D9-EBB0-440B-A95D-C0D282E78024}" type="slidenum">
              <a:rPr/>
              <a:pPr>
                <a:defRPr/>
              </a:pPr>
              <a:t>‹#›</a:t>
            </a:fld>
            <a:endParaRPr/>
          </a:p>
        </p:txBody>
      </p:sp>
    </p:spTree>
    <p:extLst>
      <p:ext uri="{BB962C8B-B14F-4D97-AF65-F5344CB8AC3E}">
        <p14:creationId xmlns:p14="http://schemas.microsoft.com/office/powerpoint/2010/main" val="944340829"/>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1782"/>
            <a:ext cx="8746228" cy="3359923"/>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BCE88CC7-722E-43DA-8471-07E918EAEB67}"/>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B0FC793E-34A3-45A0-B24E-F3D58E21113C}" type="slidenum">
              <a:rPr/>
              <a:pPr>
                <a:defRPr/>
              </a:pPr>
              <a:t>‹#›</a:t>
            </a:fld>
            <a:endParaRPr/>
          </a:p>
        </p:txBody>
      </p:sp>
      <p:sp>
        <p:nvSpPr>
          <p:cNvPr id="5" name="Footer Placeholder 4">
            <a:extLst>
              <a:ext uri="{FF2B5EF4-FFF2-40B4-BE49-F238E27FC236}">
                <a16:creationId xmlns:a16="http://schemas.microsoft.com/office/drawing/2014/main" id="{FDB1E3D8-E8D5-4F8A-8100-01630857005F}"/>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2869267343"/>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8" name="Media Placeholder 2"/>
          <p:cNvSpPr>
            <a:spLocks noGrp="1"/>
          </p:cNvSpPr>
          <p:nvPr>
            <p:ph type="media" sz="quarter" idx="19" hasCustomPrompt="1"/>
          </p:nvPr>
        </p:nvSpPr>
        <p:spPr>
          <a:xfrm>
            <a:off x="1217137" y="425056"/>
            <a:ext cx="6709730" cy="3773090"/>
          </a:xfrm>
        </p:spPr>
        <p:txBody>
          <a:bodyPr lIns="91521" tIns="45761" rIns="91521" bIns="45761" anchor="ctr">
            <a:noAutofit/>
          </a:bodyPr>
          <a:lstStyle>
            <a:lvl1pPr marL="0" indent="0" algn="ctr">
              <a:buNone/>
              <a:defRPr baseline="0"/>
            </a:lvl1pPr>
          </a:lstStyle>
          <a:p>
            <a:r>
              <a:rPr lang="en-US" dirty="0"/>
              <a:t>Insert video here</a:t>
            </a: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8" name="Picture 7"/>
          <p:cNvPicPr>
            <a:picLocks noChangeAspect="1"/>
          </p:cNvPicPr>
          <p:nvPr userDrawn="1"/>
        </p:nvPicPr>
        <p:blipFill>
          <a:blip r:embed="rId2"/>
          <a:stretch>
            <a:fillRect/>
          </a:stretch>
        </p:blipFill>
        <p:spPr>
          <a:xfrm>
            <a:off x="8081801" y="4870915"/>
            <a:ext cx="782016" cy="143333"/>
          </a:xfrm>
          <a:prstGeom prst="rect">
            <a:avLst/>
          </a:prstGeom>
        </p:spPr>
      </p:pic>
      <p:sp>
        <p:nvSpPr>
          <p:cNvPr id="6"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spTree>
    <p:extLst>
      <p:ext uri="{BB962C8B-B14F-4D97-AF65-F5344CB8AC3E}">
        <p14:creationId xmlns:p14="http://schemas.microsoft.com/office/powerpoint/2010/main" val="473878288"/>
      </p:ext>
    </p:extLst>
  </p:cSld>
  <p:clrMapOvr>
    <a:masterClrMapping/>
  </p:clrMapOvr>
  <p:transition spd="med">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ACEC5A4-00B3-461F-8FBD-AE0DBCB7E3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 y="0"/>
            <a:ext cx="9144000" cy="1716791"/>
          </a:xfrm>
          <a:prstGeom prst="rect">
            <a:avLst/>
          </a:prstGeom>
        </p:spPr>
      </p:pic>
      <p:sp>
        <p:nvSpPr>
          <p:cNvPr id="9" name="Content Placeholder 4"/>
          <p:cNvSpPr>
            <a:spLocks noGrp="1"/>
          </p:cNvSpPr>
          <p:nvPr>
            <p:ph sz="quarter" idx="10"/>
          </p:nvPr>
        </p:nvSpPr>
        <p:spPr>
          <a:xfrm>
            <a:off x="661922" y="2134673"/>
            <a:ext cx="7820156" cy="257175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2175961" y="1202232"/>
            <a:ext cx="184731" cy="600164"/>
          </a:xfrm>
          <a:prstGeom prst="rect">
            <a:avLst/>
          </a:prstGeom>
          <a:noFill/>
          <a:ln>
            <a:noFill/>
          </a:ln>
        </p:spPr>
        <p:txBody>
          <a:bodyPr wrap="none" rtlCol="0" anchor="ctr">
            <a:spAutoFit/>
          </a:bodyPr>
          <a:lstStyle/>
          <a:p>
            <a:pPr defTabSz="686412"/>
            <a:endParaRPr lang="en-US" sz="3300" dirty="0">
              <a:solidFill>
                <a:sysClr val="windowText" lastClr="000000"/>
              </a:solidFill>
            </a:endParaRPr>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17" name="Picture 16"/>
          <p:cNvPicPr>
            <a:picLocks noChangeAspect="1"/>
          </p:cNvPicPr>
          <p:nvPr userDrawn="1"/>
        </p:nvPicPr>
        <p:blipFill>
          <a:blip r:embed="rId3"/>
          <a:stretch>
            <a:fillRect/>
          </a:stretch>
        </p:blipFill>
        <p:spPr>
          <a:xfrm>
            <a:off x="8081801" y="4870915"/>
            <a:ext cx="782016" cy="143333"/>
          </a:xfrm>
          <a:prstGeom prst="rect">
            <a:avLst/>
          </a:prstGeom>
        </p:spPr>
      </p:pic>
      <p:sp>
        <p:nvSpPr>
          <p:cNvPr id="11"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20 NetApp, Inc. All rights reserved. </a:t>
            </a:r>
            <a:endParaRPr dirty="0">
              <a:solidFill>
                <a:srgbClr val="A2A5A2">
                  <a:lumMod val="50000"/>
                </a:srgbClr>
              </a:solidFill>
            </a:endParaRPr>
          </a:p>
        </p:txBody>
      </p:sp>
      <p:pic>
        <p:nvPicPr>
          <p:cNvPr id="12" name="Picture 11">
            <a:extLst>
              <a:ext uri="{FF2B5EF4-FFF2-40B4-BE49-F238E27FC236}">
                <a16:creationId xmlns:a16="http://schemas.microsoft.com/office/drawing/2014/main" id="{38C6FBA6-3F8B-4E5E-8904-016DBEA899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0" y="1"/>
            <a:ext cx="2059771" cy="1716790"/>
          </a:xfrm>
          <a:prstGeom prst="rect">
            <a:avLst/>
          </a:prstGeom>
        </p:spPr>
      </p:pic>
      <p:sp>
        <p:nvSpPr>
          <p:cNvPr id="14" name="Title 2"/>
          <p:cNvSpPr>
            <a:spLocks noGrp="1"/>
          </p:cNvSpPr>
          <p:nvPr>
            <p:ph type="title" hasCustomPrompt="1"/>
          </p:nvPr>
        </p:nvSpPr>
        <p:spPr>
          <a:xfrm>
            <a:off x="2425407" y="467187"/>
            <a:ext cx="6051753" cy="678596"/>
          </a:xfrm>
        </p:spPr>
        <p:txBody>
          <a:bodyPr wrap="square" lIns="91521">
            <a:noAutofit/>
          </a:bodyPr>
          <a:lstStyle>
            <a:lvl1pPr>
              <a:defRPr lang="en-US" sz="3300" kern="1200" dirty="0">
                <a:solidFill>
                  <a:sysClr val="windowText" lastClr="000000"/>
                </a:solidFill>
                <a:latin typeface="+mn-lt"/>
                <a:ea typeface="+mn-ea"/>
                <a:cs typeface="+mn-cs"/>
              </a:defRPr>
            </a:lvl1pPr>
          </a:lstStyle>
          <a:p>
            <a:r>
              <a:rPr lang="en-US" dirty="0"/>
              <a:t>Click to Edit Master Title Style</a:t>
            </a:r>
          </a:p>
        </p:txBody>
      </p:sp>
    </p:spTree>
    <p:extLst>
      <p:ext uri="{BB962C8B-B14F-4D97-AF65-F5344CB8AC3E}">
        <p14:creationId xmlns:p14="http://schemas.microsoft.com/office/powerpoint/2010/main" val="135469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080">
          <p15:clr>
            <a:srgbClr val="FBAE40"/>
          </p15:clr>
        </p15:guide>
        <p15:guide id="3" pos="672">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5DBCE4F-F334-4A2E-A274-278A0D95AC6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81" t="1526" r="-1" b="3826"/>
          <a:stretch/>
        </p:blipFill>
        <p:spPr>
          <a:xfrm>
            <a:off x="0" y="0"/>
            <a:ext cx="9150955" cy="5143500"/>
          </a:xfrm>
          <a:prstGeom prst="rect">
            <a:avLst/>
          </a:prstGeom>
        </p:spPr>
      </p:pic>
      <p:sp>
        <p:nvSpPr>
          <p:cNvPr id="7"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tx1"/>
                </a:solidFill>
              </a:defRPr>
            </a:lvl1pPr>
          </a:lstStyle>
          <a:p>
            <a:fld id="{B071A5F3-A4FF-4CEE-8215-C08835B585C1}" type="slidenum">
              <a:rPr>
                <a:solidFill>
                  <a:prstClr val="black"/>
                </a:solidFill>
              </a:rPr>
              <a:pPr/>
              <a:t>‹#›</a:t>
            </a:fld>
            <a:endParaRPr dirty="0">
              <a:solidFill>
                <a:prstClr val="black"/>
              </a:solidFill>
            </a:endParaRPr>
          </a:p>
        </p:txBody>
      </p:sp>
      <p:sp>
        <p:nvSpPr>
          <p:cNvPr id="9" name="Text Placeholder 3"/>
          <p:cNvSpPr>
            <a:spLocks noGrp="1"/>
          </p:cNvSpPr>
          <p:nvPr>
            <p:ph type="body" sz="quarter" idx="10" hasCustomPrompt="1"/>
          </p:nvPr>
        </p:nvSpPr>
        <p:spPr>
          <a:xfrm>
            <a:off x="557358" y="1926349"/>
            <a:ext cx="6791189" cy="1102519"/>
          </a:xfrm>
        </p:spPr>
        <p:txBody>
          <a:bodyPr anchor="b"/>
          <a:lstStyle>
            <a:lvl1pPr marL="0" indent="0">
              <a:buNone/>
              <a:defRPr sz="3300">
                <a:solidFill>
                  <a:schemeClr val="tx1"/>
                </a:solidFill>
              </a:defRPr>
            </a:lvl1pPr>
          </a:lstStyle>
          <a:p>
            <a:pPr lvl="0"/>
            <a:r>
              <a:rPr lang="en-US" dirty="0"/>
              <a:t>Click to Edit Master Title Style</a:t>
            </a:r>
          </a:p>
        </p:txBody>
      </p:sp>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tx1"/>
                </a:solidFill>
              </a:defRPr>
            </a:lvl1pPr>
          </a:lstStyle>
          <a:p>
            <a:r>
              <a:rPr lang="en-US">
                <a:solidFill>
                  <a:prstClr val="black"/>
                </a:solidFill>
              </a:rPr>
              <a:t>© 2020 NetApp, Inc. All rights reserved. </a:t>
            </a:r>
            <a:endParaRPr dirty="0">
              <a:solidFill>
                <a:prstClr val="black"/>
              </a:solidFill>
            </a:endParaRPr>
          </a:p>
        </p:txBody>
      </p:sp>
      <p:pic>
        <p:nvPicPr>
          <p:cNvPr id="10" name="Picture 9">
            <a:extLst>
              <a:ext uri="{FF2B5EF4-FFF2-40B4-BE49-F238E27FC236}">
                <a16:creationId xmlns:a16="http://schemas.microsoft.com/office/drawing/2014/main" id="{FB755897-8EA7-4D96-87E3-B6377EF6F2D3}"/>
              </a:ext>
            </a:extLst>
          </p:cNvPr>
          <p:cNvPicPr>
            <a:picLocks noChangeAspect="1"/>
          </p:cNvPicPr>
          <p:nvPr userDrawn="1"/>
        </p:nvPicPr>
        <p:blipFill>
          <a:blip r:embed="rId3"/>
          <a:stretch>
            <a:fillRect/>
          </a:stretch>
        </p:blipFill>
        <p:spPr>
          <a:xfrm>
            <a:off x="627623" y="742950"/>
            <a:ext cx="1371957" cy="251460"/>
          </a:xfrm>
          <a:prstGeom prst="rect">
            <a:avLst/>
          </a:prstGeom>
        </p:spPr>
      </p:pic>
    </p:spTree>
    <p:extLst>
      <p:ext uri="{BB962C8B-B14F-4D97-AF65-F5344CB8AC3E}">
        <p14:creationId xmlns:p14="http://schemas.microsoft.com/office/powerpoint/2010/main" val="1977135246"/>
      </p:ext>
    </p:extLst>
  </p:cSld>
  <p:clrMapOvr>
    <a:masterClrMapping/>
  </p:clrMapOvr>
  <p:transition spd="med">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p:nvPr>
        </p:nvSpPr>
        <p:spPr>
          <a:xfrm>
            <a:off x="197274" y="1300164"/>
            <a:ext cx="8746228" cy="3359944"/>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06848" y="829815"/>
            <a:ext cx="873936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10" name="Footer Placeholder 4"/>
          <p:cNvSpPr>
            <a:spLocks noGrp="1"/>
          </p:cNvSpPr>
          <p:nvPr>
            <p:ph type="ftr" sz="quarter" idx="3"/>
          </p:nvPr>
        </p:nvSpPr>
        <p:spPr>
          <a:xfrm>
            <a:off x="667057" y="4854551"/>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a:t>© 2020 NetApp, Inc. All rights reserved. </a:t>
            </a:r>
            <a:endParaRPr lang="en-US" dirty="0"/>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
        <p:nvSpPr>
          <p:cNvPr id="13"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80484" y="4871384"/>
            <a:ext cx="783333" cy="142863"/>
          </a:xfrm>
          <a:prstGeom prst="rect">
            <a:avLst/>
          </a:prstGeom>
        </p:spPr>
      </p:pic>
    </p:spTree>
    <p:extLst>
      <p:ext uri="{BB962C8B-B14F-4D97-AF65-F5344CB8AC3E}">
        <p14:creationId xmlns:p14="http://schemas.microsoft.com/office/powerpoint/2010/main" val="1377424984"/>
      </p:ext>
    </p:extLst>
  </p:cSld>
  <p:clrMapOvr>
    <a:masterClrMapping/>
  </p:clrMapOvr>
  <p:transition spd="med">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197274" y="180248"/>
            <a:ext cx="8746228" cy="678596"/>
          </a:xfrm>
        </p:spPr>
        <p:txBody>
          <a:bodyPr lIns="91521" tIns="45761" rIns="91521" bIns="45761">
            <a:noAutofit/>
          </a:bodyPr>
          <a:lstStyle>
            <a:lvl1pPr>
              <a:defRPr sz="2250"/>
            </a:lvl1pPr>
          </a:lstStyle>
          <a:p>
            <a:r>
              <a:rPr lang="en-US" dirty="0"/>
              <a:t>Click to edit Master title style</a:t>
            </a:r>
          </a:p>
        </p:txBody>
      </p:sp>
      <p:sp>
        <p:nvSpPr>
          <p:cNvPr id="40" name="Text Placeholder 2"/>
          <p:cNvSpPr>
            <a:spLocks noGrp="1"/>
          </p:cNvSpPr>
          <p:nvPr>
            <p:ph type="body" idx="10" hasCustomPrompt="1"/>
          </p:nvPr>
        </p:nvSpPr>
        <p:spPr bwMode="gray">
          <a:xfrm>
            <a:off x="206848" y="829815"/>
            <a:ext cx="8739368" cy="300082"/>
          </a:xfrm>
        </p:spPr>
        <p:txBody>
          <a:bodyPr lIns="91521" tIns="45761" rIns="91521" bIns="45761" anchor="t">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dirty="0"/>
              <a:t>Click to edit master text styles</a:t>
            </a:r>
          </a:p>
        </p:txBody>
      </p:sp>
      <p:sp>
        <p:nvSpPr>
          <p:cNvPr id="8" name="Footer Placeholder 4"/>
          <p:cNvSpPr>
            <a:spLocks noGrp="1"/>
          </p:cNvSpPr>
          <p:nvPr>
            <p:ph type="ftr" sz="quarter" idx="3"/>
          </p:nvPr>
        </p:nvSpPr>
        <p:spPr>
          <a:xfrm>
            <a:off x="667057" y="4854551"/>
            <a:ext cx="4905348" cy="180367"/>
          </a:xfrm>
          <a:prstGeom prst="rect">
            <a:avLst/>
          </a:prstGeom>
        </p:spPr>
        <p:txBody>
          <a:bodyPr vert="horz" wrap="square" lIns="91521" tIns="45761" rIns="91521" bIns="45761" rtlCol="0" anchor="b">
            <a:noAutofit/>
          </a:bodyPr>
          <a:lstStyle>
            <a:lvl1pPr>
              <a:defRPr lang="en-US" sz="600" smtClean="0">
                <a:solidFill>
                  <a:schemeClr val="bg2"/>
                </a:solidFill>
              </a:defRPr>
            </a:lvl1pPr>
          </a:lstStyle>
          <a:p>
            <a:r>
              <a:rPr lang="en-US"/>
              <a:t>© 2020 NetApp, Inc. All rights reserved. </a:t>
            </a:r>
            <a:endParaRPr lang="en-US" dirty="0"/>
          </a:p>
        </p:txBody>
      </p:sp>
      <p:sp>
        <p:nvSpPr>
          <p:cNvPr id="10"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
        <p:nvSpPr>
          <p:cNvPr id="12" name="Text Placeholder 6"/>
          <p:cNvSpPr>
            <a:spLocks noGrp="1"/>
          </p:cNvSpPr>
          <p:nvPr>
            <p:ph type="body" sz="quarter" idx="16" hasCustomPrompt="1"/>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dirty="0"/>
              <a:t>Click to insert source information</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80484" y="4871384"/>
            <a:ext cx="783333" cy="142863"/>
          </a:xfrm>
          <a:prstGeom prst="rect">
            <a:avLst/>
          </a:prstGeom>
        </p:spPr>
      </p:pic>
    </p:spTree>
    <p:extLst>
      <p:ext uri="{BB962C8B-B14F-4D97-AF65-F5344CB8AC3E}">
        <p14:creationId xmlns:p14="http://schemas.microsoft.com/office/powerpoint/2010/main" val="3290858809"/>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rgbClr val="FFFFFF"/>
        </a:solidFill>
        <a:effectLst/>
      </p:bgPr>
    </p:bg>
    <p:spTree>
      <p:nvGrpSpPr>
        <p:cNvPr id="1" name=""/>
        <p:cNvGrpSpPr/>
        <p:nvPr/>
      </p:nvGrpSpPr>
      <p:grpSpPr>
        <a:xfrm>
          <a:off x="0" y="0"/>
          <a:ext cx="0" cy="0"/>
          <a:chOff x="0" y="0"/>
          <a:chExt cx="0" cy="0"/>
        </a:xfrm>
      </p:grpSpPr>
      <p:pic>
        <p:nvPicPr>
          <p:cNvPr id="10" name="Picture 3" descr="Z:\2018 Projects\NetApp\Demand Gen campaigns\FlexPod campaign (18-CL-0370-00287)\4815_Campaign Imagery (x4)\6_Final Files\NET_4784_FlexPod Demand Gen_Image_B_100518.png">
            <a:extLst>
              <a:ext uri="{FF2B5EF4-FFF2-40B4-BE49-F238E27FC236}">
                <a16:creationId xmlns:a16="http://schemas.microsoft.com/office/drawing/2014/main" id="{F2CA5487-D4F7-DD4F-B8A7-9E4D6E77BD9F}"/>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ctrTitle" hasCustomPrompt="1"/>
          </p:nvPr>
        </p:nvSpPr>
        <p:spPr>
          <a:xfrm>
            <a:off x="634713" y="3239835"/>
            <a:ext cx="6400579"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392965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pic>
        <p:nvPicPr>
          <p:cNvPr id="6" name="Picture 5" descr="Cisco_CMYKReversedLogo.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0669" y="4615716"/>
            <a:ext cx="573883" cy="301950"/>
          </a:xfrm>
          <a:prstGeom prst="rect">
            <a:avLst/>
          </a:prstGeom>
        </p:spPr>
      </p:pic>
      <p:pic>
        <p:nvPicPr>
          <p:cNvPr id="8" name="Picture 7" descr="na_logo_hrz_1c-rev_rgb_lrg.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12681" y="4738783"/>
            <a:ext cx="763962" cy="139366"/>
          </a:xfrm>
          <a:prstGeom prst="rect">
            <a:avLst/>
          </a:prstGeom>
        </p:spPr>
      </p:pic>
    </p:spTree>
    <p:extLst>
      <p:ext uri="{BB962C8B-B14F-4D97-AF65-F5344CB8AC3E}">
        <p14:creationId xmlns:p14="http://schemas.microsoft.com/office/powerpoint/2010/main" val="320585245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rgbClr val="FFFFFF"/>
        </a:solidFill>
        <a:effectLst/>
      </p:bgPr>
    </p:bg>
    <p:spTree>
      <p:nvGrpSpPr>
        <p:cNvPr id="1" name=""/>
        <p:cNvGrpSpPr/>
        <p:nvPr/>
      </p:nvGrpSpPr>
      <p:grpSpPr>
        <a:xfrm>
          <a:off x="0" y="0"/>
          <a:ext cx="0" cy="0"/>
          <a:chOff x="0" y="0"/>
          <a:chExt cx="0" cy="0"/>
        </a:xfrm>
      </p:grpSpPr>
      <p:pic>
        <p:nvPicPr>
          <p:cNvPr id="3" name="Picture 2" descr="FlexPod-shipping-containers-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4" y="3624162"/>
            <a:ext cx="5740498"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395796807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B">
    <p:bg>
      <p:bgPr>
        <a:solidFill>
          <a:srgbClr val="FFFFFF"/>
        </a:solidFill>
        <a:effectLst/>
      </p:bgPr>
    </p:bg>
    <p:spTree>
      <p:nvGrpSpPr>
        <p:cNvPr id="1" name=""/>
        <p:cNvGrpSpPr/>
        <p:nvPr/>
      </p:nvGrpSpPr>
      <p:grpSpPr>
        <a:xfrm>
          <a:off x="0" y="0"/>
          <a:ext cx="0" cy="0"/>
          <a:chOff x="0" y="0"/>
          <a:chExt cx="0" cy="0"/>
        </a:xfrm>
      </p:grpSpPr>
      <p:pic>
        <p:nvPicPr>
          <p:cNvPr id="2" name="Picture 1" descr="FlexPod-LA-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3" y="1382545"/>
            <a:ext cx="5707077" cy="633663"/>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154978784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D">
    <p:bg>
      <p:bgPr>
        <a:solidFill>
          <a:srgbClr val="FFFFFF"/>
        </a:solidFill>
        <a:effectLst/>
      </p:bgPr>
    </p:bg>
    <p:spTree>
      <p:nvGrpSpPr>
        <p:cNvPr id="1" name=""/>
        <p:cNvGrpSpPr/>
        <p:nvPr/>
      </p:nvGrpSpPr>
      <p:grpSpPr>
        <a:xfrm>
          <a:off x="0" y="0"/>
          <a:ext cx="0" cy="0"/>
          <a:chOff x="0" y="0"/>
          <a:chExt cx="0" cy="0"/>
        </a:xfrm>
      </p:grpSpPr>
      <p:pic>
        <p:nvPicPr>
          <p:cNvPr id="2" name="Picture 1" descr="FSA-Image-2.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634714" y="1382959"/>
            <a:ext cx="5840764" cy="633663"/>
          </a:xfrm>
          <a:prstGeom prst="rect">
            <a:avLst/>
          </a:prstGeom>
        </p:spPr>
        <p:txBody>
          <a:bodyPr anchor="b"/>
          <a:lstStyle>
            <a:lvl1pPr>
              <a:defRPr sz="4500" b="1">
                <a:solidFill>
                  <a:schemeClr val="tx2"/>
                </a:solidFill>
              </a:defRPr>
            </a:lvl1pPr>
          </a:lstStyle>
          <a:p>
            <a:r>
              <a:rPr lang="en-US"/>
              <a:t>Click To Edit Master Title Style</a:t>
            </a:r>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74853280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REAK SLIDE A">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4 at 12.49.21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14137781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EDD9CAE5-9943-4B1C-B923-523E710D2A66}"/>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6E7ABDF4-0127-43A7-A368-8BD5628E1C8C}" type="slidenum">
              <a:rPr/>
              <a:pPr>
                <a:defRPr/>
              </a:pPr>
              <a:t>‹#›</a:t>
            </a:fld>
            <a:endParaRPr/>
          </a:p>
        </p:txBody>
      </p:sp>
      <p:sp>
        <p:nvSpPr>
          <p:cNvPr id="6" name="Footer Placeholder 4">
            <a:extLst>
              <a:ext uri="{FF2B5EF4-FFF2-40B4-BE49-F238E27FC236}">
                <a16:creationId xmlns:a16="http://schemas.microsoft.com/office/drawing/2014/main" id="{3291FB1D-AD51-491C-A8BB-DF257AF990F0}"/>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929404213"/>
      </p:ext>
    </p:extLst>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REAK SLIDE B">
    <p:bg>
      <p:bgPr>
        <a:solidFill>
          <a:srgbClr val="FFFFFF"/>
        </a:solidFill>
        <a:effectLst/>
      </p:bgPr>
    </p:bg>
    <p:spTree>
      <p:nvGrpSpPr>
        <p:cNvPr id="1" name=""/>
        <p:cNvGrpSpPr/>
        <p:nvPr/>
      </p:nvGrpSpPr>
      <p:grpSpPr>
        <a:xfrm>
          <a:off x="0" y="0"/>
          <a:ext cx="0" cy="0"/>
          <a:chOff x="0" y="0"/>
          <a:chExt cx="0" cy="0"/>
        </a:xfrm>
      </p:grpSpPr>
      <p:pic>
        <p:nvPicPr>
          <p:cNvPr id="3" name="Picture 2" descr="Screen Shot 2016-07-13 at 2.49.37 PM.png"/>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a:stretch/>
        </p:blipFill>
        <p:spPr>
          <a:xfrm>
            <a:off x="0" y="1"/>
            <a:ext cx="9144000" cy="5166178"/>
          </a:xfrm>
          <a:prstGeom prst="rect">
            <a:avLst/>
          </a:prstGeom>
          <a:ln>
            <a:noFill/>
          </a:ln>
          <a:effectLst/>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54338374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REAK SLIDE C">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4 at 4.26.1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8 NetApp, Inc. Cisco, Inc. All rights reserved. </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06483305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REAK SLIDE D">
    <p:bg>
      <p:bgPr>
        <a:solidFill>
          <a:srgbClr val="FFFFFF"/>
        </a:solidFill>
        <a:effectLst/>
      </p:bgPr>
    </p:bg>
    <p:spTree>
      <p:nvGrpSpPr>
        <p:cNvPr id="1" name=""/>
        <p:cNvGrpSpPr/>
        <p:nvPr/>
      </p:nvGrpSpPr>
      <p:grpSpPr>
        <a:xfrm>
          <a:off x="0" y="0"/>
          <a:ext cx="0" cy="0"/>
          <a:chOff x="0" y="0"/>
          <a:chExt cx="0" cy="0"/>
        </a:xfrm>
      </p:grpSpPr>
      <p:pic>
        <p:nvPicPr>
          <p:cNvPr id="3" name="Picture 2" descr="Screen Shot 2016-07-14 at 2.40.14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1"/>
          <p:cNvSpPr>
            <a:spLocks noGrp="1"/>
          </p:cNvSpPr>
          <p:nvPr>
            <p:ph type="ctrTitle" hasCustomPrompt="1"/>
          </p:nvPr>
        </p:nvSpPr>
        <p:spPr>
          <a:xfrm>
            <a:off x="803275" y="2046288"/>
            <a:ext cx="7772400" cy="1298045"/>
          </a:xfrm>
          <a:prstGeom prst="rect">
            <a:avLst/>
          </a:prstGeom>
        </p:spPr>
        <p:txBody>
          <a:bodyPr anchor="ctr"/>
          <a:lstStyle>
            <a:lvl1pPr>
              <a:defRPr sz="5500" b="1">
                <a:solidFill>
                  <a:schemeClr val="bg1"/>
                </a:solidFill>
              </a:defRPr>
            </a:lvl1pPr>
          </a:lstStyle>
          <a:p>
            <a:r>
              <a:rPr lang="en-US"/>
              <a:t>Click to edit master title style</a:t>
            </a:r>
          </a:p>
        </p:txBody>
      </p:sp>
      <p:sp>
        <p:nvSpPr>
          <p:cNvPr id="10" name="TextBox 9"/>
          <p:cNvSpPr txBox="1"/>
          <p:nvPr userDrawn="1"/>
        </p:nvSpPr>
        <p:spPr>
          <a:xfrm>
            <a:off x="5514975" y="4897259"/>
            <a:ext cx="3329393"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7" name="Picture 6" descr="FlexPod_Reg_CMYK-withbubble-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Tree>
    <p:extLst>
      <p:ext uri="{BB962C8B-B14F-4D97-AF65-F5344CB8AC3E}">
        <p14:creationId xmlns:p14="http://schemas.microsoft.com/office/powerpoint/2010/main" val="231293135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3_Title Slide">
    <p:bg>
      <p:bgPr>
        <a:solidFill>
          <a:srgbClr val="FFFFFF"/>
        </a:solidFill>
        <a:effectLst/>
      </p:bgPr>
    </p:bg>
    <p:spTree>
      <p:nvGrpSpPr>
        <p:cNvPr id="1" name=""/>
        <p:cNvGrpSpPr/>
        <p:nvPr/>
      </p:nvGrpSpPr>
      <p:grpSpPr>
        <a:xfrm>
          <a:off x="0" y="0"/>
          <a:ext cx="0" cy="0"/>
          <a:chOff x="0" y="0"/>
          <a:chExt cx="0" cy="0"/>
        </a:xfrm>
      </p:grpSpPr>
      <p:pic>
        <p:nvPicPr>
          <p:cNvPr id="2" name="Picture 1" descr="offset_379195.jp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4" name="Rectangle 3"/>
          <p:cNvSpPr/>
          <p:nvPr userDrawn="1"/>
        </p:nvSpPr>
        <p:spPr bwMode="auto">
          <a:xfrm>
            <a:off x="1" y="0"/>
            <a:ext cx="4775200" cy="5143500"/>
          </a:xfrm>
          <a:prstGeom prst="rect">
            <a:avLst/>
          </a:prstGeom>
          <a:solidFill>
            <a:srgbClr val="000000">
              <a:alpha val="66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1619" y="800100"/>
            <a:ext cx="3725381" cy="1980785"/>
          </a:xfrm>
          <a:prstGeom prst="rect">
            <a:avLst/>
          </a:prstGeom>
        </p:spPr>
        <p:txBody>
          <a:bodyPr anchor="t"/>
          <a:lstStyle>
            <a:lvl1pPr>
              <a:defRPr sz="2800" b="1">
                <a:solidFill>
                  <a:schemeClr val="bg1"/>
                </a:solidFill>
              </a:defRPr>
            </a:lvl1pPr>
          </a:lstStyle>
          <a:p>
            <a:r>
              <a:rPr lang="en-US"/>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spTree>
    <p:extLst>
      <p:ext uri="{BB962C8B-B14F-4D97-AF65-F5344CB8AC3E}">
        <p14:creationId xmlns:p14="http://schemas.microsoft.com/office/powerpoint/2010/main" val="237630808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6_Title Slide">
    <p:bg>
      <p:bgPr>
        <a:solidFill>
          <a:srgbClr val="FFFFFF"/>
        </a:solidFill>
        <a:effectLst/>
      </p:bgPr>
    </p:bg>
    <p:spTree>
      <p:nvGrpSpPr>
        <p:cNvPr id="1" name=""/>
        <p:cNvGrpSpPr/>
        <p:nvPr/>
      </p:nvGrpSpPr>
      <p:grpSpPr>
        <a:xfrm>
          <a:off x="0" y="0"/>
          <a:ext cx="0" cy="0"/>
          <a:chOff x="0" y="0"/>
          <a:chExt cx="0" cy="0"/>
        </a:xfrm>
      </p:grpSpPr>
      <p:pic>
        <p:nvPicPr>
          <p:cNvPr id="2" name="Picture 1" descr="Screen Shot 2016-07-13 at 2.54.46 PM.png"/>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6" y="0"/>
            <a:ext cx="9144006" cy="5143500"/>
          </a:xfrm>
          <a:prstGeom prst="rect">
            <a:avLst/>
          </a:prstGeom>
        </p:spPr>
      </p:pic>
      <p:sp>
        <p:nvSpPr>
          <p:cNvPr id="7" name="Rectangle 6"/>
          <p:cNvSpPr/>
          <p:nvPr userDrawn="1"/>
        </p:nvSpPr>
        <p:spPr bwMode="auto">
          <a:xfrm>
            <a:off x="0" y="0"/>
            <a:ext cx="6984775" cy="5143500"/>
          </a:xfrm>
          <a:prstGeom prst="rect">
            <a:avLst/>
          </a:prstGeom>
          <a:solidFill>
            <a:srgbClr val="000000">
              <a:alpha val="77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9" name="Title 1"/>
          <p:cNvSpPr>
            <a:spLocks noGrp="1"/>
          </p:cNvSpPr>
          <p:nvPr>
            <p:ph type="ctrTitle" hasCustomPrompt="1"/>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p>
        </p:txBody>
      </p:sp>
      <p:sp>
        <p:nvSpPr>
          <p:cNvPr id="8" name="TextBox 7"/>
          <p:cNvSpPr txBox="1"/>
          <p:nvPr userDrawn="1"/>
        </p:nvSpPr>
        <p:spPr>
          <a:xfrm>
            <a:off x="6306606" y="4897259"/>
            <a:ext cx="2537762"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8 NetApp, Inc. Cisco, Inc. All rights reserved. </a:t>
            </a:r>
          </a:p>
        </p:txBody>
      </p:sp>
      <p:pic>
        <p:nvPicPr>
          <p:cNvPr id="10" name="Picture 9" descr="FlexPod_Reg_CMYK-withbubbl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spTree>
    <p:extLst>
      <p:ext uri="{BB962C8B-B14F-4D97-AF65-F5344CB8AC3E}">
        <p14:creationId xmlns:p14="http://schemas.microsoft.com/office/powerpoint/2010/main" val="272705633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2763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5" y="0"/>
            <a:ext cx="3948545" cy="5143500"/>
          </a:xfrm>
          <a:prstGeom prst="rect">
            <a:avLst/>
          </a:prstGeom>
          <a:solidFill>
            <a:srgbClr val="3C3939"/>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576835" y="4897259"/>
            <a:ext cx="3267533"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3" name="Title 2">
            <a:extLst>
              <a:ext uri="{FF2B5EF4-FFF2-40B4-BE49-F238E27FC236}">
                <a16:creationId xmlns:a16="http://schemas.microsoft.com/office/drawing/2014/main" id="{0F7570A9-27A2-EF4A-B40C-6B709109FB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468824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5" y="0"/>
            <a:ext cx="3948545" cy="5143500"/>
          </a:xfrm>
          <a:prstGeom prst="rect">
            <a:avLst/>
          </a:prstGeom>
          <a:solidFill>
            <a:srgbClr val="0B568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pic>
        <p:nvPicPr>
          <p:cNvPr id="10" name="Picture 9"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7" name="TextBox 6">
            <a:extLst>
              <a:ext uri="{FF2B5EF4-FFF2-40B4-BE49-F238E27FC236}">
                <a16:creationId xmlns:a16="http://schemas.microsoft.com/office/drawing/2014/main" id="{D6CC2215-1C1C-5340-AA56-E2E60613F0BC}"/>
              </a:ext>
            </a:extLst>
          </p:cNvPr>
          <p:cNvSpPr txBox="1"/>
          <p:nvPr userDrawn="1"/>
        </p:nvSpPr>
        <p:spPr>
          <a:xfrm>
            <a:off x="5722570" y="4897259"/>
            <a:ext cx="3121798"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sp>
        <p:nvSpPr>
          <p:cNvPr id="2" name="Title 1">
            <a:extLst>
              <a:ext uri="{FF2B5EF4-FFF2-40B4-BE49-F238E27FC236}">
                <a16:creationId xmlns:a16="http://schemas.microsoft.com/office/drawing/2014/main" id="{49E42035-9EFD-1340-A1C6-49745E7FBAC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11710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5195455" y="0"/>
            <a:ext cx="3948545" cy="5143500"/>
          </a:xfrm>
          <a:prstGeom prst="rect">
            <a:avLst/>
          </a:prstGeom>
          <a:solidFill>
            <a:srgbClr val="6FB53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5320602" y="4897259"/>
            <a:ext cx="3523766" cy="184666"/>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solidFill>
              </a:rPr>
              <a:t>© 2019 Cisco and NetApp. All rights reserved. NetApp Confidential - Limited Use Only</a:t>
            </a:r>
          </a:p>
        </p:txBody>
      </p:sp>
      <p:pic>
        <p:nvPicPr>
          <p:cNvPr id="11" name="Picture 10" descr="FlexPod_Reg_CMYK-withbubble-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01170" y="258938"/>
            <a:ext cx="1377104" cy="200646"/>
          </a:xfrm>
          <a:prstGeom prst="rect">
            <a:avLst/>
          </a:prstGeom>
        </p:spPr>
      </p:pic>
      <p:sp>
        <p:nvSpPr>
          <p:cNvPr id="2" name="Title 1">
            <a:extLst>
              <a:ext uri="{FF2B5EF4-FFF2-40B4-BE49-F238E27FC236}">
                <a16:creationId xmlns:a16="http://schemas.microsoft.com/office/drawing/2014/main" id="{18035722-CC8A-6342-B3F0-EE6ED4ABE1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485154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hasCustomPrompt="1"/>
          </p:nvPr>
        </p:nvSpPr>
        <p:spPr>
          <a:xfrm>
            <a:off x="228600" y="1846515"/>
            <a:ext cx="853440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1" hasCustomPrompt="1"/>
          </p:nvPr>
        </p:nvSpPr>
        <p:spPr bwMode="gray">
          <a:xfrm>
            <a:off x="153245" y="1023962"/>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Click to edit master text styles</a:t>
            </a:r>
          </a:p>
        </p:txBody>
      </p:sp>
      <p:sp>
        <p:nvSpPr>
          <p:cNvPr id="2" name="Title 1">
            <a:extLst>
              <a:ext uri="{FF2B5EF4-FFF2-40B4-BE49-F238E27FC236}">
                <a16:creationId xmlns:a16="http://schemas.microsoft.com/office/drawing/2014/main" id="{4CEB9B17-8DEB-D64E-A562-77A793E139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45101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534245"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A4722D9-D1DB-A447-BC8C-87FE2BDBE7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218172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C3E3A1D3-0000-4C50-8B8A-07AFD62EFC7A}"/>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B67C6C48-1F9A-4720-8664-704E432E7D41}" type="slidenum">
              <a:rPr/>
              <a:pPr>
                <a:defRPr/>
              </a:pPr>
              <a:t>‹#›</a:t>
            </a:fld>
            <a:endParaRPr/>
          </a:p>
        </p:txBody>
      </p:sp>
      <p:sp>
        <p:nvSpPr>
          <p:cNvPr id="6" name="Footer Placeholder 4">
            <a:extLst>
              <a:ext uri="{FF2B5EF4-FFF2-40B4-BE49-F238E27FC236}">
                <a16:creationId xmlns:a16="http://schemas.microsoft.com/office/drawing/2014/main" id="{45E4ACBB-BE17-4F20-8EA1-0209D6F4B2CE}"/>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694668878"/>
      </p:ext>
    </p:extLst>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Virtual Cloud">
    <p:bg>
      <p:bgPr>
        <a:solidFill>
          <a:schemeClr val="bg1"/>
        </a:solidFill>
        <a:effectLst/>
      </p:bgPr>
    </p:bg>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548588"/>
      </p:ext>
    </p:extLst>
  </p:cSld>
  <p:clrMapOvr>
    <a:masterClrMapping/>
  </p:clrMapOvr>
  <p:transition spd="slow">
    <p:circl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Virtual Cloud">
    <p:bg>
      <p:bgPr>
        <a:solidFill>
          <a:schemeClr val="bg1"/>
        </a:solidFill>
        <a:effectLst/>
      </p:bgPr>
    </p:bg>
    <p:spTree>
      <p:nvGrpSpPr>
        <p:cNvPr id="1" name=""/>
        <p:cNvGrpSpPr/>
        <p:nvPr/>
      </p:nvGrpSpPr>
      <p:grpSpPr>
        <a:xfrm>
          <a:off x="0" y="0"/>
          <a:ext cx="0" cy="0"/>
          <a:chOff x="0" y="0"/>
          <a:chExt cx="0" cy="0"/>
        </a:xfrm>
      </p:grpSpPr>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E524742-C17A-D84F-9714-3E8298B49491}"/>
              </a:ext>
            </a:extLst>
          </p:cNvPr>
          <p:cNvSpPr>
            <a:spLocks noGrp="1"/>
          </p:cNvSpPr>
          <p:nvPr>
            <p:ph type="title"/>
          </p:nvPr>
        </p:nvSpPr>
        <p:spPr/>
        <p:txBody>
          <a:bodyPr/>
          <a:lstStyle/>
          <a:p>
            <a:r>
              <a:rPr lang="en-US"/>
              <a:t>Click to edit Master title style</a:t>
            </a:r>
          </a:p>
        </p:txBody>
      </p:sp>
      <p:sp>
        <p:nvSpPr>
          <p:cNvPr id="4" name="Text Placeholder 2">
            <a:extLst>
              <a:ext uri="{FF2B5EF4-FFF2-40B4-BE49-F238E27FC236}">
                <a16:creationId xmlns:a16="http://schemas.microsoft.com/office/drawing/2014/main" id="{F92D8BE6-5C54-284A-B4C2-991079421B9F}"/>
              </a:ext>
            </a:extLst>
          </p:cNvPr>
          <p:cNvSpPr>
            <a:spLocks noGrp="1"/>
          </p:cNvSpPr>
          <p:nvPr>
            <p:ph type="body" idx="11" hasCustomPrompt="1"/>
          </p:nvPr>
        </p:nvSpPr>
        <p:spPr bwMode="gray">
          <a:xfrm>
            <a:off x="153245" y="1023962"/>
            <a:ext cx="8609754" cy="301756"/>
          </a:xfrm>
          <a:prstGeom prst="rect">
            <a:avLst/>
          </a:prstGeom>
        </p:spPr>
        <p:txBody>
          <a:bodyPr lIns="68630" tIns="34319" rIns="68630" bIns="34319" anchor="t">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Click to edit master text styles</a:t>
            </a:r>
          </a:p>
        </p:txBody>
      </p:sp>
    </p:spTree>
    <p:extLst>
      <p:ext uri="{BB962C8B-B14F-4D97-AF65-F5344CB8AC3E}">
        <p14:creationId xmlns:p14="http://schemas.microsoft.com/office/powerpoint/2010/main" val="4294593215"/>
      </p:ext>
    </p:extLst>
  </p:cSld>
  <p:clrMapOvr>
    <a:masterClrMapping/>
  </p:clrMapOvr>
  <p:transition spd="slow">
    <p:circl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31674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2_Virtual Cloud">
    <p:bg>
      <p:bgPr>
        <a:solidFill>
          <a:schemeClr val="bg1"/>
        </a:solidFill>
        <a:effectLst/>
      </p:bgPr>
    </p:bg>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FFE91D8F-60AF-49E2-A000-E17EFA23B71D}"/>
              </a:ext>
            </a:extLst>
          </p:cNvPr>
          <p:cNvCxnSpPr>
            <a:cxnSpLocks noChangeShapeType="1"/>
          </p:cNvCxnSpPr>
          <p:nvPr userDrawn="1"/>
        </p:nvCxnSpPr>
        <p:spPr bwMode="auto">
          <a:xfrm>
            <a:off x="0" y="25400"/>
            <a:ext cx="9144000" cy="0"/>
          </a:xfrm>
          <a:prstGeom prst="line">
            <a:avLst/>
          </a:prstGeom>
          <a:noFill/>
          <a:ln w="50800">
            <a:solidFill>
              <a:srgbClr val="2497D5"/>
            </a:solidFill>
            <a:round/>
            <a:headEnd/>
            <a:tailEnd/>
          </a:ln>
          <a:extLst>
            <a:ext uri="{909E8E84-426E-40DD-AFC4-6F175D3DCCD1}">
              <a14:hiddenFill xmlns:a14="http://schemas.microsoft.com/office/drawing/2010/main">
                <a:noFill/>
              </a14:hiddenFill>
            </a:ext>
          </a:extLst>
        </p:spPr>
      </p:cxnSp>
      <p:pic>
        <p:nvPicPr>
          <p:cNvPr id="5" name="Picture 8" descr="FlexPod_Reg_CMYK-withbubble.png">
            <a:extLst>
              <a:ext uri="{FF2B5EF4-FFF2-40B4-BE49-F238E27FC236}">
                <a16:creationId xmlns:a16="http://schemas.microsoft.com/office/drawing/2014/main" id="{3EED955B-D2FA-485B-BF49-B51FF6013EB8}"/>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66BF7BD-4C5D-484B-9984-3573D983CD7B}"/>
              </a:ext>
            </a:extLst>
          </p:cNvPr>
          <p:cNvSpPr txBox="1"/>
          <p:nvPr userDrawn="1"/>
        </p:nvSpPr>
        <p:spPr>
          <a:xfrm>
            <a:off x="5562600" y="4897438"/>
            <a:ext cx="3281363" cy="184150"/>
          </a:xfrm>
          <a:prstGeom prst="rect">
            <a:avLst/>
          </a:prstGeom>
          <a:noFill/>
        </p:spPr>
        <p:txBody>
          <a:bodyPr>
            <a:spAutoFit/>
          </a:bodyPr>
          <a:lstStyle/>
          <a:p>
            <a:pPr algn="r" eaLnBrk="1" hangingPunct="1">
              <a:buClr>
                <a:schemeClr val="accent3"/>
              </a:buClr>
              <a:defRPr/>
            </a:pPr>
            <a:r>
              <a:rPr lang="en-US" sz="600">
                <a:latin typeface="Arial" charset="0"/>
              </a:rPr>
              <a:t>© 2019 Cisco and NetApp. All rights reserved. NetApp Confidential - Limited Use Only</a:t>
            </a:r>
          </a:p>
        </p:txBody>
      </p:sp>
      <p:sp>
        <p:nvSpPr>
          <p:cNvPr id="9" name="Title 1"/>
          <p:cNvSpPr>
            <a:spLocks noGrp="1"/>
          </p:cNvSpPr>
          <p:nvPr>
            <p:ph type="ctrTitle"/>
          </p:nvPr>
        </p:nvSpPr>
        <p:spPr>
          <a:xfrm>
            <a:off x="278058" y="259487"/>
            <a:ext cx="7521556" cy="437508"/>
          </a:xfrm>
          <a:prstGeom prst="rect">
            <a:avLst/>
          </a:prstGeom>
        </p:spPr>
        <p:txBody>
          <a:bodyPr anchor="t"/>
          <a:lstStyle>
            <a:lvl1pPr>
              <a:defRPr sz="2800" b="1">
                <a:solidFill>
                  <a:schemeClr val="tx1"/>
                </a:solidFill>
              </a:defRPr>
            </a:lvl1pPr>
          </a:lstStyle>
          <a:p>
            <a:r>
              <a:rPr lang="en-US"/>
              <a:t>Click to edit Master title style</a:t>
            </a:r>
          </a:p>
        </p:txBody>
      </p:sp>
      <p:sp>
        <p:nvSpPr>
          <p:cNvPr id="14" name="Text Placeholder 13"/>
          <p:cNvSpPr>
            <a:spLocks noGrp="1"/>
          </p:cNvSpPr>
          <p:nvPr>
            <p:ph type="body" sz="quarter" idx="10"/>
          </p:nvPr>
        </p:nvSpPr>
        <p:spPr>
          <a:xfrm>
            <a:off x="278058" y="1191986"/>
            <a:ext cx="8566310" cy="3532414"/>
          </a:xfrm>
        </p:spPr>
        <p:txBody>
          <a:bodyPr/>
          <a:lstStyle>
            <a:lvl1pPr>
              <a:buClrTx/>
              <a:defRPr sz="1500"/>
            </a:lvl1pPr>
            <a:lvl2pPr>
              <a:buClrTx/>
              <a:defRPr sz="1200"/>
            </a:lvl2pPr>
            <a:lvl3pPr>
              <a:buClrTx/>
              <a:defRPr sz="1200"/>
            </a:lvl3pPr>
            <a:lvl4pPr>
              <a:buClrTx/>
              <a:defRPr sz="1200"/>
            </a:lvl4pPr>
            <a:lvl5pPr>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07878"/>
      </p:ext>
    </p:extLst>
  </p:cSld>
  <p:clrMapOvr>
    <a:masterClrMapping/>
  </p:clrMapOvr>
  <p:transition spd="slow">
    <p:circl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Heading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6F9F80A8-1020-4CD0-89A5-C65DDC8911FC}"/>
              </a:ext>
            </a:extLst>
          </p:cNvPr>
          <p:cNvSpPr>
            <a:spLocks noGrp="1"/>
          </p:cNvSpPr>
          <p:nvPr>
            <p:ph type="ftr" sz="quarter" idx="10"/>
          </p:nvPr>
        </p:nvSpPr>
        <p:spPr>
          <a:xfrm>
            <a:off x="0" y="0"/>
            <a:ext cx="0" cy="0"/>
          </a:xfrm>
        </p:spPr>
        <p:txBody>
          <a:bodyPr/>
          <a:lstStyle>
            <a:lvl1pPr>
              <a:defRPr dirty="0">
                <a:hlinkClick r:id="" action="ppaction://noaction"/>
              </a:defRPr>
            </a:lvl1pPr>
          </a:lstStyle>
          <a:p>
            <a:pPr>
              <a:defRPr/>
            </a:pPr>
            <a:endParaRPr lang="en-US"/>
          </a:p>
        </p:txBody>
      </p:sp>
    </p:spTree>
    <p:extLst>
      <p:ext uri="{BB962C8B-B14F-4D97-AF65-F5344CB8AC3E}">
        <p14:creationId xmlns:p14="http://schemas.microsoft.com/office/powerpoint/2010/main" val="264933316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FFFFFF"/>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ADD238C-6F1F-D445-9264-7FFA737BE47D}"/>
              </a:ext>
            </a:extLst>
          </p:cNvPr>
          <p:cNvGrpSpPr/>
          <p:nvPr userDrawn="1"/>
        </p:nvGrpSpPr>
        <p:grpSpPr>
          <a:xfrm>
            <a:off x="0" y="0"/>
            <a:ext cx="9144000" cy="5143500"/>
            <a:chOff x="0" y="0"/>
            <a:chExt cx="9144000" cy="5143500"/>
          </a:xfrm>
        </p:grpSpPr>
        <p:pic>
          <p:nvPicPr>
            <p:cNvPr id="14" name="Picture 13" descr="A picture containing sky, outdoor&#10;&#10;Description automatically generated">
              <a:extLst>
                <a:ext uri="{FF2B5EF4-FFF2-40B4-BE49-F238E27FC236}">
                  <a16:creationId xmlns:a16="http://schemas.microsoft.com/office/drawing/2014/main" id="{2EAF366E-D688-F54C-BEB9-C786BF444D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6351A87F-F12E-7F46-A748-CBE44835B836}"/>
                </a:ext>
              </a:extLst>
            </p:cNvPr>
            <p:cNvSpPr/>
            <p:nvPr userDrawn="1"/>
          </p:nvSpPr>
          <p:spPr bwMode="auto">
            <a:xfrm>
              <a:off x="0" y="0"/>
              <a:ext cx="6393600" cy="5143500"/>
            </a:xfrm>
            <a:prstGeom prst="rect">
              <a:avLst/>
            </a:prstGeom>
            <a:gradFill flip="none" rotWithShape="1">
              <a:gsLst>
                <a:gs pos="0">
                  <a:schemeClr val="tx2">
                    <a:alpha val="0"/>
                  </a:schemeClr>
                </a:gs>
                <a:gs pos="100000">
                  <a:schemeClr val="tx2">
                    <a:alpha val="85000"/>
                  </a:schemeClr>
                </a:gs>
              </a:gsLst>
              <a:lin ang="10800000" scaled="1"/>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grpSp>
      <p:pic>
        <p:nvPicPr>
          <p:cNvPr id="16" name="Picture 15" descr="na_logo_hrz_1c-rev_rgb_lrg.png">
            <a:extLst>
              <a:ext uri="{FF2B5EF4-FFF2-40B4-BE49-F238E27FC236}">
                <a16:creationId xmlns:a16="http://schemas.microsoft.com/office/drawing/2014/main" id="{67D7E024-7F7F-854F-97B5-AEF02D40FA0A}"/>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42901" y="992868"/>
            <a:ext cx="1837907" cy="335280"/>
          </a:xfrm>
          <a:prstGeom prst="rect">
            <a:avLst/>
          </a:prstGeom>
        </p:spPr>
      </p:pic>
      <p:sp>
        <p:nvSpPr>
          <p:cNvPr id="9" name="Title 1"/>
          <p:cNvSpPr>
            <a:spLocks noGrp="1"/>
          </p:cNvSpPr>
          <p:nvPr>
            <p:ph type="ctrTitle" hasCustomPrompt="1"/>
          </p:nvPr>
        </p:nvSpPr>
        <p:spPr>
          <a:xfrm>
            <a:off x="342901" y="1428752"/>
            <a:ext cx="5821075" cy="2235551"/>
          </a:xfrm>
          <a:prstGeom prst="rect">
            <a:avLst/>
          </a:prstGeom>
        </p:spPr>
        <p:txBody>
          <a:bodyPr anchor="b"/>
          <a:lstStyle>
            <a:lvl1pPr>
              <a:defRPr sz="4500" b="1">
                <a:solidFill>
                  <a:schemeClr val="bg1"/>
                </a:solidFill>
              </a:defRPr>
            </a:lvl1pPr>
          </a:lstStyle>
          <a:p>
            <a:r>
              <a:rPr lang="en-US"/>
              <a:t>Click To Edit Master Title Style</a:t>
            </a:r>
          </a:p>
        </p:txBody>
      </p:sp>
      <p:sp>
        <p:nvSpPr>
          <p:cNvPr id="12" name="Subtitle 2"/>
          <p:cNvSpPr>
            <a:spLocks noGrp="1"/>
          </p:cNvSpPr>
          <p:nvPr>
            <p:ph type="subTitle" idx="1"/>
          </p:nvPr>
        </p:nvSpPr>
        <p:spPr>
          <a:xfrm>
            <a:off x="342901" y="3776834"/>
            <a:ext cx="5821075" cy="550735"/>
          </a:xfrm>
          <a:prstGeom prst="rect">
            <a:avLst/>
          </a:prstGeom>
        </p:spPr>
        <p:txBody>
          <a:bodyPr/>
          <a:lstStyle>
            <a:lvl1pPr marL="0" indent="0" algn="l">
              <a:buNone/>
              <a:defRPr sz="1800">
                <a:solidFill>
                  <a:schemeClr val="bg1"/>
                </a:solidFill>
              </a:defRPr>
            </a:lvl1pPr>
            <a:lvl2pPr marL="457106" indent="0" algn="ctr">
              <a:buNone/>
              <a:defRPr>
                <a:solidFill>
                  <a:schemeClr val="tx1">
                    <a:tint val="75000"/>
                  </a:schemeClr>
                </a:solidFill>
              </a:defRPr>
            </a:lvl2pPr>
            <a:lvl3pPr marL="914220" indent="0" algn="ctr">
              <a:buNone/>
              <a:defRPr>
                <a:solidFill>
                  <a:schemeClr val="tx1">
                    <a:tint val="75000"/>
                  </a:schemeClr>
                </a:solidFill>
              </a:defRPr>
            </a:lvl3pPr>
            <a:lvl4pPr marL="1371328" indent="0" algn="ctr">
              <a:buNone/>
              <a:defRPr>
                <a:solidFill>
                  <a:schemeClr val="tx1">
                    <a:tint val="75000"/>
                  </a:schemeClr>
                </a:solidFill>
              </a:defRPr>
            </a:lvl4pPr>
            <a:lvl5pPr marL="1828439" indent="0" algn="ctr">
              <a:buNone/>
              <a:defRPr>
                <a:solidFill>
                  <a:schemeClr val="tx1">
                    <a:tint val="75000"/>
                  </a:schemeClr>
                </a:solidFill>
              </a:defRPr>
            </a:lvl5pPr>
            <a:lvl6pPr marL="2285544" indent="0" algn="ctr">
              <a:buNone/>
              <a:defRPr>
                <a:solidFill>
                  <a:schemeClr val="tx1">
                    <a:tint val="75000"/>
                  </a:schemeClr>
                </a:solidFill>
              </a:defRPr>
            </a:lvl6pPr>
            <a:lvl7pPr marL="2742650" indent="0" algn="ctr">
              <a:buNone/>
              <a:defRPr>
                <a:solidFill>
                  <a:schemeClr val="tx1">
                    <a:tint val="75000"/>
                  </a:schemeClr>
                </a:solidFill>
              </a:defRPr>
            </a:lvl7pPr>
            <a:lvl8pPr marL="3199760" indent="0" algn="ctr">
              <a:buNone/>
              <a:defRPr>
                <a:solidFill>
                  <a:schemeClr val="tx1">
                    <a:tint val="75000"/>
                  </a:schemeClr>
                </a:solidFill>
              </a:defRPr>
            </a:lvl8pPr>
            <a:lvl9pPr marL="365686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747074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BB2918-1FA3-EA48-951F-4407B435986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5281" t="1526" r="-1" b="3826"/>
          <a:stretch/>
        </p:blipFill>
        <p:spPr>
          <a:xfrm>
            <a:off x="1" y="1"/>
            <a:ext cx="9144000" cy="5139591"/>
          </a:xfrm>
          <a:prstGeom prst="rect">
            <a:avLst/>
          </a:prstGeom>
        </p:spPr>
      </p:pic>
      <p:sp>
        <p:nvSpPr>
          <p:cNvPr id="8" name="Title 1">
            <a:extLst>
              <a:ext uri="{FF2B5EF4-FFF2-40B4-BE49-F238E27FC236}">
                <a16:creationId xmlns:a16="http://schemas.microsoft.com/office/drawing/2014/main" id="{492C827D-C168-694A-B8C1-FD0C977695BD}"/>
              </a:ext>
            </a:extLst>
          </p:cNvPr>
          <p:cNvSpPr>
            <a:spLocks noGrp="1"/>
          </p:cNvSpPr>
          <p:nvPr>
            <p:ph type="ctrTitle" hasCustomPrompt="1"/>
          </p:nvPr>
        </p:nvSpPr>
        <p:spPr>
          <a:xfrm>
            <a:off x="685800" y="1712062"/>
            <a:ext cx="7772400" cy="1719377"/>
          </a:xfrm>
          <a:prstGeom prst="rect">
            <a:avLst/>
          </a:prstGeom>
        </p:spPr>
        <p:txBody>
          <a:bodyPr anchor="ctr"/>
          <a:lstStyle>
            <a:lvl1pPr>
              <a:defRPr sz="5500" b="1">
                <a:solidFill>
                  <a:schemeClr val="tx2"/>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3A5A06D4-81F4-1B40-A9DB-8B8D4E34E738}"/>
              </a:ext>
            </a:extLst>
          </p:cNvPr>
          <p:cNvSpPr>
            <a:spLocks noGrp="1"/>
          </p:cNvSpPr>
          <p:nvPr>
            <p:ph type="ftr" sz="quarter" idx="10"/>
          </p:nvPr>
        </p:nvSpPr>
        <p:spPr/>
        <p:txBody>
          <a:bodyPr/>
          <a:lstStyle>
            <a:lvl1pPr>
              <a:defRPr>
                <a:solidFill>
                  <a:schemeClr val="tx2"/>
                </a:solidFill>
              </a:defRPr>
            </a:lvl1pPr>
          </a:lstStyle>
          <a:p>
            <a:r>
              <a:rPr lang="en-US"/>
              <a:t>© 2019 NetApp, Inc. All rights reserved. </a:t>
            </a:r>
          </a:p>
        </p:txBody>
      </p:sp>
      <p:pic>
        <p:nvPicPr>
          <p:cNvPr id="18" name="Picture 17">
            <a:extLst>
              <a:ext uri="{FF2B5EF4-FFF2-40B4-BE49-F238E27FC236}">
                <a16:creationId xmlns:a16="http://schemas.microsoft.com/office/drawing/2014/main" id="{0C87EB25-EC90-4E43-89F7-B6D3F7D4CDE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39238" y="4888016"/>
            <a:ext cx="634801" cy="113809"/>
          </a:xfrm>
          <a:prstGeom prst="rect">
            <a:avLst/>
          </a:prstGeom>
        </p:spPr>
      </p:pic>
    </p:spTree>
    <p:extLst>
      <p:ext uri="{BB962C8B-B14F-4D97-AF65-F5344CB8AC3E}">
        <p14:creationId xmlns:p14="http://schemas.microsoft.com/office/powerpoint/2010/main" val="98172126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Gray)">
    <p:spTree>
      <p:nvGrpSpPr>
        <p:cNvPr id="1" name=""/>
        <p:cNvGrpSpPr/>
        <p:nvPr/>
      </p:nvGrpSpPr>
      <p:grpSpPr>
        <a:xfrm>
          <a:off x="0" y="0"/>
          <a:ext cx="0" cy="0"/>
          <a:chOff x="0" y="0"/>
          <a:chExt cx="0" cy="0"/>
        </a:xfrm>
      </p:grpSpPr>
      <p:sp>
        <p:nvSpPr>
          <p:cNvPr id="4" name="Rectangle 3"/>
          <p:cNvSpPr/>
          <p:nvPr userDrawn="1"/>
        </p:nvSpPr>
        <p:spPr bwMode="auto">
          <a:xfrm>
            <a:off x="5195456" y="0"/>
            <a:ext cx="3948545" cy="5143500"/>
          </a:xfrm>
          <a:prstGeom prst="rect">
            <a:avLst/>
          </a:prstGeom>
          <a:solidFill>
            <a:schemeClr val="tx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13" name="Content Placeholder 6">
            <a:extLst>
              <a:ext uri="{FF2B5EF4-FFF2-40B4-BE49-F238E27FC236}">
                <a16:creationId xmlns:a16="http://schemas.microsoft.com/office/drawing/2014/main" id="{66A313FC-3005-7348-9CD6-179936DECFEA}"/>
              </a:ext>
            </a:extLst>
          </p:cNvPr>
          <p:cNvSpPr>
            <a:spLocks noGrp="1"/>
          </p:cNvSpPr>
          <p:nvPr>
            <p:ph sz="quarter" idx="12"/>
          </p:nvPr>
        </p:nvSpPr>
        <p:spPr>
          <a:xfrm>
            <a:off x="342900" y="1856918"/>
            <a:ext cx="4229100" cy="27722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192176A-6651-1346-9DE3-BD144E410438}"/>
              </a:ext>
            </a:extLst>
          </p:cNvPr>
          <p:cNvSpPr>
            <a:spLocks noGrp="1"/>
          </p:cNvSpPr>
          <p:nvPr>
            <p:ph type="ftr" sz="quarter" idx="13"/>
          </p:nvPr>
        </p:nvSpPr>
        <p:spPr/>
        <p:txBody>
          <a:bodyPr/>
          <a:lstStyle>
            <a:lvl1pPr>
              <a:defRPr>
                <a:solidFill>
                  <a:schemeClr val="bg1"/>
                </a:solidFill>
              </a:defRPr>
            </a:lvl1pPr>
          </a:lstStyle>
          <a:p>
            <a:r>
              <a:rPr lang="en-US"/>
              <a:t>© 2019 NetApp, Inc. All rights reserved. </a:t>
            </a:r>
          </a:p>
        </p:txBody>
      </p:sp>
      <p:sp>
        <p:nvSpPr>
          <p:cNvPr id="17" name="Title 5">
            <a:extLst>
              <a:ext uri="{FF2B5EF4-FFF2-40B4-BE49-F238E27FC236}">
                <a16:creationId xmlns:a16="http://schemas.microsoft.com/office/drawing/2014/main" id="{1A4BA563-F92E-C747-8FF8-712F052016EB}"/>
              </a:ext>
            </a:extLst>
          </p:cNvPr>
          <p:cNvSpPr>
            <a:spLocks noGrp="1"/>
          </p:cNvSpPr>
          <p:nvPr>
            <p:ph type="title"/>
          </p:nvPr>
        </p:nvSpPr>
        <p:spPr>
          <a:xfrm>
            <a:off x="342900" y="571513"/>
            <a:ext cx="4229100" cy="1138625"/>
          </a:xfrm>
        </p:spPr>
        <p:txBody>
          <a:bodyPr tIns="45720" anchor="t"/>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6228440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4" name="Rectangle 3"/>
          <p:cNvSpPr/>
          <p:nvPr userDrawn="1"/>
        </p:nvSpPr>
        <p:spPr bwMode="auto">
          <a:xfrm>
            <a:off x="5195456" y="0"/>
            <a:ext cx="3948545" cy="5143500"/>
          </a:xfrm>
          <a:prstGeom prst="rect">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7" name="Content Placeholder 6">
            <a:extLst>
              <a:ext uri="{FF2B5EF4-FFF2-40B4-BE49-F238E27FC236}">
                <a16:creationId xmlns:a16="http://schemas.microsoft.com/office/drawing/2014/main" id="{12871E7D-9822-894B-B8CF-580F1A004266}"/>
              </a:ext>
            </a:extLst>
          </p:cNvPr>
          <p:cNvSpPr>
            <a:spLocks noGrp="1"/>
          </p:cNvSpPr>
          <p:nvPr>
            <p:ph sz="quarter" idx="12"/>
          </p:nvPr>
        </p:nvSpPr>
        <p:spPr>
          <a:xfrm>
            <a:off x="342900" y="1856918"/>
            <a:ext cx="4229100" cy="27722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ED00C38F-A531-A94A-AC46-4173F3CEF502}"/>
              </a:ext>
            </a:extLst>
          </p:cNvPr>
          <p:cNvSpPr>
            <a:spLocks noGrp="1"/>
          </p:cNvSpPr>
          <p:nvPr>
            <p:ph type="ftr" sz="quarter" idx="13"/>
          </p:nvPr>
        </p:nvSpPr>
        <p:spPr/>
        <p:txBody>
          <a:bodyPr/>
          <a:lstStyle>
            <a:lvl1pPr>
              <a:defRPr>
                <a:solidFill>
                  <a:schemeClr val="bg1"/>
                </a:solidFill>
              </a:defRPr>
            </a:lvl1pPr>
          </a:lstStyle>
          <a:p>
            <a:r>
              <a:rPr lang="en-US"/>
              <a:t>© 2019 NetApp, Inc. All rights reserved. </a:t>
            </a:r>
          </a:p>
        </p:txBody>
      </p:sp>
      <p:sp>
        <p:nvSpPr>
          <p:cNvPr id="15" name="Title 5">
            <a:extLst>
              <a:ext uri="{FF2B5EF4-FFF2-40B4-BE49-F238E27FC236}">
                <a16:creationId xmlns:a16="http://schemas.microsoft.com/office/drawing/2014/main" id="{AD08B81D-F336-F742-8C68-C3481A3C641C}"/>
              </a:ext>
            </a:extLst>
          </p:cNvPr>
          <p:cNvSpPr>
            <a:spLocks noGrp="1"/>
          </p:cNvSpPr>
          <p:nvPr>
            <p:ph type="title"/>
          </p:nvPr>
        </p:nvSpPr>
        <p:spPr>
          <a:xfrm>
            <a:off x="342900" y="571513"/>
            <a:ext cx="4229100" cy="1138625"/>
          </a:xfrm>
        </p:spPr>
        <p:txBody>
          <a:bodyPr tIns="45720" anchor="t"/>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42062045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Green)">
    <p:spTree>
      <p:nvGrpSpPr>
        <p:cNvPr id="1" name=""/>
        <p:cNvGrpSpPr/>
        <p:nvPr/>
      </p:nvGrpSpPr>
      <p:grpSpPr>
        <a:xfrm>
          <a:off x="0" y="0"/>
          <a:ext cx="0" cy="0"/>
          <a:chOff x="0" y="0"/>
          <a:chExt cx="0" cy="0"/>
        </a:xfrm>
      </p:grpSpPr>
      <p:sp>
        <p:nvSpPr>
          <p:cNvPr id="4" name="Rectangle 3"/>
          <p:cNvSpPr/>
          <p:nvPr userDrawn="1"/>
        </p:nvSpPr>
        <p:spPr bwMode="auto">
          <a:xfrm>
            <a:off x="5195456" y="0"/>
            <a:ext cx="3948545" cy="5143500"/>
          </a:xfrm>
          <a:prstGeom prst="rect">
            <a:avLst/>
          </a:prstGeom>
          <a:solidFill>
            <a:schemeClr val="accent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2" name="Footer Placeholder 1">
            <a:extLst>
              <a:ext uri="{FF2B5EF4-FFF2-40B4-BE49-F238E27FC236}">
                <a16:creationId xmlns:a16="http://schemas.microsoft.com/office/drawing/2014/main" id="{B9F6A290-E2FF-E34C-9906-12021503FFBA}"/>
              </a:ext>
            </a:extLst>
          </p:cNvPr>
          <p:cNvSpPr>
            <a:spLocks noGrp="1"/>
          </p:cNvSpPr>
          <p:nvPr>
            <p:ph type="ftr" sz="quarter" idx="11"/>
          </p:nvPr>
        </p:nvSpPr>
        <p:spPr/>
        <p:txBody>
          <a:bodyPr/>
          <a:lstStyle>
            <a:lvl1pPr>
              <a:defRPr>
                <a:solidFill>
                  <a:schemeClr val="bg1"/>
                </a:solidFill>
              </a:defRPr>
            </a:lvl1pPr>
          </a:lstStyle>
          <a:p>
            <a:r>
              <a:rPr lang="en-US"/>
              <a:t>© 2019 NetApp, Inc. All rights reserved. </a:t>
            </a:r>
          </a:p>
        </p:txBody>
      </p:sp>
      <p:sp>
        <p:nvSpPr>
          <p:cNvPr id="7" name="Content Placeholder 6">
            <a:extLst>
              <a:ext uri="{FF2B5EF4-FFF2-40B4-BE49-F238E27FC236}">
                <a16:creationId xmlns:a16="http://schemas.microsoft.com/office/drawing/2014/main" id="{AFB3C1C5-4A7D-5645-840C-F30F5FBADE4A}"/>
              </a:ext>
            </a:extLst>
          </p:cNvPr>
          <p:cNvSpPr>
            <a:spLocks noGrp="1"/>
          </p:cNvSpPr>
          <p:nvPr>
            <p:ph sz="quarter" idx="12"/>
          </p:nvPr>
        </p:nvSpPr>
        <p:spPr>
          <a:xfrm>
            <a:off x="342900" y="1856918"/>
            <a:ext cx="4229100" cy="27722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5">
            <a:extLst>
              <a:ext uri="{FF2B5EF4-FFF2-40B4-BE49-F238E27FC236}">
                <a16:creationId xmlns:a16="http://schemas.microsoft.com/office/drawing/2014/main" id="{AA8B2280-AE31-B445-BA87-0627F14D5A55}"/>
              </a:ext>
            </a:extLst>
          </p:cNvPr>
          <p:cNvSpPr>
            <a:spLocks noGrp="1"/>
          </p:cNvSpPr>
          <p:nvPr>
            <p:ph type="title"/>
          </p:nvPr>
        </p:nvSpPr>
        <p:spPr>
          <a:xfrm>
            <a:off x="342900" y="571513"/>
            <a:ext cx="4229100" cy="1138625"/>
          </a:xfrm>
        </p:spPr>
        <p:txBody>
          <a:bodyPr tIns="45720" anchor="t"/>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86760760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lIns="91521">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A60D91B9-DA32-45BD-95C0-B2C86C0EB1FD}"/>
              </a:ext>
            </a:extLst>
          </p:cNvPr>
          <p:cNvSpPr>
            <a:spLocks noGrp="1"/>
          </p:cNvSpPr>
          <p:nvPr>
            <p:ph type="sldNum" sz="quarter" idx="15"/>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rgbClr val="A2A5A2">
                    <a:lumMod val="50000"/>
                  </a:srgbClr>
                </a:solidFill>
              </a:defRPr>
            </a:lvl1pPr>
          </a:lstStyle>
          <a:p>
            <a:pPr>
              <a:defRPr/>
            </a:pPr>
            <a:fld id="{D94D223D-027E-488F-84A4-B850BADB914C}" type="slidenum">
              <a:rPr/>
              <a:pPr>
                <a:defRPr/>
              </a:pPr>
              <a:t>‹#›</a:t>
            </a:fld>
            <a:endParaRPr/>
          </a:p>
        </p:txBody>
      </p:sp>
      <p:sp>
        <p:nvSpPr>
          <p:cNvPr id="6" name="Footer Placeholder 4">
            <a:extLst>
              <a:ext uri="{FF2B5EF4-FFF2-40B4-BE49-F238E27FC236}">
                <a16:creationId xmlns:a16="http://schemas.microsoft.com/office/drawing/2014/main" id="{1451BFED-03A8-4AF3-8D9E-422ADB2671BE}"/>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2656406975"/>
      </p:ext>
    </p:extLst>
  </p:cSld>
  <p:clrMapOvr>
    <a:masterClrMapping/>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Tree>
    <p:extLst>
      <p:ext uri="{BB962C8B-B14F-4D97-AF65-F5344CB8AC3E}">
        <p14:creationId xmlns:p14="http://schemas.microsoft.com/office/powerpoint/2010/main" val="163140262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F86CA-A961-124B-B1FE-61D349169CDF}"/>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B7ADB15-3810-8741-AF09-112B37F45C5A}"/>
              </a:ext>
            </a:extLst>
          </p:cNvPr>
          <p:cNvSpPr>
            <a:spLocks noGrp="1"/>
          </p:cNvSpPr>
          <p:nvPr>
            <p:ph type="ftr" sz="quarter" idx="10"/>
          </p:nvPr>
        </p:nvSpPr>
        <p:spPr/>
        <p:txBody>
          <a:bodyPr/>
          <a:lstStyle/>
          <a:p>
            <a:r>
              <a:rPr lang="en-US">
                <a:solidFill>
                  <a:schemeClr val="tx1"/>
                </a:solidFill>
              </a:rPr>
              <a:t>© 2019 NetApp, Inc. All rights reserved. </a:t>
            </a:r>
          </a:p>
        </p:txBody>
      </p:sp>
    </p:spTree>
    <p:extLst>
      <p:ext uri="{BB962C8B-B14F-4D97-AF65-F5344CB8AC3E}">
        <p14:creationId xmlns:p14="http://schemas.microsoft.com/office/powerpoint/2010/main" val="166648852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8BEA9-C192-644E-ABB0-84D2395B08DA}"/>
              </a:ext>
            </a:extLst>
          </p:cNvPr>
          <p:cNvSpPr>
            <a:spLocks noGrp="1"/>
          </p:cNvSpPr>
          <p:nvPr>
            <p:ph type="title"/>
          </p:nvPr>
        </p:nvSpPr>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
        <p:nvSpPr>
          <p:cNvPr id="4" name="Text Placeholder 2">
            <a:extLst>
              <a:ext uri="{FF2B5EF4-FFF2-40B4-BE49-F238E27FC236}">
                <a16:creationId xmlns:a16="http://schemas.microsoft.com/office/drawing/2014/main" id="{DE19F3CB-3E4F-3E46-B245-F8F95662409F}"/>
              </a:ext>
            </a:extLst>
          </p:cNvPr>
          <p:cNvSpPr>
            <a:spLocks noGrp="1"/>
          </p:cNvSpPr>
          <p:nvPr>
            <p:ph type="body" idx="11" hasCustomPrompt="1"/>
          </p:nvPr>
        </p:nvSpPr>
        <p:spPr bwMode="gray">
          <a:xfrm>
            <a:off x="342899" y="1093333"/>
            <a:ext cx="8458197" cy="335417"/>
          </a:xfrm>
          <a:prstGeom prst="rect">
            <a:avLst/>
          </a:prstGeom>
        </p:spPr>
        <p:txBody>
          <a:bodyPr lIns="0" tIns="34319" rIns="91440" bIns="34319" anchor="ctr">
            <a:noAutofit/>
          </a:bodyPr>
          <a:lstStyle>
            <a:lvl1pPr marL="0" indent="0">
              <a:spcBef>
                <a:spcPts val="0"/>
              </a:spcBef>
              <a:spcAft>
                <a:spcPts val="0"/>
              </a:spcAft>
              <a:buNone/>
              <a:defRPr sz="1800" b="0">
                <a:solidFill>
                  <a:schemeClr val="tx1">
                    <a:lumMod val="60000"/>
                    <a:lumOff val="40000"/>
                  </a:schemeClr>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Tree>
    <p:extLst>
      <p:ext uri="{BB962C8B-B14F-4D97-AF65-F5344CB8AC3E}">
        <p14:creationId xmlns:p14="http://schemas.microsoft.com/office/powerpoint/2010/main" val="166747091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8BEA9-C192-644E-ABB0-84D2395B08DA}"/>
              </a:ext>
            </a:extLst>
          </p:cNvPr>
          <p:cNvSpPr>
            <a:spLocks noGrp="1"/>
          </p:cNvSpPr>
          <p:nvPr>
            <p:ph type="title"/>
          </p:nvPr>
        </p:nvSpPr>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
        <p:nvSpPr>
          <p:cNvPr id="6" name="Content Placeholder 5">
            <a:extLst>
              <a:ext uri="{FF2B5EF4-FFF2-40B4-BE49-F238E27FC236}">
                <a16:creationId xmlns:a16="http://schemas.microsoft.com/office/drawing/2014/main" id="{E1277084-CC57-8B4E-B1AF-1F321235D6EA}"/>
              </a:ext>
            </a:extLst>
          </p:cNvPr>
          <p:cNvSpPr>
            <a:spLocks noGrp="1"/>
          </p:cNvSpPr>
          <p:nvPr>
            <p:ph sz="quarter" idx="12"/>
          </p:nvPr>
        </p:nvSpPr>
        <p:spPr>
          <a:xfrm>
            <a:off x="342900" y="1428751"/>
            <a:ext cx="84582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28204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8BEA9-C192-644E-ABB0-84D2395B08DA}"/>
              </a:ext>
            </a:extLst>
          </p:cNvPr>
          <p:cNvSpPr>
            <a:spLocks noGrp="1"/>
          </p:cNvSpPr>
          <p:nvPr>
            <p:ph type="title"/>
          </p:nvPr>
        </p:nvSpPr>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
        <p:nvSpPr>
          <p:cNvPr id="4" name="Text Placeholder 2">
            <a:extLst>
              <a:ext uri="{FF2B5EF4-FFF2-40B4-BE49-F238E27FC236}">
                <a16:creationId xmlns:a16="http://schemas.microsoft.com/office/drawing/2014/main" id="{DE19F3CB-3E4F-3E46-B245-F8F95662409F}"/>
              </a:ext>
            </a:extLst>
          </p:cNvPr>
          <p:cNvSpPr>
            <a:spLocks noGrp="1"/>
          </p:cNvSpPr>
          <p:nvPr>
            <p:ph type="body" idx="11" hasCustomPrompt="1"/>
          </p:nvPr>
        </p:nvSpPr>
        <p:spPr bwMode="gray">
          <a:xfrm>
            <a:off x="342899" y="1093333"/>
            <a:ext cx="8458197" cy="335417"/>
          </a:xfrm>
          <a:prstGeom prst="rect">
            <a:avLst/>
          </a:prstGeom>
        </p:spPr>
        <p:txBody>
          <a:bodyPr lIns="0" tIns="34319" rIns="91440" bIns="34319" anchor="ctr">
            <a:noAutofit/>
          </a:bodyPr>
          <a:lstStyle>
            <a:lvl1pPr marL="0" indent="0">
              <a:spcBef>
                <a:spcPts val="0"/>
              </a:spcBef>
              <a:spcAft>
                <a:spcPts val="0"/>
              </a:spcAft>
              <a:buNone/>
              <a:defRPr sz="1800" b="0">
                <a:solidFill>
                  <a:schemeClr val="tx1">
                    <a:lumMod val="60000"/>
                    <a:lumOff val="40000"/>
                  </a:schemeClr>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1277084-CC57-8B4E-B1AF-1F321235D6EA}"/>
              </a:ext>
            </a:extLst>
          </p:cNvPr>
          <p:cNvSpPr>
            <a:spLocks noGrp="1"/>
          </p:cNvSpPr>
          <p:nvPr>
            <p:ph sz="quarter" idx="12"/>
          </p:nvPr>
        </p:nvSpPr>
        <p:spPr>
          <a:xfrm>
            <a:off x="342900" y="1768840"/>
            <a:ext cx="8458200" cy="286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04267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116">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8BEA9-C192-644E-ABB0-84D2395B08DA}"/>
              </a:ext>
            </a:extLst>
          </p:cNvPr>
          <p:cNvSpPr>
            <a:spLocks noGrp="1"/>
          </p:cNvSpPr>
          <p:nvPr>
            <p:ph type="title"/>
          </p:nvPr>
        </p:nvSpPr>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
        <p:nvSpPr>
          <p:cNvPr id="6" name="Content Placeholder 5">
            <a:extLst>
              <a:ext uri="{FF2B5EF4-FFF2-40B4-BE49-F238E27FC236}">
                <a16:creationId xmlns:a16="http://schemas.microsoft.com/office/drawing/2014/main" id="{E1277084-CC57-8B4E-B1AF-1F321235D6EA}"/>
              </a:ext>
            </a:extLst>
          </p:cNvPr>
          <p:cNvSpPr>
            <a:spLocks noGrp="1"/>
          </p:cNvSpPr>
          <p:nvPr>
            <p:ph sz="quarter" idx="12"/>
          </p:nvPr>
        </p:nvSpPr>
        <p:spPr>
          <a:xfrm>
            <a:off x="342901" y="1428751"/>
            <a:ext cx="3996752"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5">
            <a:extLst>
              <a:ext uri="{FF2B5EF4-FFF2-40B4-BE49-F238E27FC236}">
                <a16:creationId xmlns:a16="http://schemas.microsoft.com/office/drawing/2014/main" id="{D5F83698-E47C-1B46-88B0-F5679F386B5F}"/>
              </a:ext>
            </a:extLst>
          </p:cNvPr>
          <p:cNvSpPr>
            <a:spLocks noGrp="1"/>
          </p:cNvSpPr>
          <p:nvPr>
            <p:ph sz="quarter" idx="13"/>
          </p:nvPr>
        </p:nvSpPr>
        <p:spPr>
          <a:xfrm>
            <a:off x="4804347" y="1428751"/>
            <a:ext cx="3996752"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519975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8BEA9-C192-644E-ABB0-84D2395B08DA}"/>
              </a:ext>
            </a:extLst>
          </p:cNvPr>
          <p:cNvSpPr>
            <a:spLocks noGrp="1"/>
          </p:cNvSpPr>
          <p:nvPr>
            <p:ph type="title"/>
          </p:nvPr>
        </p:nvSpPr>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BCCF99AE-24F9-A744-BF58-7252375CFD75}"/>
              </a:ext>
            </a:extLst>
          </p:cNvPr>
          <p:cNvSpPr>
            <a:spLocks noGrp="1"/>
          </p:cNvSpPr>
          <p:nvPr>
            <p:ph type="ftr" sz="quarter" idx="10"/>
          </p:nvPr>
        </p:nvSpPr>
        <p:spPr/>
        <p:txBody>
          <a:bodyPr/>
          <a:lstStyle/>
          <a:p>
            <a:r>
              <a:rPr lang="en-US">
                <a:solidFill>
                  <a:schemeClr val="tx1"/>
                </a:solidFill>
              </a:rPr>
              <a:t>© 2019 NetApp, Inc. All rights reserved. </a:t>
            </a:r>
          </a:p>
        </p:txBody>
      </p:sp>
      <p:sp>
        <p:nvSpPr>
          <p:cNvPr id="4" name="Text Placeholder 2">
            <a:extLst>
              <a:ext uri="{FF2B5EF4-FFF2-40B4-BE49-F238E27FC236}">
                <a16:creationId xmlns:a16="http://schemas.microsoft.com/office/drawing/2014/main" id="{DE19F3CB-3E4F-3E46-B245-F8F95662409F}"/>
              </a:ext>
            </a:extLst>
          </p:cNvPr>
          <p:cNvSpPr>
            <a:spLocks noGrp="1"/>
          </p:cNvSpPr>
          <p:nvPr>
            <p:ph type="body" idx="11" hasCustomPrompt="1"/>
          </p:nvPr>
        </p:nvSpPr>
        <p:spPr bwMode="gray">
          <a:xfrm>
            <a:off x="342899" y="1093333"/>
            <a:ext cx="8458197" cy="335417"/>
          </a:xfrm>
          <a:prstGeom prst="rect">
            <a:avLst/>
          </a:prstGeom>
        </p:spPr>
        <p:txBody>
          <a:bodyPr lIns="0" tIns="34319" rIns="91440" bIns="34319" anchor="ctr">
            <a:noAutofit/>
          </a:bodyPr>
          <a:lstStyle>
            <a:lvl1pPr marL="0" indent="0">
              <a:spcBef>
                <a:spcPts val="0"/>
              </a:spcBef>
              <a:spcAft>
                <a:spcPts val="0"/>
              </a:spcAft>
              <a:buNone/>
              <a:defRPr sz="1800" b="0">
                <a:solidFill>
                  <a:schemeClr val="tx1">
                    <a:lumMod val="60000"/>
                    <a:lumOff val="40000"/>
                  </a:schemeClr>
                </a:solidFill>
              </a:defRPr>
            </a:lvl1pPr>
            <a:lvl2pPr marL="343136" indent="0">
              <a:buNone/>
              <a:defRPr sz="1500" b="1"/>
            </a:lvl2pPr>
            <a:lvl3pPr marL="686276" indent="0">
              <a:buNone/>
              <a:defRPr sz="1400" b="1"/>
            </a:lvl3pPr>
            <a:lvl4pPr marL="1029413" indent="0">
              <a:buNone/>
              <a:defRPr sz="1200" b="1"/>
            </a:lvl4pPr>
            <a:lvl5pPr marL="1372551" indent="0">
              <a:buNone/>
              <a:defRPr sz="1200" b="1"/>
            </a:lvl5pPr>
            <a:lvl6pPr marL="1715685" indent="0">
              <a:buNone/>
              <a:defRPr sz="1200" b="1"/>
            </a:lvl6pPr>
            <a:lvl7pPr marL="2058827" indent="0">
              <a:buNone/>
              <a:defRPr sz="1200" b="1"/>
            </a:lvl7pPr>
            <a:lvl8pPr marL="2401960" indent="0">
              <a:buNone/>
              <a:defRPr sz="1200" b="1"/>
            </a:lvl8pPr>
            <a:lvl9pPr marL="2745095" indent="0">
              <a:buNone/>
              <a:defRPr sz="1200" b="1"/>
            </a:lvl9pPr>
          </a:lstStyle>
          <a:p>
            <a:pPr lvl="0"/>
            <a:r>
              <a:rPr lang="en-US"/>
              <a:t>Click to edit master text styles</a:t>
            </a:r>
          </a:p>
        </p:txBody>
      </p:sp>
      <p:sp>
        <p:nvSpPr>
          <p:cNvPr id="7" name="Content Placeholder 5">
            <a:extLst>
              <a:ext uri="{FF2B5EF4-FFF2-40B4-BE49-F238E27FC236}">
                <a16:creationId xmlns:a16="http://schemas.microsoft.com/office/drawing/2014/main" id="{9F071D99-05C5-3348-BD66-06C3D126CA12}"/>
              </a:ext>
            </a:extLst>
          </p:cNvPr>
          <p:cNvSpPr>
            <a:spLocks noGrp="1"/>
          </p:cNvSpPr>
          <p:nvPr>
            <p:ph sz="quarter" idx="13"/>
          </p:nvPr>
        </p:nvSpPr>
        <p:spPr>
          <a:xfrm>
            <a:off x="342901" y="1768839"/>
            <a:ext cx="3996752" cy="286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E49D7A1E-A2FD-A74A-A5A4-889445FCE7EE}"/>
              </a:ext>
            </a:extLst>
          </p:cNvPr>
          <p:cNvSpPr>
            <a:spLocks noGrp="1"/>
          </p:cNvSpPr>
          <p:nvPr>
            <p:ph sz="quarter" idx="14"/>
          </p:nvPr>
        </p:nvSpPr>
        <p:spPr>
          <a:xfrm>
            <a:off x="4804347" y="1768839"/>
            <a:ext cx="3996752" cy="286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20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116">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userDrawn="1">
  <p:cSld name="14_Title Slide">
    <p:bg>
      <p:bgPr>
        <a:solidFill>
          <a:srgbClr val="FFFFFF"/>
        </a:solidFill>
        <a:effectLst/>
      </p:bgPr>
    </p:bg>
    <p:spTree>
      <p:nvGrpSpPr>
        <p:cNvPr id="1" name=""/>
        <p:cNvGrpSpPr/>
        <p:nvPr/>
      </p:nvGrpSpPr>
      <p:grpSpPr>
        <a:xfrm>
          <a:off x="0" y="0"/>
          <a:ext cx="0" cy="0"/>
          <a:chOff x="0" y="0"/>
          <a:chExt cx="0" cy="0"/>
        </a:xfrm>
      </p:grpSpPr>
      <p:pic>
        <p:nvPicPr>
          <p:cNvPr id="10" name="Picture 6" descr="Screen Shot 2016-07-14 at 9.32.51 AM.png">
            <a:extLst>
              <a:ext uri="{FF2B5EF4-FFF2-40B4-BE49-F238E27FC236}">
                <a16:creationId xmlns:a16="http://schemas.microsoft.com/office/drawing/2014/main" id="{9872C4D8-5A68-D142-BC28-608CCBC6D32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BDF737B-B3BC-FA42-A02E-F61DF4F8C631}"/>
              </a:ext>
            </a:extLst>
          </p:cNvPr>
          <p:cNvSpPr/>
          <p:nvPr userDrawn="1"/>
        </p:nvSpPr>
        <p:spPr bwMode="auto">
          <a:xfrm>
            <a:off x="1" y="0"/>
            <a:ext cx="4775201" cy="5143500"/>
          </a:xfrm>
          <a:prstGeom prst="rect">
            <a:avLst/>
          </a:prstGeom>
          <a:solidFill>
            <a:schemeClr val="tx2">
              <a:alpha val="9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3" name="Footer Placeholder 2">
            <a:extLst>
              <a:ext uri="{FF2B5EF4-FFF2-40B4-BE49-F238E27FC236}">
                <a16:creationId xmlns:a16="http://schemas.microsoft.com/office/drawing/2014/main" id="{393ABEE8-ED6C-B042-8D2F-A3CB4C1DFE46}"/>
              </a:ext>
            </a:extLst>
          </p:cNvPr>
          <p:cNvSpPr>
            <a:spLocks noGrp="1"/>
          </p:cNvSpPr>
          <p:nvPr>
            <p:ph type="ftr" sz="quarter" idx="10"/>
          </p:nvPr>
        </p:nvSpPr>
        <p:spPr/>
        <p:txBody>
          <a:bodyPr/>
          <a:lstStyle>
            <a:lvl1pPr>
              <a:defRPr>
                <a:solidFill>
                  <a:schemeClr val="bg1"/>
                </a:solidFill>
              </a:defRPr>
            </a:lvl1pPr>
          </a:lstStyle>
          <a:p>
            <a:r>
              <a:rPr lang="en-US"/>
              <a:t>© 2019 NetApp, Inc. All rights reserved. </a:t>
            </a:r>
          </a:p>
        </p:txBody>
      </p:sp>
      <p:sp>
        <p:nvSpPr>
          <p:cNvPr id="16" name="Title 5">
            <a:extLst>
              <a:ext uri="{FF2B5EF4-FFF2-40B4-BE49-F238E27FC236}">
                <a16:creationId xmlns:a16="http://schemas.microsoft.com/office/drawing/2014/main" id="{270864D9-59E7-6B43-945A-D6B05D66AB5C}"/>
              </a:ext>
            </a:extLst>
          </p:cNvPr>
          <p:cNvSpPr>
            <a:spLocks noGrp="1"/>
          </p:cNvSpPr>
          <p:nvPr>
            <p:ph type="title"/>
          </p:nvPr>
        </p:nvSpPr>
        <p:spPr>
          <a:xfrm>
            <a:off x="342900" y="571513"/>
            <a:ext cx="4229100" cy="1138625"/>
          </a:xfrm>
        </p:spPr>
        <p:txBody>
          <a:bodyPr tIns="45720" anchor="t"/>
          <a:lstStyle>
            <a:lvl1pPr>
              <a:defRPr>
                <a:solidFill>
                  <a:schemeClr val="bg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6E0C71A-CB2A-954F-B154-22A4C6D7ED7E}"/>
              </a:ext>
            </a:extLst>
          </p:cNvPr>
          <p:cNvSpPr>
            <a:spLocks noGrp="1"/>
          </p:cNvSpPr>
          <p:nvPr>
            <p:ph sz="quarter" idx="12"/>
          </p:nvPr>
        </p:nvSpPr>
        <p:spPr>
          <a:xfrm>
            <a:off x="342900" y="1856918"/>
            <a:ext cx="4229100" cy="2772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6448C767-D0B4-D742-93A5-D0B19C3C5A8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39238" y="4888015"/>
            <a:ext cx="634801" cy="113808"/>
          </a:xfrm>
          <a:prstGeom prst="rect">
            <a:avLst/>
          </a:prstGeom>
        </p:spPr>
      </p:pic>
    </p:spTree>
    <p:extLst>
      <p:ext uri="{BB962C8B-B14F-4D97-AF65-F5344CB8AC3E}">
        <p14:creationId xmlns:p14="http://schemas.microsoft.com/office/powerpoint/2010/main" val="151192102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47"/>
            <a:ext cx="8746228" cy="678596"/>
          </a:xfrm>
        </p:spPr>
        <p:txBody>
          <a:bodyPr lIns="91521">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3" y="1300164"/>
            <a:ext cx="8746228" cy="3359944"/>
          </a:xfrm>
        </p:spPr>
        <p:txBody>
          <a:bodyPr lIns="9152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206848" y="829814"/>
            <a:ext cx="8739368" cy="300082"/>
          </a:xfrm>
        </p:spPr>
        <p:txBody>
          <a:bodyPr lIns="91521" tIns="45761" rIns="91521" bIns="45761">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3" name="Text Placeholder 6"/>
          <p:cNvSpPr>
            <a:spLocks noGrp="1"/>
          </p:cNvSpPr>
          <p:nvPr>
            <p:ph type="body" sz="quarter" idx="16"/>
          </p:nvPr>
        </p:nvSpPr>
        <p:spPr>
          <a:xfrm>
            <a:off x="220867" y="4678985"/>
            <a:ext cx="7783274" cy="161583"/>
          </a:xfrm>
        </p:spPr>
        <p:txBody>
          <a:bodyPr lIns="91521" tIns="45761" rIns="91521" bIns="45761" anchor="ctr">
            <a:noAutofit/>
          </a:bodyP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6" name="Footer Placeholder 4">
            <a:extLst>
              <a:ext uri="{FF2B5EF4-FFF2-40B4-BE49-F238E27FC236}">
                <a16:creationId xmlns:a16="http://schemas.microsoft.com/office/drawing/2014/main" id="{A3B4D934-F38B-4CA9-8039-426BCC7E6F7D}"/>
              </a:ext>
            </a:extLst>
          </p:cNvPr>
          <p:cNvSpPr>
            <a:spLocks noGrp="1"/>
          </p:cNvSpPr>
          <p:nvPr>
            <p:ph type="ftr" sz="quarter" idx="17"/>
          </p:nvPr>
        </p:nvSpPr>
        <p:spPr>
          <a:xfrm>
            <a:off x="666750" y="4854575"/>
            <a:ext cx="4905375" cy="180975"/>
          </a:xfrm>
          <a:prstGeom prst="rect">
            <a:avLst/>
          </a:prstGeom>
        </p:spPr>
        <p:txBody>
          <a:bodyPr vert="horz" wrap="square" lIns="91521" tIns="45761" rIns="91521" bIns="45761" rtlCol="0" anchor="b">
            <a:noAutofit/>
          </a:bodyPr>
          <a:lstStyle>
            <a:lvl1pPr>
              <a:defRPr lang="en-US" sz="600">
                <a:solidFill>
                  <a:schemeClr val="bg2"/>
                </a:solidFill>
              </a:defRPr>
            </a:lvl1pPr>
          </a:lstStyle>
          <a:p>
            <a:pPr>
              <a:defRPr/>
            </a:pPr>
            <a:r>
              <a:t>© 2016 NetApp, Inc. All rights reserved.  --- NETAPP CONFIDENTIAL ---</a:t>
            </a:r>
          </a:p>
        </p:txBody>
      </p:sp>
      <p:sp>
        <p:nvSpPr>
          <p:cNvPr id="7" name="Slide Number Placeholder 5">
            <a:extLst>
              <a:ext uri="{FF2B5EF4-FFF2-40B4-BE49-F238E27FC236}">
                <a16:creationId xmlns:a16="http://schemas.microsoft.com/office/drawing/2014/main" id="{5E40887F-FAE6-4240-89AB-1CA06BF87C33}"/>
              </a:ext>
            </a:extLst>
          </p:cNvPr>
          <p:cNvSpPr>
            <a:spLocks noGrp="1"/>
          </p:cNvSpPr>
          <p:nvPr>
            <p:ph type="sldNum" sz="quarter" idx="18"/>
          </p:nvPr>
        </p:nvSpPr>
        <p:spPr>
          <a:xfrm>
            <a:off x="220663" y="4846638"/>
            <a:ext cx="336550" cy="195262"/>
          </a:xfrm>
          <a:prstGeom prst="rect">
            <a:avLst/>
          </a:prstGeom>
        </p:spPr>
        <p:txBody>
          <a:bodyPr vert="horz" wrap="square" lIns="91521" tIns="45761" rIns="91521" bIns="45761" rtlCol="0" anchor="b">
            <a:noAutofit/>
          </a:bodyPr>
          <a:lstStyle>
            <a:lvl1pPr>
              <a:defRPr lang="en-US" sz="788" b="1">
                <a:solidFill>
                  <a:schemeClr val="bg2">
                    <a:lumMod val="50000"/>
                  </a:schemeClr>
                </a:solidFill>
              </a:defRPr>
            </a:lvl1pPr>
          </a:lstStyle>
          <a:p>
            <a:pPr>
              <a:defRPr/>
            </a:pPr>
            <a:fld id="{947CA8EF-EC70-405F-B968-4ED65F99D11C}" type="slidenum">
              <a:rPr/>
              <a:pPr>
                <a:defRPr/>
              </a:pPr>
              <a:t>‹#›</a:t>
            </a:fld>
            <a:endParaRPr/>
          </a:p>
        </p:txBody>
      </p:sp>
    </p:spTree>
    <p:extLst>
      <p:ext uri="{BB962C8B-B14F-4D97-AF65-F5344CB8AC3E}">
        <p14:creationId xmlns:p14="http://schemas.microsoft.com/office/powerpoint/2010/main" val="1610141979"/>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220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6" descr="FlexPod-LA-orange.jpg">
            <a:extLst>
              <a:ext uri="{FF2B5EF4-FFF2-40B4-BE49-F238E27FC236}">
                <a16:creationId xmlns:a16="http://schemas.microsoft.com/office/drawing/2014/main" id="{18AB32FC-D678-4042-B03B-CAE0E5C7A1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6EEB08B6-C356-4F99-82E2-3D530DF0856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2485397"/>
            <a:ext cx="7062257" cy="633663"/>
          </a:xfrm>
          <a:prstGeom prst="rect">
            <a:avLst/>
          </a:prstGeom>
        </p:spPr>
        <p:txBody>
          <a:bodyPr anchor="b"/>
          <a:lstStyle>
            <a:lvl1pPr>
              <a:defRPr sz="4500" b="1"/>
            </a:lvl1pPr>
          </a:lstStyle>
          <a:p>
            <a:r>
              <a:rPr lang="en-US"/>
              <a:t>Click to edit Master title style</a:t>
            </a:r>
            <a:endParaRPr lang="en-US" dirty="0"/>
          </a:p>
        </p:txBody>
      </p:sp>
      <p:sp>
        <p:nvSpPr>
          <p:cNvPr id="12" name="Subtitle 2"/>
          <p:cNvSpPr>
            <a:spLocks noGrp="1"/>
          </p:cNvSpPr>
          <p:nvPr>
            <p:ph type="subTitle" idx="1"/>
          </p:nvPr>
        </p:nvSpPr>
        <p:spPr>
          <a:xfrm>
            <a:off x="634712" y="3175215"/>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06321639"/>
      </p:ext>
    </p:extLst>
  </p:cSld>
  <p:clrMapOvr>
    <a:masterClrMapping/>
  </p:clrMapOvr>
  <p:transition spd="slow">
    <p:circl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6" descr="Screen Shot 2016-07-13 at 2.49.37 PM.png">
            <a:extLst>
              <a:ext uri="{FF2B5EF4-FFF2-40B4-BE49-F238E27FC236}">
                <a16:creationId xmlns:a16="http://schemas.microsoft.com/office/drawing/2014/main" id="{0DED59E4-1344-495E-89CA-A1E1278FDA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A04F0FDA-2323-487F-AEF4-D6B2A3D89AB3}"/>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8 NetApp, Inc. Cisco, Inc. All rights reserved. </a:t>
            </a:r>
          </a:p>
        </p:txBody>
      </p:sp>
      <p:pic>
        <p:nvPicPr>
          <p:cNvPr id="5" name="Picture 8" descr="FlexPod_Reg_CMYK-withbubble-white.png">
            <a:extLst>
              <a:ext uri="{FF2B5EF4-FFF2-40B4-BE49-F238E27FC236}">
                <a16:creationId xmlns:a16="http://schemas.microsoft.com/office/drawing/2014/main" id="{C1EFCB88-A0D1-46D7-BB52-3FFEB8B05FF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93694862"/>
      </p:ext>
    </p:extLst>
  </p:cSld>
  <p:clrMapOvr>
    <a:masterClrMapping/>
  </p:clrMapOvr>
  <p:transition spd="slow">
    <p:circl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6" descr="Screen Shot 2016-07-13 at 2.54.46 PM.png">
            <a:extLst>
              <a:ext uri="{FF2B5EF4-FFF2-40B4-BE49-F238E27FC236}">
                <a16:creationId xmlns:a16="http://schemas.microsoft.com/office/drawing/2014/main" id="{5D3CDA98-9D57-4800-A3A2-9A8A91C118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0754CDAA-8EEA-4A29-B326-7C1C435FF480}"/>
              </a:ext>
            </a:extLst>
          </p:cNvPr>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94B782A6-878F-46D6-944D-100658D63708}"/>
              </a:ext>
            </a:extLst>
          </p:cNvPr>
          <p:cNvSpPr txBox="1"/>
          <p:nvPr userDrawn="1"/>
        </p:nvSpPr>
        <p:spPr>
          <a:xfrm>
            <a:off x="5911850" y="4897438"/>
            <a:ext cx="2932113" cy="184150"/>
          </a:xfrm>
          <a:prstGeom prst="rect">
            <a:avLst/>
          </a:prstGeom>
          <a:noFill/>
        </p:spPr>
        <p:txBody>
          <a:bodyPr>
            <a:spAutoFit/>
          </a:bodyPr>
          <a:lstStyle/>
          <a:p>
            <a:pPr algn="r" eaLnBrk="1" hangingPunct="1">
              <a:buClr>
                <a:schemeClr val="accent3"/>
              </a:buClr>
              <a:defRPr/>
            </a:pPr>
            <a:r>
              <a:rPr lang="en-US" sz="600" dirty="0"/>
              <a:t>© 2018 Cisco and NetApp. All rights reserved.</a:t>
            </a:r>
          </a:p>
        </p:txBody>
      </p:sp>
      <p:pic>
        <p:nvPicPr>
          <p:cNvPr id="6" name="Picture 8" descr="FlexPod_Reg_CMYK-withbubble.png">
            <a:extLst>
              <a:ext uri="{FF2B5EF4-FFF2-40B4-BE49-F238E27FC236}">
                <a16:creationId xmlns:a16="http://schemas.microsoft.com/office/drawing/2014/main" id="{8E36EA32-2F7B-4210-B999-07845217725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7913" y="250825"/>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69163436"/>
      </p:ext>
    </p:extLst>
  </p:cSld>
  <p:clrMapOvr>
    <a:masterClrMapping/>
  </p:clrMapOvr>
  <p:transition spd="slow">
    <p:circl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6" descr="Screen Shot 2016-07-14 at 9.32.51 AM.png">
            <a:extLst>
              <a:ext uri="{FF2B5EF4-FFF2-40B4-BE49-F238E27FC236}">
                <a16:creationId xmlns:a16="http://schemas.microsoft.com/office/drawing/2014/main" id="{BACC8AB4-6E03-4658-9AE3-1066AF97D1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2E43E1A0-31DB-4781-801B-6A27169F443C}"/>
              </a:ext>
            </a:extLst>
          </p:cNvPr>
          <p:cNvSpPr>
            <a:spLocks noChangeArrowheads="1"/>
          </p:cNvSpPr>
          <p:nvPr userDrawn="1"/>
        </p:nvSpPr>
        <p:spPr bwMode="auto">
          <a:xfrm>
            <a:off x="0" y="0"/>
            <a:ext cx="9144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426C7193-B73E-4ED4-B261-2828A5C4F606}"/>
              </a:ext>
            </a:extLst>
          </p:cNvPr>
          <p:cNvSpPr txBox="1"/>
          <p:nvPr userDrawn="1"/>
        </p:nvSpPr>
        <p:spPr>
          <a:xfrm>
            <a:off x="5911850" y="4897438"/>
            <a:ext cx="2932113" cy="184150"/>
          </a:xfrm>
          <a:prstGeom prst="rect">
            <a:avLst/>
          </a:prstGeom>
          <a:noFill/>
        </p:spPr>
        <p:txBody>
          <a:bodyPr>
            <a:spAutoFit/>
          </a:bodyPr>
          <a:lstStyle/>
          <a:p>
            <a:pPr algn="r" eaLnBrk="1" hangingPunct="1">
              <a:buClr>
                <a:schemeClr val="accent3"/>
              </a:buClr>
              <a:defRPr/>
            </a:pPr>
            <a:r>
              <a:rPr lang="en-US" sz="600" dirty="0">
                <a:solidFill>
                  <a:schemeClr val="bg1"/>
                </a:solidFill>
              </a:rPr>
              <a:t>© 2018 Cisco and NetApp. All rights reserved.</a:t>
            </a:r>
          </a:p>
        </p:txBody>
      </p:sp>
      <p:pic>
        <p:nvPicPr>
          <p:cNvPr id="6" name="Picture 8" descr="FlexPod_Reg_CMYK-withbubble-white.png">
            <a:extLst>
              <a:ext uri="{FF2B5EF4-FFF2-40B4-BE49-F238E27FC236}">
                <a16:creationId xmlns:a16="http://schemas.microsoft.com/office/drawing/2014/main" id="{898FE90D-1A88-40FD-B144-B46F628DF1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63788038"/>
      </p:ext>
    </p:extLst>
  </p:cSld>
  <p:clrMapOvr>
    <a:masterClrMapping/>
  </p:clrMapOvr>
  <p:transition spd="slow">
    <p:circl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197274" y="180248"/>
            <a:ext cx="8746228" cy="678596"/>
          </a:xfrm>
        </p:spPr>
        <p:txBody>
          <a:bodyPr>
            <a:noAutofit/>
          </a:bodyPr>
          <a:lstStyle>
            <a:lvl1pPr>
              <a:defRPr sz="2250"/>
            </a:lvl1pPr>
          </a:lstStyle>
          <a:p>
            <a:r>
              <a:rPr lang="en-US"/>
              <a:t>Click to edit Master title style</a:t>
            </a:r>
            <a:endParaRPr lang="en-US" dirty="0"/>
          </a:p>
        </p:txBody>
      </p:sp>
      <p:sp>
        <p:nvSpPr>
          <p:cNvPr id="40" name="Text Placeholder 2"/>
          <p:cNvSpPr>
            <a:spLocks noGrp="1"/>
          </p:cNvSpPr>
          <p:nvPr>
            <p:ph type="body" idx="10"/>
          </p:nvPr>
        </p:nvSpPr>
        <p:spPr bwMode="gray">
          <a:xfrm>
            <a:off x="197274" y="829815"/>
            <a:ext cx="8746228" cy="300082"/>
          </a:xfrm>
        </p:spPr>
        <p:txBody>
          <a:bodyPr>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4" name="Slide Number Placeholder 5">
            <a:extLst>
              <a:ext uri="{FF2B5EF4-FFF2-40B4-BE49-F238E27FC236}">
                <a16:creationId xmlns:a16="http://schemas.microsoft.com/office/drawing/2014/main" id="{B34EDD64-0E77-4115-9CC5-89D13F45C493}"/>
              </a:ext>
            </a:extLst>
          </p:cNvPr>
          <p:cNvSpPr>
            <a:spLocks noGrp="1"/>
          </p:cNvSpPr>
          <p:nvPr>
            <p:ph type="sldNum" sz="quarter" idx="11"/>
          </p:nvPr>
        </p:nvSpPr>
        <p:spPr/>
        <p:txBody>
          <a:bodyPr rtlCol="0"/>
          <a:lstStyle>
            <a:lvl1pPr>
              <a:defRPr lang="en-US" sz="788" b="1">
                <a:solidFill>
                  <a:srgbClr val="A2A5A2">
                    <a:lumMod val="50000"/>
                  </a:srgbClr>
                </a:solidFill>
              </a:defRPr>
            </a:lvl1pPr>
          </a:lstStyle>
          <a:p>
            <a:pPr>
              <a:defRPr/>
            </a:pPr>
            <a:fld id="{08034A16-4010-4138-B971-0DDE6840A6C1}" type="slidenum">
              <a:rPr/>
              <a:pPr>
                <a:defRPr/>
              </a:pPr>
              <a:t>‹#›</a:t>
            </a:fld>
            <a:endParaRPr dirty="0"/>
          </a:p>
        </p:txBody>
      </p:sp>
    </p:spTree>
    <p:extLst>
      <p:ext uri="{BB962C8B-B14F-4D97-AF65-F5344CB8AC3E}">
        <p14:creationId xmlns:p14="http://schemas.microsoft.com/office/powerpoint/2010/main" val="537317296"/>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190827"/>
            <a:ext cx="8787870"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132824971"/>
      </p:ext>
    </p:extLst>
  </p:cSld>
  <p:clrMapOvr>
    <a:masterClrMapping/>
  </p:clrMapOvr>
  <p:transition spd="slow">
    <p:circl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Click to edit Master text styles</a:t>
            </a:r>
          </a:p>
        </p:txBody>
      </p:sp>
    </p:spTree>
    <p:extLst>
      <p:ext uri="{BB962C8B-B14F-4D97-AF65-F5344CB8AC3E}">
        <p14:creationId xmlns:p14="http://schemas.microsoft.com/office/powerpoint/2010/main" val="3435969905"/>
      </p:ext>
    </p:extLst>
  </p:cSld>
  <p:clrMapOvr>
    <a:masterClrMapping/>
  </p:clrMapOvr>
  <p:transition spd="slow">
    <p:circl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190827"/>
            <a:ext cx="8618008"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1453312108"/>
      </p:ext>
    </p:extLst>
  </p:cSld>
  <p:clrMapOvr>
    <a:masterClrMapping/>
  </p:clrMapOvr>
  <p:transition spd="slow">
    <p:circl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0F99F757-A93F-44CC-9008-20CCAF132C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63" y="742950"/>
            <a:ext cx="13731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6">
            <a:extLst>
              <a:ext uri="{FF2B5EF4-FFF2-40B4-BE49-F238E27FC236}">
                <a16:creationId xmlns:a16="http://schemas.microsoft.com/office/drawing/2014/main" id="{388B3C15-D126-4A7F-B37B-66D940B09045}"/>
              </a:ext>
            </a:extLst>
          </p:cNvPr>
          <p:cNvGrpSpPr>
            <a:grpSpLocks noChangeAspect="1"/>
          </p:cNvGrpSpPr>
          <p:nvPr userDrawn="1"/>
        </p:nvGrpSpPr>
        <p:grpSpPr bwMode="auto">
          <a:xfrm>
            <a:off x="6308725" y="0"/>
            <a:ext cx="2836863" cy="4141788"/>
            <a:chOff x="8207212" y="0"/>
            <a:chExt cx="3981613" cy="5812241"/>
          </a:xfrm>
        </p:grpSpPr>
        <p:pic>
          <p:nvPicPr>
            <p:cNvPr id="9" name="Picture 7">
              <a:extLst>
                <a:ext uri="{FF2B5EF4-FFF2-40B4-BE49-F238E27FC236}">
                  <a16:creationId xmlns:a16="http://schemas.microsoft.com/office/drawing/2014/main" id="{2FF426F2-37EE-4811-B837-43B890C2A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4445" y="1655064"/>
              <a:ext cx="1325880" cy="1105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549A196A-E488-4FD3-9084-B91740BF43E0}"/>
                </a:ext>
              </a:extLst>
            </p:cNvPr>
            <p:cNvSpPr>
              <a:spLocks noChangeAspect="1"/>
            </p:cNvSpPr>
            <p:nvPr/>
          </p:nvSpPr>
          <p:spPr>
            <a:xfrm>
              <a:off x="10531120" y="0"/>
              <a:ext cx="1657705" cy="1655230"/>
            </a:xfrm>
            <a:prstGeom prst="rect">
              <a:avLst/>
            </a:prstGeom>
            <a:solidFill>
              <a:srgbClr val="02773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11" name="Rectangle 10">
              <a:extLst>
                <a:ext uri="{FF2B5EF4-FFF2-40B4-BE49-F238E27FC236}">
                  <a16:creationId xmlns:a16="http://schemas.microsoft.com/office/drawing/2014/main" id="{D896FCCA-5F4E-461B-9C1B-ED2CC624E2E0}"/>
                </a:ext>
              </a:extLst>
            </p:cNvPr>
            <p:cNvSpPr>
              <a:spLocks noChangeAspect="1"/>
            </p:cNvSpPr>
            <p:nvPr/>
          </p:nvSpPr>
          <p:spPr>
            <a:xfrm>
              <a:off x="8454532" y="906701"/>
              <a:ext cx="748641" cy="748529"/>
            </a:xfrm>
            <a:prstGeom prst="rect">
              <a:avLst/>
            </a:prstGeom>
            <a:solidFill>
              <a:srgbClr val="00322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12" name="Rectangle 11">
              <a:extLst>
                <a:ext uri="{FF2B5EF4-FFF2-40B4-BE49-F238E27FC236}">
                  <a16:creationId xmlns:a16="http://schemas.microsoft.com/office/drawing/2014/main" id="{0D3F61B2-3EF1-4C3F-A77E-694168FFD2EC}"/>
                </a:ext>
              </a:extLst>
            </p:cNvPr>
            <p:cNvSpPr>
              <a:spLocks noChangeAspect="1"/>
            </p:cNvSpPr>
            <p:nvPr/>
          </p:nvSpPr>
          <p:spPr>
            <a:xfrm>
              <a:off x="8207212" y="2760202"/>
              <a:ext cx="995961" cy="993583"/>
            </a:xfrm>
            <a:prstGeom prst="rect">
              <a:avLst/>
            </a:prstGeom>
            <a:solidFill>
              <a:srgbClr val="BCDD79"/>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13" name="Rectangle 12">
              <a:extLst>
                <a:ext uri="{FF2B5EF4-FFF2-40B4-BE49-F238E27FC236}">
                  <a16:creationId xmlns:a16="http://schemas.microsoft.com/office/drawing/2014/main" id="{34E6CC80-A967-4917-986C-A92E6684838C}"/>
                </a:ext>
              </a:extLst>
            </p:cNvPr>
            <p:cNvSpPr>
              <a:spLocks noChangeAspect="1"/>
            </p:cNvSpPr>
            <p:nvPr/>
          </p:nvSpPr>
          <p:spPr>
            <a:xfrm>
              <a:off x="9203173" y="3753786"/>
              <a:ext cx="2058763" cy="2058455"/>
            </a:xfrm>
            <a:prstGeom prst="rect">
              <a:avLst/>
            </a:prstGeom>
            <a:solidFill>
              <a:srgbClr val="4AB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grpSp>
      <p:sp>
        <p:nvSpPr>
          <p:cNvPr id="2" name="Title 1"/>
          <p:cNvSpPr>
            <a:spLocks noGrp="1"/>
          </p:cNvSpPr>
          <p:nvPr>
            <p:ph type="ctrTitle"/>
          </p:nvPr>
        </p:nvSpPr>
        <p:spPr bwMode="gray">
          <a:xfrm>
            <a:off x="557358" y="1939771"/>
            <a:ext cx="5599655" cy="1102519"/>
          </a:xfrm>
        </p:spPr>
        <p:txBody>
          <a:bodyPr rIns="91440"/>
          <a:lstStyle>
            <a:lvl1pPr algn="l">
              <a:lnSpc>
                <a:spcPct val="95000"/>
              </a:lnSpc>
              <a:defRPr sz="3300" b="0">
                <a:solidFill>
                  <a:schemeClr val="tx1"/>
                </a:solidFill>
              </a:defRPr>
            </a:lvl1pPr>
          </a:lstStyle>
          <a:p>
            <a:r>
              <a:rPr lang="en-US"/>
              <a:t>Click to edit Master title style</a:t>
            </a:r>
          </a:p>
        </p:txBody>
      </p:sp>
      <p:sp>
        <p:nvSpPr>
          <p:cNvPr id="25" name="Text Placeholder 24"/>
          <p:cNvSpPr>
            <a:spLocks noGrp="1"/>
          </p:cNvSpPr>
          <p:nvPr>
            <p:ph type="body" sz="quarter" idx="10"/>
          </p:nvPr>
        </p:nvSpPr>
        <p:spPr bwMode="gray">
          <a:xfrm>
            <a:off x="557358" y="3021008"/>
            <a:ext cx="6347372" cy="840263"/>
          </a:xfrm>
        </p:spPr>
        <p:txBody>
          <a:bodyPr rIns="91440"/>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a:t>Edit Master text styles</a:t>
            </a:r>
          </a:p>
        </p:txBody>
      </p:sp>
      <p:sp>
        <p:nvSpPr>
          <p:cNvPr id="5" name="Text Placeholder 4"/>
          <p:cNvSpPr>
            <a:spLocks noGrp="1"/>
          </p:cNvSpPr>
          <p:nvPr>
            <p:ph type="body" sz="quarter" idx="11"/>
          </p:nvPr>
        </p:nvSpPr>
        <p:spPr>
          <a:xfrm>
            <a:off x="557358" y="3861270"/>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5" name="Text Placeholder 4"/>
          <p:cNvSpPr>
            <a:spLocks noGrp="1"/>
          </p:cNvSpPr>
          <p:nvPr>
            <p:ph type="body" sz="quarter" idx="12"/>
          </p:nvPr>
        </p:nvSpPr>
        <p:spPr>
          <a:xfrm>
            <a:off x="557358" y="4084333"/>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6" name="Text Placeholder 4"/>
          <p:cNvSpPr>
            <a:spLocks noGrp="1"/>
          </p:cNvSpPr>
          <p:nvPr>
            <p:ph type="body" sz="quarter" idx="13"/>
          </p:nvPr>
        </p:nvSpPr>
        <p:spPr>
          <a:xfrm>
            <a:off x="557358" y="4327119"/>
            <a:ext cx="6347372"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4" name="Footer Placeholder 4">
            <a:extLst>
              <a:ext uri="{FF2B5EF4-FFF2-40B4-BE49-F238E27FC236}">
                <a16:creationId xmlns:a16="http://schemas.microsoft.com/office/drawing/2014/main" id="{A1A3D677-6992-4667-9AF9-5E32F3AA9ED3}"/>
              </a:ext>
            </a:extLst>
          </p:cNvPr>
          <p:cNvSpPr>
            <a:spLocks noGrp="1"/>
          </p:cNvSpPr>
          <p:nvPr>
            <p:ph type="ftr" sz="quarter" idx="14"/>
          </p:nvPr>
        </p:nvSpPr>
        <p:spPr/>
        <p:txBody>
          <a:bodyPr/>
          <a:lstStyle>
            <a:lvl1pPr defTabSz="914400">
              <a:defRPr lang="en-US" sz="600">
                <a:solidFill>
                  <a:srgbClr val="A2A5A2">
                    <a:lumMod val="50000"/>
                  </a:srgbClr>
                </a:solidFill>
              </a:defRPr>
            </a:lvl1pPr>
          </a:lstStyle>
          <a:p>
            <a:pPr>
              <a:defRPr/>
            </a:pPr>
            <a:r>
              <a:rPr dirty="0"/>
              <a:t>© </a:t>
            </a:r>
            <a:r>
              <a:rPr lang="en-US" dirty="0"/>
              <a:t>2020 NetApp, Inc. Cisco, Inc. </a:t>
            </a:r>
            <a:r>
              <a:rPr dirty="0"/>
              <a:t>All rights reserved.  </a:t>
            </a:r>
          </a:p>
        </p:txBody>
      </p:sp>
    </p:spTree>
    <p:extLst>
      <p:ext uri="{BB962C8B-B14F-4D97-AF65-F5344CB8AC3E}">
        <p14:creationId xmlns:p14="http://schemas.microsoft.com/office/powerpoint/2010/main" val="155836990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AB5E074B-7400-4785-A58A-B8F71FA484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43525" y="0"/>
            <a:ext cx="3800475" cy="280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a:extLst>
              <a:ext uri="{FF2B5EF4-FFF2-40B4-BE49-F238E27FC236}">
                <a16:creationId xmlns:a16="http://schemas.microsoft.com/office/drawing/2014/main" id="{740928DD-2ED5-4B09-9EF8-892BB628355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7063" y="742950"/>
            <a:ext cx="13731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gray">
          <a:xfrm>
            <a:off x="557358" y="1939771"/>
            <a:ext cx="6791189" cy="1102519"/>
          </a:xfrm>
        </p:spPr>
        <p:txBody>
          <a:bodyPr rIns="91440"/>
          <a:lstStyle>
            <a:lvl1pPr algn="l">
              <a:lnSpc>
                <a:spcPct val="95000"/>
              </a:lnSpc>
              <a:defRPr sz="3300" b="0">
                <a:solidFill>
                  <a:schemeClr val="tx1"/>
                </a:solidFill>
              </a:defRPr>
            </a:lvl1pPr>
          </a:lstStyle>
          <a:p>
            <a:r>
              <a:rPr lang="en-US"/>
              <a:t>Click to edit Master title style</a:t>
            </a:r>
          </a:p>
        </p:txBody>
      </p:sp>
      <p:sp>
        <p:nvSpPr>
          <p:cNvPr id="25" name="Text Placeholder 24"/>
          <p:cNvSpPr>
            <a:spLocks noGrp="1"/>
          </p:cNvSpPr>
          <p:nvPr>
            <p:ph type="body" sz="quarter" idx="10"/>
          </p:nvPr>
        </p:nvSpPr>
        <p:spPr bwMode="gray">
          <a:xfrm>
            <a:off x="557358" y="3021008"/>
            <a:ext cx="6791189" cy="840263"/>
          </a:xfrm>
        </p:spPr>
        <p:txBody>
          <a:bodyPr rIns="91440"/>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a:t>Edit Master text styles</a:t>
            </a:r>
          </a:p>
        </p:txBody>
      </p:sp>
      <p:sp>
        <p:nvSpPr>
          <p:cNvPr id="5" name="Text Placeholder 4"/>
          <p:cNvSpPr>
            <a:spLocks noGrp="1"/>
          </p:cNvSpPr>
          <p:nvPr>
            <p:ph type="body" sz="quarter" idx="1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5" name="Text Placeholder 4"/>
          <p:cNvSpPr>
            <a:spLocks noGrp="1"/>
          </p:cNvSpPr>
          <p:nvPr>
            <p:ph type="body" sz="quarter" idx="12"/>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6" name="Text Placeholder 4"/>
          <p:cNvSpPr>
            <a:spLocks noGrp="1"/>
          </p:cNvSpPr>
          <p:nvPr>
            <p:ph type="body" sz="quarter" idx="13"/>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9" name="Footer Placeholder 4">
            <a:extLst>
              <a:ext uri="{FF2B5EF4-FFF2-40B4-BE49-F238E27FC236}">
                <a16:creationId xmlns:a16="http://schemas.microsoft.com/office/drawing/2014/main" id="{83F8BAB3-56A1-49D2-B7B8-0FCE410C3582}"/>
              </a:ext>
            </a:extLst>
          </p:cNvPr>
          <p:cNvSpPr>
            <a:spLocks noGrp="1"/>
          </p:cNvSpPr>
          <p:nvPr>
            <p:ph type="ftr" sz="quarter" idx="14"/>
          </p:nvPr>
        </p:nvSpPr>
        <p:spPr/>
        <p:txBody>
          <a:bodyPr/>
          <a:lstStyle>
            <a:lvl1pPr defTabSz="914400">
              <a:defRPr lang="en-US" sz="600">
                <a:solidFill>
                  <a:srgbClr val="A2A5A2">
                    <a:lumMod val="50000"/>
                  </a:srgbClr>
                </a:solidFill>
              </a:defRPr>
            </a:lvl1pPr>
          </a:lstStyle>
          <a:p>
            <a:pPr>
              <a:defRPr/>
            </a:pPr>
            <a:r>
              <a:rPr lang="en-US" dirty="0"/>
              <a:t>© 2020 NetApp, Inc. Cisco, Inc. All rights reserved.  </a:t>
            </a:r>
          </a:p>
        </p:txBody>
      </p:sp>
    </p:spTree>
    <p:extLst>
      <p:ext uri="{BB962C8B-B14F-4D97-AF65-F5344CB8AC3E}">
        <p14:creationId xmlns:p14="http://schemas.microsoft.com/office/powerpoint/2010/main" val="1967744438"/>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A0E8C9E8-A195-4A05-911E-4B02BF4A5F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10188" y="-6350"/>
            <a:ext cx="3833812" cy="314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a:extLst>
              <a:ext uri="{FF2B5EF4-FFF2-40B4-BE49-F238E27FC236}">
                <a16:creationId xmlns:a16="http://schemas.microsoft.com/office/drawing/2014/main" id="{B5853C2C-9C4E-4FAA-95E7-49B22C430F3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7063" y="742950"/>
            <a:ext cx="13731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gray">
          <a:xfrm>
            <a:off x="557358" y="1939771"/>
            <a:ext cx="6791189" cy="1102519"/>
          </a:xfrm>
        </p:spPr>
        <p:txBody>
          <a:bodyPr rIns="91440"/>
          <a:lstStyle>
            <a:lvl1pPr algn="l">
              <a:lnSpc>
                <a:spcPct val="95000"/>
              </a:lnSpc>
              <a:defRPr sz="3300" b="0">
                <a:solidFill>
                  <a:schemeClr val="tx1"/>
                </a:solidFill>
              </a:defRPr>
            </a:lvl1pPr>
          </a:lstStyle>
          <a:p>
            <a:r>
              <a:rPr lang="en-US"/>
              <a:t>Click to edit Master title style</a:t>
            </a:r>
          </a:p>
        </p:txBody>
      </p:sp>
      <p:sp>
        <p:nvSpPr>
          <p:cNvPr id="25" name="Text Placeholder 24"/>
          <p:cNvSpPr>
            <a:spLocks noGrp="1"/>
          </p:cNvSpPr>
          <p:nvPr>
            <p:ph type="body" sz="quarter" idx="10"/>
          </p:nvPr>
        </p:nvSpPr>
        <p:spPr bwMode="gray">
          <a:xfrm>
            <a:off x="557358" y="3021008"/>
            <a:ext cx="6791189" cy="840263"/>
          </a:xfrm>
        </p:spPr>
        <p:txBody>
          <a:bodyPr rIns="91440"/>
          <a:lstStyle>
            <a:lvl1pPr marL="0" indent="0">
              <a:lnSpc>
                <a:spcPct val="100000"/>
              </a:lnSpc>
              <a:spcBef>
                <a:spcPts val="0"/>
              </a:spcBef>
              <a:spcAft>
                <a:spcPts val="0"/>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a:t>Edit Master text styles</a:t>
            </a:r>
          </a:p>
        </p:txBody>
      </p:sp>
      <p:sp>
        <p:nvSpPr>
          <p:cNvPr id="5" name="Text Placeholder 4"/>
          <p:cNvSpPr>
            <a:spLocks noGrp="1"/>
          </p:cNvSpPr>
          <p:nvPr>
            <p:ph type="body" sz="quarter" idx="11"/>
          </p:nvPr>
        </p:nvSpPr>
        <p:spPr>
          <a:xfrm>
            <a:off x="557358" y="3861270"/>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5" name="Text Placeholder 4"/>
          <p:cNvSpPr>
            <a:spLocks noGrp="1"/>
          </p:cNvSpPr>
          <p:nvPr>
            <p:ph type="body" sz="quarter" idx="12"/>
          </p:nvPr>
        </p:nvSpPr>
        <p:spPr>
          <a:xfrm>
            <a:off x="557358" y="4084333"/>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16" name="Text Placeholder 4"/>
          <p:cNvSpPr>
            <a:spLocks noGrp="1"/>
          </p:cNvSpPr>
          <p:nvPr>
            <p:ph type="body" sz="quarter" idx="13"/>
          </p:nvPr>
        </p:nvSpPr>
        <p:spPr>
          <a:xfrm>
            <a:off x="557358" y="4327119"/>
            <a:ext cx="6791189" cy="284229"/>
          </a:xfrm>
        </p:spPr>
        <p:txBody>
          <a:bodyPr anchor="ctr"/>
          <a:lstStyle>
            <a:lvl1pPr marL="0" indent="0">
              <a:buFontTx/>
              <a:buNone/>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1pPr>
          </a:lstStyle>
          <a:p>
            <a:pPr lvl="0"/>
            <a:r>
              <a:rPr lang="en-US"/>
              <a:t>Edit Master text styles</a:t>
            </a:r>
          </a:p>
        </p:txBody>
      </p:sp>
      <p:sp>
        <p:nvSpPr>
          <p:cNvPr id="9" name="Footer Placeholder 4">
            <a:extLst>
              <a:ext uri="{FF2B5EF4-FFF2-40B4-BE49-F238E27FC236}">
                <a16:creationId xmlns:a16="http://schemas.microsoft.com/office/drawing/2014/main" id="{366227AC-0518-4D42-B8E8-D21ADE5C9758}"/>
              </a:ext>
            </a:extLst>
          </p:cNvPr>
          <p:cNvSpPr>
            <a:spLocks noGrp="1"/>
          </p:cNvSpPr>
          <p:nvPr>
            <p:ph type="ftr" sz="quarter" idx="14"/>
          </p:nvPr>
        </p:nvSpPr>
        <p:spPr/>
        <p:txBody>
          <a:bodyPr/>
          <a:lstStyle>
            <a:lvl1pPr defTabSz="914400">
              <a:defRPr lang="en-US" sz="600">
                <a:solidFill>
                  <a:srgbClr val="A2A5A2">
                    <a:lumMod val="50000"/>
                  </a:srgbClr>
                </a:solidFill>
              </a:defRPr>
            </a:lvl1pPr>
          </a:lstStyle>
          <a:p>
            <a:pPr>
              <a:defRPr/>
            </a:pPr>
            <a:r>
              <a:rPr lang="en-US" dirty="0"/>
              <a:t>© 2020 NetApp, Inc. Cisco, Inc. All rights reserved.  </a:t>
            </a:r>
          </a:p>
        </p:txBody>
      </p:sp>
    </p:spTree>
    <p:extLst>
      <p:ext uri="{BB962C8B-B14F-4D97-AF65-F5344CB8AC3E}">
        <p14:creationId xmlns:p14="http://schemas.microsoft.com/office/powerpoint/2010/main" val="647654785"/>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5A47F721-9D7F-4C67-B1EF-19BBF597C8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 y="0"/>
            <a:ext cx="9134475" cy="171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a:extLst>
              <a:ext uri="{FF2B5EF4-FFF2-40B4-BE49-F238E27FC236}">
                <a16:creationId xmlns:a16="http://schemas.microsoft.com/office/drawing/2014/main" id="{5ECD4B9E-8222-485F-893E-9D878A14D4F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75028539-443F-4FD6-B097-E011034221E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350" y="0"/>
            <a:ext cx="2058988" cy="171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24"/>
          <p:cNvSpPr>
            <a:spLocks noGrp="1"/>
          </p:cNvSpPr>
          <p:nvPr>
            <p:ph type="body" sz="quarter" idx="10"/>
          </p:nvPr>
        </p:nvSpPr>
        <p:spPr bwMode="auto">
          <a:xfrm>
            <a:off x="1179294" y="3064061"/>
            <a:ext cx="6785365" cy="696142"/>
          </a:xfrm>
        </p:spPr>
        <p:txBody>
          <a:bodyPr/>
          <a:lstStyle>
            <a:lvl1pPr marL="0" indent="0">
              <a:lnSpc>
                <a:spcPct val="85000"/>
              </a:lnSpc>
              <a:spcBef>
                <a:spcPts val="0"/>
              </a:spcBef>
              <a:spcAft>
                <a:spcPts val="450"/>
              </a:spcAft>
              <a:buFontTx/>
              <a:buNone/>
              <a:defRPr sz="1650" b="0">
                <a:solidFill>
                  <a:schemeClr val="accent1"/>
                </a:solidFill>
              </a:defRPr>
            </a:lvl1pPr>
            <a:lvl2pPr marL="86994" indent="-86994">
              <a:lnSpc>
                <a:spcPct val="85000"/>
              </a:lnSpc>
              <a:buFont typeface="Arial" panose="020B0604020202020204" pitchFamily="34" charset="0"/>
              <a:buChar char=" "/>
              <a:defRPr sz="1725" b="0">
                <a:solidFill>
                  <a:schemeClr val="bg2"/>
                </a:solidFill>
              </a:defRPr>
            </a:lvl2pPr>
            <a:lvl3pPr marL="86994" indent="-86994">
              <a:lnSpc>
                <a:spcPct val="85000"/>
              </a:lnSpc>
              <a:buFont typeface="Arial" panose="020B0604020202020204" pitchFamily="34" charset="0"/>
              <a:buChar char=" "/>
              <a:defRPr sz="1725" b="0">
                <a:solidFill>
                  <a:schemeClr val="bg2"/>
                </a:solidFill>
              </a:defRPr>
            </a:lvl3pPr>
            <a:lvl4pPr marL="86994" indent="-86994">
              <a:lnSpc>
                <a:spcPct val="85000"/>
              </a:lnSpc>
              <a:buFont typeface="Arial" panose="020B0604020202020204" pitchFamily="34" charset="0"/>
              <a:buChar char=" "/>
              <a:defRPr sz="1725" b="0">
                <a:solidFill>
                  <a:schemeClr val="bg2"/>
                </a:solidFill>
              </a:defRPr>
            </a:lvl4pPr>
            <a:lvl5pPr marL="86994" indent="-86994">
              <a:lnSpc>
                <a:spcPct val="85000"/>
              </a:lnSpc>
              <a:buFont typeface="Arial" panose="020B0604020202020204" pitchFamily="34" charset="0"/>
              <a:buChar char=" "/>
              <a:defRPr sz="1725" b="0">
                <a:solidFill>
                  <a:schemeClr val="bg2"/>
                </a:solidFill>
              </a:defRPr>
            </a:lvl5pPr>
          </a:lstStyle>
          <a:p>
            <a:pPr lvl="0"/>
            <a:r>
              <a:rPr lang="en-US"/>
              <a:t>Edit Master text styles</a:t>
            </a:r>
          </a:p>
        </p:txBody>
      </p:sp>
      <p:sp>
        <p:nvSpPr>
          <p:cNvPr id="2" name="Title 1"/>
          <p:cNvSpPr>
            <a:spLocks noGrp="1"/>
          </p:cNvSpPr>
          <p:nvPr>
            <p:ph type="ctrTitle"/>
          </p:nvPr>
        </p:nvSpPr>
        <p:spPr bwMode="auto">
          <a:xfrm>
            <a:off x="1179292" y="1939770"/>
            <a:ext cx="6785366" cy="1104138"/>
          </a:xfrm>
        </p:spPr>
        <p:txBody>
          <a:bodyPr/>
          <a:lstStyle>
            <a:lvl1pPr algn="l">
              <a:lnSpc>
                <a:spcPct val="95000"/>
              </a:lnSpc>
              <a:defRPr sz="3300" b="0">
                <a:solidFill>
                  <a:schemeClr val="tx1"/>
                </a:solidFill>
              </a:defRPr>
            </a:lvl1pPr>
          </a:lstStyle>
          <a:p>
            <a:r>
              <a:rPr lang="en-US"/>
              <a:t>Click to edit Master title style</a:t>
            </a:r>
          </a:p>
        </p:txBody>
      </p:sp>
      <p:sp>
        <p:nvSpPr>
          <p:cNvPr id="7" name="Slide Number Placeholder 5">
            <a:extLst>
              <a:ext uri="{FF2B5EF4-FFF2-40B4-BE49-F238E27FC236}">
                <a16:creationId xmlns:a16="http://schemas.microsoft.com/office/drawing/2014/main" id="{CEB172C6-E0FE-44EA-B6D1-D2CB0C843E79}"/>
              </a:ext>
            </a:extLst>
          </p:cNvPr>
          <p:cNvSpPr>
            <a:spLocks noGrp="1"/>
          </p:cNvSpPr>
          <p:nvPr>
            <p:ph type="sldNum" sz="quarter" idx="11"/>
          </p:nvPr>
        </p:nvSpPr>
        <p:spPr/>
        <p:txBody>
          <a:bodyPr/>
          <a:lstStyle>
            <a:lvl1pPr defTabSz="914400">
              <a:defRPr lang="en-US" sz="788" b="1">
                <a:solidFill>
                  <a:srgbClr val="A2A5A2">
                    <a:lumMod val="50000"/>
                  </a:srgbClr>
                </a:solidFill>
              </a:defRPr>
            </a:lvl1pPr>
          </a:lstStyle>
          <a:p>
            <a:pPr>
              <a:defRPr/>
            </a:pPr>
            <a:fld id="{02B2424F-4B4D-4BEF-B349-9BF0EDB998EB}" type="slidenum">
              <a:rPr/>
              <a:pPr>
                <a:defRPr/>
              </a:pPr>
              <a:t>‹#›</a:t>
            </a:fld>
            <a:endParaRPr/>
          </a:p>
        </p:txBody>
      </p:sp>
      <p:sp>
        <p:nvSpPr>
          <p:cNvPr id="8" name="Footer Placeholder 4">
            <a:extLst>
              <a:ext uri="{FF2B5EF4-FFF2-40B4-BE49-F238E27FC236}">
                <a16:creationId xmlns:a16="http://schemas.microsoft.com/office/drawing/2014/main" id="{7214B3D8-97E8-4DD6-B46B-AE11390A308B}"/>
              </a:ext>
            </a:extLst>
          </p:cNvPr>
          <p:cNvSpPr>
            <a:spLocks noGrp="1"/>
          </p:cNvSpPr>
          <p:nvPr>
            <p:ph type="ftr" sz="quarter" idx="12"/>
          </p:nvPr>
        </p:nvSpPr>
        <p:spPr/>
        <p:txBody>
          <a:bodyPr/>
          <a:lstStyle>
            <a:lvl1pPr defTabSz="914400">
              <a:defRPr lang="en-US" sz="600">
                <a:solidFill>
                  <a:srgbClr val="A2A5A2">
                    <a:lumMod val="50000"/>
                  </a:srgbClr>
                </a:solidFill>
              </a:defRPr>
            </a:lvl1pPr>
          </a:lstStyle>
          <a:p>
            <a:pPr>
              <a:defRPr/>
            </a:pPr>
            <a:r>
              <a:rPr lang="en-US" dirty="0"/>
              <a:t>© 2020 NetApp, Inc. Cisco, Inc. All rights reserved.  </a:t>
            </a:r>
          </a:p>
        </p:txBody>
      </p:sp>
    </p:spTree>
    <p:extLst>
      <p:ext uri="{BB962C8B-B14F-4D97-AF65-F5344CB8AC3E}">
        <p14:creationId xmlns:p14="http://schemas.microsoft.com/office/powerpoint/2010/main" val="256695879"/>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0E0D9CCB-9104-4360-A6B0-ABA3C404BE4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6">
            <a:extLst>
              <a:ext uri="{FF2B5EF4-FFF2-40B4-BE49-F238E27FC236}">
                <a16:creationId xmlns:a16="http://schemas.microsoft.com/office/drawing/2014/main" id="{83794055-8C0E-4276-976B-35AA94966F10}"/>
              </a:ext>
            </a:extLst>
          </p:cNvPr>
          <p:cNvGrpSpPr>
            <a:grpSpLocks noChangeAspect="1"/>
          </p:cNvGrpSpPr>
          <p:nvPr userDrawn="1"/>
        </p:nvGrpSpPr>
        <p:grpSpPr bwMode="auto">
          <a:xfrm>
            <a:off x="6637338" y="0"/>
            <a:ext cx="2506662" cy="1849438"/>
            <a:chOff x="8848076" y="0"/>
            <a:chExt cx="3340749" cy="2466608"/>
          </a:xfrm>
        </p:grpSpPr>
        <p:pic>
          <p:nvPicPr>
            <p:cNvPr id="7" name="Picture 7">
              <a:extLst>
                <a:ext uri="{FF2B5EF4-FFF2-40B4-BE49-F238E27FC236}">
                  <a16:creationId xmlns:a16="http://schemas.microsoft.com/office/drawing/2014/main" id="{744B9DBE-B1E5-49A3-8538-4A5DFB56F8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22899" y="647879"/>
              <a:ext cx="868611" cy="72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B09AFBE0-9B6C-4DF3-A254-861C99FC0FE1}"/>
                </a:ext>
              </a:extLst>
            </p:cNvPr>
            <p:cNvSpPr>
              <a:spLocks noChangeAspect="1"/>
            </p:cNvSpPr>
            <p:nvPr userDrawn="1"/>
          </p:nvSpPr>
          <p:spPr>
            <a:xfrm>
              <a:off x="11090758" y="1371984"/>
              <a:ext cx="1098067" cy="1094624"/>
            </a:xfrm>
            <a:prstGeom prst="rect">
              <a:avLst/>
            </a:prstGeom>
            <a:solidFill>
              <a:srgbClr val="126E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9" name="Rectangle 8">
              <a:extLst>
                <a:ext uri="{FF2B5EF4-FFF2-40B4-BE49-F238E27FC236}">
                  <a16:creationId xmlns:a16="http://schemas.microsoft.com/office/drawing/2014/main" id="{9826DC0B-5EC7-4273-9B2B-FA03A013C6F5}"/>
                </a:ext>
              </a:extLst>
            </p:cNvPr>
            <p:cNvSpPr>
              <a:spLocks noChangeAspect="1"/>
            </p:cNvSpPr>
            <p:nvPr userDrawn="1"/>
          </p:nvSpPr>
          <p:spPr>
            <a:xfrm>
              <a:off x="11090758" y="0"/>
              <a:ext cx="649531" cy="647881"/>
            </a:xfrm>
            <a:prstGeom prst="rect">
              <a:avLst/>
            </a:prstGeom>
            <a:solidFill>
              <a:srgbClr val="A2E1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10" name="Rectangle 9">
              <a:extLst>
                <a:ext uri="{FF2B5EF4-FFF2-40B4-BE49-F238E27FC236}">
                  <a16:creationId xmlns:a16="http://schemas.microsoft.com/office/drawing/2014/main" id="{9C734F39-B704-4A12-AF5C-5682A63D593A}"/>
                </a:ext>
              </a:extLst>
            </p:cNvPr>
            <p:cNvSpPr>
              <a:spLocks noChangeAspect="1"/>
            </p:cNvSpPr>
            <p:nvPr userDrawn="1"/>
          </p:nvSpPr>
          <p:spPr>
            <a:xfrm>
              <a:off x="8848076" y="0"/>
              <a:ext cx="1375229" cy="137198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sp>
          <p:nvSpPr>
            <p:cNvPr id="11" name="Rectangle 10">
              <a:extLst>
                <a:ext uri="{FF2B5EF4-FFF2-40B4-BE49-F238E27FC236}">
                  <a16:creationId xmlns:a16="http://schemas.microsoft.com/office/drawing/2014/main" id="{F7F5745A-32A9-41CC-B183-D5425F887D41}"/>
                </a:ext>
              </a:extLst>
            </p:cNvPr>
            <p:cNvSpPr>
              <a:spLocks noChangeAspect="1"/>
            </p:cNvSpPr>
            <p:nvPr userDrawn="1"/>
          </p:nvSpPr>
          <p:spPr>
            <a:xfrm>
              <a:off x="9728223" y="1371984"/>
              <a:ext cx="495083" cy="493322"/>
            </a:xfrm>
            <a:prstGeom prst="rect">
              <a:avLst/>
            </a:prstGeom>
            <a:solidFill>
              <a:srgbClr val="062645"/>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6412">
                <a:lnSpc>
                  <a:spcPct val="95000"/>
                </a:lnSpc>
                <a:defRPr/>
              </a:pPr>
              <a:endParaRPr lang="en-US" sz="1425" err="1">
                <a:solidFill>
                  <a:srgbClr val="5A5A5A"/>
                </a:solidFill>
              </a:endParaRPr>
            </a:p>
          </p:txBody>
        </p:sp>
      </p:grpSp>
      <p:sp>
        <p:nvSpPr>
          <p:cNvPr id="4" name="Title 3"/>
          <p:cNvSpPr>
            <a:spLocks noGrp="1"/>
          </p:cNvSpPr>
          <p:nvPr>
            <p:ph type="title"/>
          </p:nvPr>
        </p:nvSpPr>
        <p:spPr>
          <a:xfrm>
            <a:off x="197274" y="174288"/>
            <a:ext cx="4939046" cy="684556"/>
          </a:xfrm>
        </p:spPr>
        <p:txBody>
          <a:bodyPr/>
          <a:lstStyle>
            <a:lvl1pPr>
              <a:defRPr sz="2250"/>
            </a:lvl1pPr>
          </a:lstStyle>
          <a:p>
            <a:r>
              <a:rPr lang="en-US"/>
              <a:t>Click to edit Master title style</a:t>
            </a:r>
          </a:p>
        </p:txBody>
      </p:sp>
      <p:sp>
        <p:nvSpPr>
          <p:cNvPr id="50" name="Content Placeholder 39"/>
          <p:cNvSpPr>
            <a:spLocks noGrp="1"/>
          </p:cNvSpPr>
          <p:nvPr>
            <p:ph sz="quarter" idx="15"/>
          </p:nvPr>
        </p:nvSpPr>
        <p:spPr bwMode="gray">
          <a:xfrm>
            <a:off x="197273" y="1300068"/>
            <a:ext cx="4458861" cy="3360041"/>
          </a:xfrm>
        </p:spPr>
        <p:txBody>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p:cNvSpPr>
            <a:spLocks noGrp="1"/>
          </p:cNvSpPr>
          <p:nvPr>
            <p:ph type="body" idx="10"/>
          </p:nvPr>
        </p:nvSpPr>
        <p:spPr bwMode="gray">
          <a:xfrm>
            <a:off x="197273" y="829815"/>
            <a:ext cx="4939046"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2" name="Slide Number Placeholder 5">
            <a:extLst>
              <a:ext uri="{FF2B5EF4-FFF2-40B4-BE49-F238E27FC236}">
                <a16:creationId xmlns:a16="http://schemas.microsoft.com/office/drawing/2014/main" id="{E7CEAA80-ABF8-4B32-98CE-12779F43CA0F}"/>
              </a:ext>
            </a:extLst>
          </p:cNvPr>
          <p:cNvSpPr>
            <a:spLocks noGrp="1"/>
          </p:cNvSpPr>
          <p:nvPr>
            <p:ph type="sldNum" sz="quarter" idx="16"/>
          </p:nvPr>
        </p:nvSpPr>
        <p:spPr/>
        <p:txBody>
          <a:bodyPr/>
          <a:lstStyle>
            <a:lvl1pPr defTabSz="914400">
              <a:defRPr lang="en-US" sz="788" b="1">
                <a:solidFill>
                  <a:srgbClr val="A2A5A2">
                    <a:lumMod val="50000"/>
                  </a:srgbClr>
                </a:solidFill>
              </a:defRPr>
            </a:lvl1pPr>
          </a:lstStyle>
          <a:p>
            <a:pPr>
              <a:defRPr/>
            </a:pPr>
            <a:fld id="{17B7DAE9-1870-4D6E-BC23-7C8316ACACAF}" type="slidenum">
              <a:rPr/>
              <a:pPr>
                <a:defRPr/>
              </a:pPr>
              <a:t>‹#›</a:t>
            </a:fld>
            <a:endParaRPr/>
          </a:p>
        </p:txBody>
      </p:sp>
      <p:sp>
        <p:nvSpPr>
          <p:cNvPr id="13" name="Footer Placeholder 4">
            <a:extLst>
              <a:ext uri="{FF2B5EF4-FFF2-40B4-BE49-F238E27FC236}">
                <a16:creationId xmlns:a16="http://schemas.microsoft.com/office/drawing/2014/main" id="{D8F2331F-D57F-4435-A4E3-77FCAF3F45F2}"/>
              </a:ext>
            </a:extLst>
          </p:cNvPr>
          <p:cNvSpPr>
            <a:spLocks noGrp="1"/>
          </p:cNvSpPr>
          <p:nvPr>
            <p:ph type="ftr" sz="quarter" idx="17"/>
          </p:nvPr>
        </p:nvSpPr>
        <p:spPr/>
        <p:txBody>
          <a:bodyPr/>
          <a:lstStyle>
            <a:lvl1pPr defTabSz="914400">
              <a:defRPr lang="en-US" sz="600">
                <a:solidFill>
                  <a:srgbClr val="A2A5A2">
                    <a:lumMod val="50000"/>
                  </a:srgbClr>
                </a:solidFill>
              </a:defRPr>
            </a:lvl1pPr>
          </a:lstStyle>
          <a:p>
            <a:pPr>
              <a:defRPr/>
            </a:pPr>
            <a:r>
              <a:rPr lang="en-US" dirty="0"/>
              <a:t>© 2020 NetApp, Inc. Cisco, Inc. All rights reserved.  </a:t>
            </a:r>
          </a:p>
        </p:txBody>
      </p:sp>
    </p:spTree>
    <p:extLst>
      <p:ext uri="{BB962C8B-B14F-4D97-AF65-F5344CB8AC3E}">
        <p14:creationId xmlns:p14="http://schemas.microsoft.com/office/powerpoint/2010/main" val="564171"/>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0E00DF-9CB9-4BF6-9D7E-2CCF395AF62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97274" y="174288"/>
            <a:ext cx="8746228" cy="684556"/>
          </a:xfrm>
        </p:spPr>
        <p:txBody>
          <a:bodyPr/>
          <a:lstStyle>
            <a:lvl1pPr>
              <a:defRPr sz="2250"/>
            </a:lvl1pPr>
          </a:lstStyle>
          <a:p>
            <a:r>
              <a:rPr lang="en-US"/>
              <a:t>Click to edit Master title style</a:t>
            </a:r>
          </a:p>
        </p:txBody>
      </p:sp>
      <p:sp>
        <p:nvSpPr>
          <p:cNvPr id="50" name="Content Placeholder 39"/>
          <p:cNvSpPr>
            <a:spLocks noGrp="1"/>
          </p:cNvSpPr>
          <p:nvPr>
            <p:ph sz="quarter" idx="15"/>
          </p:nvPr>
        </p:nvSpPr>
        <p:spPr bwMode="gray">
          <a:xfrm>
            <a:off x="197274" y="1300068"/>
            <a:ext cx="4307320" cy="3360041"/>
          </a:xfrm>
        </p:spPr>
        <p:txBody>
          <a:bodyPr/>
          <a:lstStyle>
            <a:lvl1pPr marL="257404" indent="-257404">
              <a:buFont typeface="+mj-lt"/>
              <a:buAutoNum type="arabicParenR"/>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p:cNvSpPr>
            <a:spLocks noGrp="1"/>
          </p:cNvSpPr>
          <p:nvPr>
            <p:ph type="body" idx="10"/>
          </p:nvPr>
        </p:nvSpPr>
        <p:spPr bwMode="gray">
          <a:xfrm>
            <a:off x="197273"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4" name="Content Placeholder 39"/>
          <p:cNvSpPr>
            <a:spLocks noGrp="1"/>
          </p:cNvSpPr>
          <p:nvPr>
            <p:ph sz="quarter" idx="16"/>
          </p:nvPr>
        </p:nvSpPr>
        <p:spPr bwMode="gray">
          <a:xfrm>
            <a:off x="4636182" y="1300068"/>
            <a:ext cx="4307320" cy="3360041"/>
          </a:xfrm>
        </p:spPr>
        <p:txBody>
          <a:bodyPr/>
          <a:lstStyle>
            <a:lvl1pPr marL="257404" indent="-257404">
              <a:buFont typeface="+mj-lt"/>
              <a:buAutoNum type="arabicParenR" startAt="5"/>
              <a:defRPr sz="1650">
                <a:solidFill>
                  <a:schemeClr val="accent1"/>
                </a:solidFill>
              </a:defRPr>
            </a:lvl1pPr>
            <a:lvl2pPr marL="429007" indent="-171603">
              <a:buClr>
                <a:schemeClr val="accent1"/>
              </a:buClr>
              <a:buFont typeface="Wingdings" panose="05000000000000000000" pitchFamily="2" charset="2"/>
              <a:buChar char="§"/>
              <a:defRPr sz="1350"/>
            </a:lvl2pPr>
            <a:lvl3pPr marL="600610" indent="-171603">
              <a:buClr>
                <a:schemeClr val="tx1">
                  <a:lumMod val="65000"/>
                  <a:lumOff val="35000"/>
                </a:schemeClr>
              </a:buClr>
              <a:buFont typeface="Wingdings" panose="05000000000000000000" pitchFamily="2" charset="2"/>
              <a:buChar char="§"/>
              <a:defRPr sz="1200"/>
            </a:lvl3pPr>
            <a:lvl4pPr marL="772213" indent="-171603">
              <a:buClr>
                <a:schemeClr val="tx1">
                  <a:lumMod val="65000"/>
                  <a:lumOff val="35000"/>
                </a:schemeClr>
              </a:buClr>
              <a:buFont typeface="Wingdings" panose="05000000000000000000" pitchFamily="2" charset="2"/>
              <a:buChar char="§"/>
              <a:defRPr sz="1050"/>
            </a:lvl4pPr>
            <a:lvl5pPr marL="943816" indent="-171603">
              <a:buClr>
                <a:schemeClr val="tx1">
                  <a:lumMod val="65000"/>
                  <a:lumOff val="35000"/>
                </a:schemeClr>
              </a:buClr>
              <a:buFont typeface="Wingdings" panose="05000000000000000000" pitchFamily="2" charset="2"/>
              <a:buChar cha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62A82FA9-856F-4A2D-92E2-229B7DE97AD2}"/>
              </a:ext>
            </a:extLst>
          </p:cNvPr>
          <p:cNvSpPr>
            <a:spLocks noGrp="1"/>
          </p:cNvSpPr>
          <p:nvPr>
            <p:ph type="sldNum" sz="quarter" idx="17"/>
          </p:nvPr>
        </p:nvSpPr>
        <p:spPr/>
        <p:txBody>
          <a:bodyPr/>
          <a:lstStyle>
            <a:lvl1pPr defTabSz="914400">
              <a:defRPr lang="en-US" sz="788" b="1">
                <a:solidFill>
                  <a:srgbClr val="A2A5A2">
                    <a:lumMod val="50000"/>
                  </a:srgbClr>
                </a:solidFill>
              </a:defRPr>
            </a:lvl1pPr>
          </a:lstStyle>
          <a:p>
            <a:pPr>
              <a:defRPr/>
            </a:pPr>
            <a:fld id="{059705A4-6D52-4593-8016-A77C53C4C11F}" type="slidenum">
              <a:rPr/>
              <a:pPr>
                <a:defRPr/>
              </a:pPr>
              <a:t>‹#›</a:t>
            </a:fld>
            <a:endParaRPr/>
          </a:p>
        </p:txBody>
      </p:sp>
      <p:sp>
        <p:nvSpPr>
          <p:cNvPr id="8" name="Footer Placeholder 4">
            <a:extLst>
              <a:ext uri="{FF2B5EF4-FFF2-40B4-BE49-F238E27FC236}">
                <a16:creationId xmlns:a16="http://schemas.microsoft.com/office/drawing/2014/main" id="{DEBC88CF-D6A3-4BB8-89CF-DC7DFE4821E9}"/>
              </a:ext>
            </a:extLst>
          </p:cNvPr>
          <p:cNvSpPr>
            <a:spLocks noGrp="1"/>
          </p:cNvSpPr>
          <p:nvPr>
            <p:ph type="ftr" sz="quarter" idx="18"/>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1969159294"/>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E835FA4B-1C1F-49FC-96B4-190BB256A19E}"/>
              </a:ext>
            </a:extLst>
          </p:cNvPr>
          <p:cNvSpPr>
            <a:spLocks noGrp="1"/>
          </p:cNvSpPr>
          <p:nvPr>
            <p:ph type="sldNum" sz="quarter" idx="15"/>
          </p:nvPr>
        </p:nvSpPr>
        <p:spPr/>
        <p:txBody>
          <a:bodyPr/>
          <a:lstStyle>
            <a:lvl1pPr defTabSz="914400">
              <a:defRPr lang="en-US" sz="788" b="1">
                <a:solidFill>
                  <a:srgbClr val="A2A5A2">
                    <a:lumMod val="50000"/>
                  </a:srgbClr>
                </a:solidFill>
              </a:defRPr>
            </a:lvl1pPr>
          </a:lstStyle>
          <a:p>
            <a:pPr>
              <a:defRPr/>
            </a:pPr>
            <a:fld id="{330C46B7-015E-413B-B992-EAC56B96016F}" type="slidenum">
              <a:rPr/>
              <a:pPr>
                <a:defRPr/>
              </a:pPr>
              <a:t>‹#›</a:t>
            </a:fld>
            <a:endParaRPr/>
          </a:p>
        </p:txBody>
      </p:sp>
      <p:sp>
        <p:nvSpPr>
          <p:cNvPr id="6" name="Footer Placeholder 4">
            <a:extLst>
              <a:ext uri="{FF2B5EF4-FFF2-40B4-BE49-F238E27FC236}">
                <a16:creationId xmlns:a16="http://schemas.microsoft.com/office/drawing/2014/main" id="{21CC62E3-0DCB-4A40-947A-983660AC3942}"/>
              </a:ext>
            </a:extLst>
          </p:cNvPr>
          <p:cNvSpPr>
            <a:spLocks noGrp="1"/>
          </p:cNvSpPr>
          <p:nvPr>
            <p:ph type="ftr" sz="quarter" idx="16"/>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76452413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C344AA-659E-4AE5-8932-6A7E269F7772}"/>
              </a:ext>
            </a:extLst>
          </p:cNvPr>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a:p>
        </p:txBody>
      </p:sp>
      <p:pic>
        <p:nvPicPr>
          <p:cNvPr id="5" name="Picture 9" descr="FlexPod_Reg_CMYK-withbubble-white.png">
            <a:extLst>
              <a:ext uri="{FF2B5EF4-FFF2-40B4-BE49-F238E27FC236}">
                <a16:creationId xmlns:a16="http://schemas.microsoft.com/office/drawing/2014/main" id="{6BC3DDF8-767A-445F-9F4F-0C18DFF2BC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p>
        </p:txBody>
      </p:sp>
    </p:spTree>
    <p:extLst>
      <p:ext uri="{BB962C8B-B14F-4D97-AF65-F5344CB8AC3E}">
        <p14:creationId xmlns:p14="http://schemas.microsoft.com/office/powerpoint/2010/main" val="3044927447"/>
      </p:ext>
    </p:extLst>
  </p:cSld>
  <p:clrMapOvr>
    <a:masterClrMapping/>
  </p:clrMapOvr>
  <p:transition spd="slow">
    <p:circl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No Subtitle, No Source">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DB919EF1-48CB-42F1-9B83-47CD92208A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1782"/>
            <a:ext cx="8746228" cy="3359923"/>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BFD87A2D-809F-4CA3-A24B-C48386548857}"/>
              </a:ext>
            </a:extLst>
          </p:cNvPr>
          <p:cNvSpPr>
            <a:spLocks noGrp="1"/>
          </p:cNvSpPr>
          <p:nvPr>
            <p:ph type="sldNum" sz="quarter" idx="15"/>
          </p:nvPr>
        </p:nvSpPr>
        <p:spPr/>
        <p:txBody>
          <a:bodyPr/>
          <a:lstStyle>
            <a:lvl1pPr defTabSz="914400">
              <a:defRPr lang="en-US" sz="788" b="1">
                <a:solidFill>
                  <a:srgbClr val="A2A5A2">
                    <a:lumMod val="50000"/>
                  </a:srgbClr>
                </a:solidFill>
              </a:defRPr>
            </a:lvl1pPr>
          </a:lstStyle>
          <a:p>
            <a:pPr>
              <a:defRPr/>
            </a:pPr>
            <a:fld id="{4F561D35-022F-4F80-A816-8FB606E1E87C}" type="slidenum">
              <a:rPr/>
              <a:pPr>
                <a:defRPr/>
              </a:pPr>
              <a:t>‹#›</a:t>
            </a:fld>
            <a:endParaRPr/>
          </a:p>
        </p:txBody>
      </p:sp>
      <p:sp>
        <p:nvSpPr>
          <p:cNvPr id="6" name="Footer Placeholder 4">
            <a:extLst>
              <a:ext uri="{FF2B5EF4-FFF2-40B4-BE49-F238E27FC236}">
                <a16:creationId xmlns:a16="http://schemas.microsoft.com/office/drawing/2014/main" id="{297F5664-6C28-4124-9070-0194D14C7D8D}"/>
              </a:ext>
            </a:extLst>
          </p:cNvPr>
          <p:cNvSpPr>
            <a:spLocks noGrp="1"/>
          </p:cNvSpPr>
          <p:nvPr>
            <p:ph type="ftr" sz="quarter" idx="16"/>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384820637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with Sourc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DFE187-B6CB-4A36-9A19-1B28E4E2027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48" name="Content Placeholder 3"/>
          <p:cNvSpPr>
            <a:spLocks noGrp="1"/>
          </p:cNvSpPr>
          <p:nvPr>
            <p:ph sz="quarter" idx="14"/>
          </p:nvPr>
        </p:nvSpPr>
        <p:spPr>
          <a:xfrm>
            <a:off x="197274" y="1300164"/>
            <a:ext cx="8746228" cy="3359944"/>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0" name="Text Placeholder 6"/>
          <p:cNvSpPr>
            <a:spLocks noGrp="1"/>
          </p:cNvSpPr>
          <p:nvPr>
            <p:ph type="body" sz="quarter" idx="16"/>
          </p:nvPr>
        </p:nvSpPr>
        <p:spPr>
          <a:xfrm>
            <a:off x="197274" y="4678985"/>
            <a:ext cx="7783274" cy="161583"/>
          </a:xfrm>
        </p:spPr>
        <p:txBody>
          <a:bodyPr anchor="ctr"/>
          <a:lstStyle>
            <a:lvl1pPr marL="0" indent="0">
              <a:lnSpc>
                <a:spcPct val="100000"/>
              </a:lnSpc>
              <a:spcBef>
                <a:spcPts val="0"/>
              </a:spcBef>
              <a:spcAft>
                <a:spcPts val="0"/>
              </a:spcAft>
              <a:buFontTx/>
              <a:buNone/>
              <a:defRPr sz="600" baseline="0">
                <a:solidFill>
                  <a:schemeClr val="bg2">
                    <a:lumMod val="50000"/>
                  </a:schemeClr>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7" name="Slide Number Placeholder 5">
            <a:extLst>
              <a:ext uri="{FF2B5EF4-FFF2-40B4-BE49-F238E27FC236}">
                <a16:creationId xmlns:a16="http://schemas.microsoft.com/office/drawing/2014/main" id="{6E05892B-DE15-4BB9-95E9-726A36B6BEE8}"/>
              </a:ext>
            </a:extLst>
          </p:cNvPr>
          <p:cNvSpPr>
            <a:spLocks noGrp="1"/>
          </p:cNvSpPr>
          <p:nvPr>
            <p:ph type="sldNum" sz="quarter" idx="17"/>
          </p:nvPr>
        </p:nvSpPr>
        <p:spPr/>
        <p:txBody>
          <a:bodyPr/>
          <a:lstStyle>
            <a:lvl1pPr defTabSz="914400">
              <a:defRPr lang="en-US" sz="788" b="1">
                <a:solidFill>
                  <a:srgbClr val="A2A5A2">
                    <a:lumMod val="50000"/>
                  </a:srgbClr>
                </a:solidFill>
              </a:defRPr>
            </a:lvl1pPr>
          </a:lstStyle>
          <a:p>
            <a:pPr>
              <a:defRPr/>
            </a:pPr>
            <a:fld id="{B5A5A1F7-D528-4701-AE9C-35761F30BC1E}" type="slidenum">
              <a:rPr/>
              <a:pPr>
                <a:defRPr/>
              </a:pPr>
              <a:t>‹#›</a:t>
            </a:fld>
            <a:endParaRPr/>
          </a:p>
        </p:txBody>
      </p:sp>
      <p:sp>
        <p:nvSpPr>
          <p:cNvPr id="8" name="Footer Placeholder 4">
            <a:extLst>
              <a:ext uri="{FF2B5EF4-FFF2-40B4-BE49-F238E27FC236}">
                <a16:creationId xmlns:a16="http://schemas.microsoft.com/office/drawing/2014/main" id="{C96809EE-A416-455A-BA3B-18C987470E4D}"/>
              </a:ext>
            </a:extLst>
          </p:cNvPr>
          <p:cNvSpPr>
            <a:spLocks noGrp="1"/>
          </p:cNvSpPr>
          <p:nvPr>
            <p:ph type="ftr" sz="quarter" idx="18"/>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28395261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8871EC0-A8EF-4D7B-A7B5-761DBA6EBF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Content Placeholder 39"/>
          <p:cNvSpPr>
            <a:spLocks noGrp="1"/>
          </p:cNvSpPr>
          <p:nvPr>
            <p:ph sz="quarter" idx="15"/>
          </p:nvPr>
        </p:nvSpPr>
        <p:spPr bwMode="gray">
          <a:xfrm>
            <a:off x="197274" y="1300068"/>
            <a:ext cx="4287367" cy="3360041"/>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197274" y="180248"/>
            <a:ext cx="8746228" cy="678596"/>
          </a:xfrm>
        </p:spPr>
        <p:txBody>
          <a:bodyPr/>
          <a:lstStyle>
            <a:lvl1pPr>
              <a:defRPr/>
            </a:lvl1pPr>
          </a:lstStyle>
          <a:p>
            <a:r>
              <a:rPr lang="en-US"/>
              <a:t>Click to edit Master title style</a:t>
            </a:r>
          </a:p>
        </p:txBody>
      </p:sp>
      <p:sp>
        <p:nvSpPr>
          <p:cNvPr id="83" name="Content Placeholder 3"/>
          <p:cNvSpPr>
            <a:spLocks noGrp="1"/>
          </p:cNvSpPr>
          <p:nvPr>
            <p:ph sz="quarter" idx="14"/>
          </p:nvPr>
        </p:nvSpPr>
        <p:spPr>
          <a:xfrm>
            <a:off x="4656135" y="1300068"/>
            <a:ext cx="4287367" cy="3359944"/>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7" name="Slide Number Placeholder 5">
            <a:extLst>
              <a:ext uri="{FF2B5EF4-FFF2-40B4-BE49-F238E27FC236}">
                <a16:creationId xmlns:a16="http://schemas.microsoft.com/office/drawing/2014/main" id="{2629A192-5C3E-40AF-B042-49E458538CB3}"/>
              </a:ext>
            </a:extLst>
          </p:cNvPr>
          <p:cNvSpPr>
            <a:spLocks noGrp="1"/>
          </p:cNvSpPr>
          <p:nvPr>
            <p:ph type="sldNum" sz="quarter" idx="16"/>
          </p:nvPr>
        </p:nvSpPr>
        <p:spPr/>
        <p:txBody>
          <a:bodyPr/>
          <a:lstStyle>
            <a:lvl1pPr defTabSz="914400">
              <a:defRPr lang="en-US" sz="788" b="1">
                <a:solidFill>
                  <a:srgbClr val="A2A5A2">
                    <a:lumMod val="50000"/>
                  </a:srgbClr>
                </a:solidFill>
              </a:defRPr>
            </a:lvl1pPr>
          </a:lstStyle>
          <a:p>
            <a:pPr>
              <a:defRPr/>
            </a:pPr>
            <a:fld id="{0F2CD177-0B39-4D62-B237-3D123F52FEC6}" type="slidenum">
              <a:rPr/>
              <a:pPr>
                <a:defRPr/>
              </a:pPr>
              <a:t>‹#›</a:t>
            </a:fld>
            <a:endParaRPr/>
          </a:p>
        </p:txBody>
      </p:sp>
      <p:sp>
        <p:nvSpPr>
          <p:cNvPr id="8" name="Footer Placeholder 4">
            <a:extLst>
              <a:ext uri="{FF2B5EF4-FFF2-40B4-BE49-F238E27FC236}">
                <a16:creationId xmlns:a16="http://schemas.microsoft.com/office/drawing/2014/main" id="{8CDE2D40-CFFA-46DF-91E8-833A566B05F1}"/>
              </a:ext>
            </a:extLst>
          </p:cNvPr>
          <p:cNvSpPr>
            <a:spLocks noGrp="1"/>
          </p:cNvSpPr>
          <p:nvPr>
            <p:ph type="ftr" sz="quarter" idx="17"/>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3426033303"/>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B0ABD42D-EBA1-416C-AAE9-96DB927EA4C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Content Placeholder 39"/>
          <p:cNvSpPr>
            <a:spLocks noGrp="1"/>
          </p:cNvSpPr>
          <p:nvPr>
            <p:ph sz="quarter" idx="15"/>
          </p:nvPr>
        </p:nvSpPr>
        <p:spPr bwMode="gray">
          <a:xfrm>
            <a:off x="197274" y="1300068"/>
            <a:ext cx="2812513" cy="33600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9"/>
          <p:cNvSpPr>
            <a:spLocks noGrp="1"/>
          </p:cNvSpPr>
          <p:nvPr>
            <p:ph sz="quarter" idx="17"/>
          </p:nvPr>
        </p:nvSpPr>
        <p:spPr bwMode="gray">
          <a:xfrm>
            <a:off x="3164131" y="1300068"/>
            <a:ext cx="2812513" cy="33600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Content Placeholder 39"/>
          <p:cNvSpPr>
            <a:spLocks noGrp="1"/>
          </p:cNvSpPr>
          <p:nvPr>
            <p:ph sz="quarter" idx="18"/>
          </p:nvPr>
        </p:nvSpPr>
        <p:spPr bwMode="gray">
          <a:xfrm>
            <a:off x="6130989" y="1300068"/>
            <a:ext cx="2812513" cy="33600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41"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8" name="Slide Number Placeholder 5">
            <a:extLst>
              <a:ext uri="{FF2B5EF4-FFF2-40B4-BE49-F238E27FC236}">
                <a16:creationId xmlns:a16="http://schemas.microsoft.com/office/drawing/2014/main" id="{E2BB4B85-D20B-4CC1-9997-231A166D0707}"/>
              </a:ext>
            </a:extLst>
          </p:cNvPr>
          <p:cNvSpPr>
            <a:spLocks noGrp="1"/>
          </p:cNvSpPr>
          <p:nvPr>
            <p:ph type="sldNum" sz="quarter" idx="19"/>
          </p:nvPr>
        </p:nvSpPr>
        <p:spPr/>
        <p:txBody>
          <a:bodyPr/>
          <a:lstStyle>
            <a:lvl1pPr defTabSz="914400">
              <a:defRPr lang="en-US" sz="788" b="1">
                <a:solidFill>
                  <a:srgbClr val="A2A5A2">
                    <a:lumMod val="50000"/>
                  </a:srgbClr>
                </a:solidFill>
              </a:defRPr>
            </a:lvl1pPr>
          </a:lstStyle>
          <a:p>
            <a:pPr>
              <a:defRPr/>
            </a:pPr>
            <a:fld id="{72E85FCF-CC5B-4E48-B5CE-27DFAE8A3E05}" type="slidenum">
              <a:rPr/>
              <a:pPr>
                <a:defRPr/>
              </a:pPr>
              <a:t>‹#›</a:t>
            </a:fld>
            <a:endParaRPr/>
          </a:p>
        </p:txBody>
      </p:sp>
      <p:sp>
        <p:nvSpPr>
          <p:cNvPr id="9" name="Footer Placeholder 4">
            <a:extLst>
              <a:ext uri="{FF2B5EF4-FFF2-40B4-BE49-F238E27FC236}">
                <a16:creationId xmlns:a16="http://schemas.microsoft.com/office/drawing/2014/main" id="{19A8168D-7DE2-4AB3-BA83-31536F8824F4}"/>
              </a:ext>
            </a:extLst>
          </p:cNvPr>
          <p:cNvSpPr>
            <a:spLocks noGrp="1"/>
          </p:cNvSpPr>
          <p:nvPr>
            <p:ph type="ftr" sz="quarter" idx="20"/>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557359121"/>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Quad">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61154914-A3EA-41AE-BD68-872A614D765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79" name="Content Placeholder 39"/>
          <p:cNvSpPr>
            <a:spLocks noGrp="1"/>
          </p:cNvSpPr>
          <p:nvPr>
            <p:ph sz="quarter" idx="15"/>
          </p:nvPr>
        </p:nvSpPr>
        <p:spPr bwMode="gray">
          <a:xfrm>
            <a:off x="197273" y="1300069"/>
            <a:ext cx="4287367" cy="1568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Content Placeholder 3"/>
          <p:cNvSpPr>
            <a:spLocks noGrp="1"/>
          </p:cNvSpPr>
          <p:nvPr>
            <p:ph sz="quarter" idx="14"/>
          </p:nvPr>
        </p:nvSpPr>
        <p:spPr>
          <a:xfrm>
            <a:off x="4656135" y="1300164"/>
            <a:ext cx="4287367" cy="1568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1" name="Content Placeholder 39"/>
          <p:cNvSpPr>
            <a:spLocks noGrp="1"/>
          </p:cNvSpPr>
          <p:nvPr>
            <p:ph sz="quarter" idx="20"/>
          </p:nvPr>
        </p:nvSpPr>
        <p:spPr bwMode="gray">
          <a:xfrm>
            <a:off x="197273" y="3047205"/>
            <a:ext cx="4287367" cy="1568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2" name="Content Placeholder 3"/>
          <p:cNvSpPr>
            <a:spLocks noGrp="1"/>
          </p:cNvSpPr>
          <p:nvPr>
            <p:ph sz="quarter" idx="21"/>
          </p:nvPr>
        </p:nvSpPr>
        <p:spPr>
          <a:xfrm>
            <a:off x="4656135" y="3047300"/>
            <a:ext cx="4287367" cy="1568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9" name="Slide Number Placeholder 5">
            <a:extLst>
              <a:ext uri="{FF2B5EF4-FFF2-40B4-BE49-F238E27FC236}">
                <a16:creationId xmlns:a16="http://schemas.microsoft.com/office/drawing/2014/main" id="{2BA85B8D-5636-4985-A393-C805CB5B98ED}"/>
              </a:ext>
            </a:extLst>
          </p:cNvPr>
          <p:cNvSpPr>
            <a:spLocks noGrp="1"/>
          </p:cNvSpPr>
          <p:nvPr>
            <p:ph type="sldNum" sz="quarter" idx="22"/>
          </p:nvPr>
        </p:nvSpPr>
        <p:spPr/>
        <p:txBody>
          <a:bodyPr/>
          <a:lstStyle>
            <a:lvl1pPr defTabSz="914400">
              <a:defRPr lang="en-US" sz="788" b="1">
                <a:solidFill>
                  <a:srgbClr val="A2A5A2">
                    <a:lumMod val="50000"/>
                  </a:srgbClr>
                </a:solidFill>
              </a:defRPr>
            </a:lvl1pPr>
          </a:lstStyle>
          <a:p>
            <a:pPr>
              <a:defRPr/>
            </a:pPr>
            <a:fld id="{DBE27284-8136-49CC-BF09-E17596097572}" type="slidenum">
              <a:rPr/>
              <a:pPr>
                <a:defRPr/>
              </a:pPr>
              <a:t>‹#›</a:t>
            </a:fld>
            <a:endParaRPr/>
          </a:p>
        </p:txBody>
      </p:sp>
      <p:sp>
        <p:nvSpPr>
          <p:cNvPr id="10" name="Footer Placeholder 4">
            <a:extLst>
              <a:ext uri="{FF2B5EF4-FFF2-40B4-BE49-F238E27FC236}">
                <a16:creationId xmlns:a16="http://schemas.microsoft.com/office/drawing/2014/main" id="{110A4A57-B967-4652-A717-17784535806C}"/>
              </a:ext>
            </a:extLst>
          </p:cNvPr>
          <p:cNvSpPr>
            <a:spLocks noGrp="1"/>
          </p:cNvSpPr>
          <p:nvPr>
            <p:ph type="ftr" sz="quarter" idx="23"/>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1594077371"/>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7C353F20-78B1-4E98-A079-38BC78643E5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40" name="Text Placeholder 2"/>
          <p:cNvSpPr>
            <a:spLocks noGrp="1"/>
          </p:cNvSpPr>
          <p:nvPr>
            <p:ph type="body" idx="10"/>
          </p:nvPr>
        </p:nvSpPr>
        <p:spPr bwMode="gray">
          <a:xfrm>
            <a:off x="197274" y="829815"/>
            <a:ext cx="874622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C04BF137-5FD1-495D-8C69-920EBC2A77D3}"/>
              </a:ext>
            </a:extLst>
          </p:cNvPr>
          <p:cNvSpPr>
            <a:spLocks noGrp="1"/>
          </p:cNvSpPr>
          <p:nvPr>
            <p:ph type="sldNum" sz="quarter" idx="11"/>
          </p:nvPr>
        </p:nvSpPr>
        <p:spPr/>
        <p:txBody>
          <a:bodyPr/>
          <a:lstStyle>
            <a:lvl1pPr defTabSz="914400">
              <a:defRPr lang="en-US" sz="788" b="1">
                <a:solidFill>
                  <a:srgbClr val="A2A5A2">
                    <a:lumMod val="50000"/>
                  </a:srgbClr>
                </a:solidFill>
              </a:defRPr>
            </a:lvl1pPr>
          </a:lstStyle>
          <a:p>
            <a:pPr>
              <a:defRPr/>
            </a:pPr>
            <a:fld id="{4A82C119-2337-485E-9E09-B266EEA0BC68}" type="slidenum">
              <a:rPr/>
              <a:pPr>
                <a:defRPr/>
              </a:pPr>
              <a:t>‹#›</a:t>
            </a:fld>
            <a:endParaRPr/>
          </a:p>
        </p:txBody>
      </p:sp>
      <p:sp>
        <p:nvSpPr>
          <p:cNvPr id="6" name="Footer Placeholder 4">
            <a:extLst>
              <a:ext uri="{FF2B5EF4-FFF2-40B4-BE49-F238E27FC236}">
                <a16:creationId xmlns:a16="http://schemas.microsoft.com/office/drawing/2014/main" id="{F8797B43-7D9F-45F7-AFD8-3B4D77A12792}"/>
              </a:ext>
            </a:extLst>
          </p:cNvPr>
          <p:cNvSpPr>
            <a:spLocks noGrp="1"/>
          </p:cNvSpPr>
          <p:nvPr>
            <p:ph type="ftr" sz="quarter" idx="12"/>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479942120"/>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Sta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12EB94-C799-4B6B-A59B-F23D709D9031}"/>
              </a:ext>
            </a:extLst>
          </p:cNvPr>
          <p:cNvSpPr/>
          <p:nvPr/>
        </p:nvSpPr>
        <p:spPr>
          <a:xfrm>
            <a:off x="1036638" y="1028700"/>
            <a:ext cx="3084512" cy="3084513"/>
          </a:xfrm>
          <a:prstGeom prst="rect">
            <a:avLst/>
          </a:prstGeom>
          <a:solidFill>
            <a:srgbClr val="0067C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6412">
              <a:lnSpc>
                <a:spcPct val="95000"/>
              </a:lnSpc>
              <a:defRPr/>
            </a:pPr>
            <a:endParaRPr lang="en-US" sz="1500" err="1">
              <a:solidFill>
                <a:prstClr val="white"/>
              </a:solidFill>
            </a:endParaRPr>
          </a:p>
        </p:txBody>
      </p:sp>
      <p:pic>
        <p:nvPicPr>
          <p:cNvPr id="8" name="Picture 6">
            <a:extLst>
              <a:ext uri="{FF2B5EF4-FFF2-40B4-BE49-F238E27FC236}">
                <a16:creationId xmlns:a16="http://schemas.microsoft.com/office/drawing/2014/main" id="{97DF36D3-AF14-4C7F-85BB-DCAD25BB4C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EF3CE19C-B195-4022-A1A0-FEE7C834A866}"/>
              </a:ext>
            </a:extLst>
          </p:cNvPr>
          <p:cNvSpPr/>
          <p:nvPr userDrawn="1"/>
        </p:nvSpPr>
        <p:spPr>
          <a:xfrm>
            <a:off x="0" y="0"/>
            <a:ext cx="1036638" cy="1036638"/>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defPPr>
              <a:defRPr lang="en-US"/>
            </a:defPPr>
            <a:lvl1pPr marL="0" algn="l" defTabSz="915216" rtl="0" eaLnBrk="1" latinLnBrk="0" hangingPunct="1">
              <a:defRPr sz="1900" kern="1200">
                <a:solidFill>
                  <a:schemeClr val="lt1"/>
                </a:solidFill>
                <a:latin typeface="+mn-lt"/>
                <a:ea typeface="+mn-ea"/>
                <a:cs typeface="+mn-cs"/>
              </a:defRPr>
            </a:lvl1pPr>
            <a:lvl2pPr marL="457608" algn="l" defTabSz="915216" rtl="0" eaLnBrk="1" latinLnBrk="0" hangingPunct="1">
              <a:defRPr sz="1900" kern="1200">
                <a:solidFill>
                  <a:schemeClr val="lt1"/>
                </a:solidFill>
                <a:latin typeface="+mn-lt"/>
                <a:ea typeface="+mn-ea"/>
                <a:cs typeface="+mn-cs"/>
              </a:defRPr>
            </a:lvl2pPr>
            <a:lvl3pPr marL="915216" algn="l" defTabSz="915216" rtl="0" eaLnBrk="1" latinLnBrk="0" hangingPunct="1">
              <a:defRPr sz="1900" kern="1200">
                <a:solidFill>
                  <a:schemeClr val="lt1"/>
                </a:solidFill>
                <a:latin typeface="+mn-lt"/>
                <a:ea typeface="+mn-ea"/>
                <a:cs typeface="+mn-cs"/>
              </a:defRPr>
            </a:lvl3pPr>
            <a:lvl4pPr marL="1372822" algn="l" defTabSz="915216" rtl="0" eaLnBrk="1" latinLnBrk="0" hangingPunct="1">
              <a:defRPr sz="1900" kern="1200">
                <a:solidFill>
                  <a:schemeClr val="lt1"/>
                </a:solidFill>
                <a:latin typeface="+mn-lt"/>
                <a:ea typeface="+mn-ea"/>
                <a:cs typeface="+mn-cs"/>
              </a:defRPr>
            </a:lvl4pPr>
            <a:lvl5pPr marL="1830430" algn="l" defTabSz="915216" rtl="0" eaLnBrk="1" latinLnBrk="0" hangingPunct="1">
              <a:defRPr sz="1900" kern="1200">
                <a:solidFill>
                  <a:schemeClr val="lt1"/>
                </a:solidFill>
                <a:latin typeface="+mn-lt"/>
                <a:ea typeface="+mn-ea"/>
                <a:cs typeface="+mn-cs"/>
              </a:defRPr>
            </a:lvl5pPr>
            <a:lvl6pPr marL="2288038" algn="l" defTabSz="915216" rtl="0" eaLnBrk="1" latinLnBrk="0" hangingPunct="1">
              <a:defRPr sz="1900" kern="1200">
                <a:solidFill>
                  <a:schemeClr val="lt1"/>
                </a:solidFill>
                <a:latin typeface="+mn-lt"/>
                <a:ea typeface="+mn-ea"/>
                <a:cs typeface="+mn-cs"/>
              </a:defRPr>
            </a:lvl6pPr>
            <a:lvl7pPr marL="2745646" algn="l" defTabSz="915216" rtl="0" eaLnBrk="1" latinLnBrk="0" hangingPunct="1">
              <a:defRPr sz="1900" kern="1200">
                <a:solidFill>
                  <a:schemeClr val="lt1"/>
                </a:solidFill>
                <a:latin typeface="+mn-lt"/>
                <a:ea typeface="+mn-ea"/>
                <a:cs typeface="+mn-cs"/>
              </a:defRPr>
            </a:lvl7pPr>
            <a:lvl8pPr marL="3203253" algn="l" defTabSz="915216" rtl="0" eaLnBrk="1" latinLnBrk="0" hangingPunct="1">
              <a:defRPr sz="1900" kern="1200">
                <a:solidFill>
                  <a:schemeClr val="lt1"/>
                </a:solidFill>
                <a:latin typeface="+mn-lt"/>
                <a:ea typeface="+mn-ea"/>
                <a:cs typeface="+mn-cs"/>
              </a:defRPr>
            </a:lvl8pPr>
            <a:lvl9pPr marL="3660861" algn="l" defTabSz="915216" rtl="0" eaLnBrk="1" latinLnBrk="0" hangingPunct="1">
              <a:defRPr sz="1900" kern="1200">
                <a:solidFill>
                  <a:schemeClr val="lt1"/>
                </a:solidFill>
                <a:latin typeface="+mn-lt"/>
                <a:ea typeface="+mn-ea"/>
                <a:cs typeface="+mn-cs"/>
              </a:defRPr>
            </a:lvl9pPr>
          </a:lstStyle>
          <a:p>
            <a:pPr algn="ctr">
              <a:lnSpc>
                <a:spcPct val="95000"/>
              </a:lnSpc>
              <a:defRPr/>
            </a:pPr>
            <a:endParaRPr lang="en-US" sz="1500" err="1">
              <a:solidFill>
                <a:srgbClr val="FFFFFF"/>
              </a:solidFill>
            </a:endParaRPr>
          </a:p>
        </p:txBody>
      </p:sp>
      <p:sp>
        <p:nvSpPr>
          <p:cNvPr id="6" name="Text Placeholder 5"/>
          <p:cNvSpPr>
            <a:spLocks noGrp="1"/>
          </p:cNvSpPr>
          <p:nvPr>
            <p:ph type="body" sz="quarter" idx="11"/>
          </p:nvPr>
        </p:nvSpPr>
        <p:spPr>
          <a:xfrm>
            <a:off x="1036265" y="3054931"/>
            <a:ext cx="3085139" cy="408857"/>
          </a:xfrm>
        </p:spPr>
        <p:txBody>
          <a:bodyPr/>
          <a:lstStyle>
            <a:lvl1pPr marL="0" indent="0" algn="ctr">
              <a:buNone/>
              <a:defRPr kumimoji="0" lang="en-US" sz="1650" b="0" i="0" u="none" strike="noStrike" kern="1200" cap="none" spc="0" normalizeH="0" baseline="0" dirty="0" smtClean="0">
                <a:ln>
                  <a:noFill/>
                </a:ln>
                <a:solidFill>
                  <a:srgbClr val="5AC0ED"/>
                </a:solidFill>
                <a:effectLst/>
                <a:uLnTx/>
                <a:uFillTx/>
                <a:latin typeface="+mn-lt"/>
                <a:ea typeface="+mn-ea"/>
                <a:cs typeface="+mn-cs"/>
              </a:defRPr>
            </a:lvl1pPr>
          </a:lstStyle>
          <a:p>
            <a:pPr lvl="0"/>
            <a:r>
              <a:rPr lang="en-US"/>
              <a:t>Edit Master text styles</a:t>
            </a:r>
          </a:p>
        </p:txBody>
      </p:sp>
      <p:sp>
        <p:nvSpPr>
          <p:cNvPr id="3" name="Text Placeholder 2"/>
          <p:cNvSpPr>
            <a:spLocks noGrp="1"/>
          </p:cNvSpPr>
          <p:nvPr>
            <p:ph type="body" sz="quarter" idx="10"/>
          </p:nvPr>
        </p:nvSpPr>
        <p:spPr>
          <a:xfrm>
            <a:off x="1036265" y="1100137"/>
            <a:ext cx="3085139" cy="2043113"/>
          </a:xfrm>
        </p:spPr>
        <p:txBody>
          <a:bodyPr anchor="b"/>
          <a:lstStyle>
            <a:lvl1pPr marL="0" marR="0" indent="0" algn="ctr" defTabSz="685800" rtl="0" eaLnBrk="1" fontAlgn="auto" latinLnBrk="0" hangingPunct="1">
              <a:lnSpc>
                <a:spcPct val="95000"/>
              </a:lnSpc>
              <a:spcBef>
                <a:spcPts val="300"/>
              </a:spcBef>
              <a:spcAft>
                <a:spcPts val="150"/>
              </a:spcAft>
              <a:buClr>
                <a:schemeClr val="accent1"/>
              </a:buClr>
              <a:buSzTx/>
              <a:buFontTx/>
              <a:buNone/>
              <a:tabLst/>
              <a:defRPr kumimoji="0" lang="en-US" sz="9000" b="1" i="0" u="none" strike="noStrike" kern="1200" cap="none" spc="0" normalizeH="0" baseline="0" dirty="0">
                <a:ln>
                  <a:noFill/>
                </a:ln>
                <a:solidFill>
                  <a:schemeClr val="bg1"/>
                </a:solidFill>
                <a:effectLst/>
                <a:uLnTx/>
                <a:uFillTx/>
                <a:latin typeface="+mn-lt"/>
                <a:ea typeface="+mn-ea"/>
                <a:cs typeface="+mn-cs"/>
              </a:defRPr>
            </a:lvl1pPr>
          </a:lstStyle>
          <a:p>
            <a:pPr lvl="0"/>
            <a:r>
              <a:rPr lang="en-US"/>
              <a:t>Edit Master text styles</a:t>
            </a:r>
          </a:p>
        </p:txBody>
      </p:sp>
      <p:sp>
        <p:nvSpPr>
          <p:cNvPr id="37" name="Title 1"/>
          <p:cNvSpPr>
            <a:spLocks noGrp="1"/>
          </p:cNvSpPr>
          <p:nvPr>
            <p:ph type="title"/>
          </p:nvPr>
        </p:nvSpPr>
        <p:spPr bwMode="gray">
          <a:xfrm>
            <a:off x="4658830" y="1871959"/>
            <a:ext cx="4261805" cy="661418"/>
          </a:xfrm>
        </p:spPr>
        <p:txBody>
          <a:bodyPr/>
          <a:lstStyle>
            <a:lvl1pPr marL="0" marR="0" algn="l" defTabSz="685800" rtl="0" eaLnBrk="1" fontAlgn="auto" latinLnBrk="0" hangingPunct="1">
              <a:lnSpc>
                <a:spcPct val="95000"/>
              </a:lnSpc>
              <a:spcBef>
                <a:spcPts val="300"/>
              </a:spcBef>
              <a:spcAft>
                <a:spcPts val="150"/>
              </a:spcAft>
              <a:buClr>
                <a:schemeClr val="accent1"/>
              </a:buClr>
              <a:buSzTx/>
              <a:tabLst/>
              <a:defRPr kumimoji="0" lang="en-US" sz="3600" b="0" i="0" u="none" strike="noStrike" kern="1200" cap="none" spc="0" normalizeH="0" baseline="0" dirty="0">
                <a:ln>
                  <a:noFill/>
                </a:ln>
                <a:solidFill>
                  <a:sysClr val="windowText" lastClr="000000"/>
                </a:solidFill>
                <a:effectLst/>
                <a:uLnTx/>
                <a:uFillTx/>
                <a:latin typeface="+mn-lt"/>
                <a:ea typeface="+mn-ea"/>
                <a:cs typeface="+mn-cs"/>
              </a:defRPr>
            </a:lvl1pPr>
          </a:lstStyle>
          <a:p>
            <a:r>
              <a:rPr lang="en-US"/>
              <a:t>Click to edit Master title style</a:t>
            </a:r>
          </a:p>
        </p:txBody>
      </p:sp>
      <p:sp>
        <p:nvSpPr>
          <p:cNvPr id="38" name="Text Placeholder 2"/>
          <p:cNvSpPr>
            <a:spLocks noGrp="1"/>
          </p:cNvSpPr>
          <p:nvPr>
            <p:ph type="body" idx="1"/>
          </p:nvPr>
        </p:nvSpPr>
        <p:spPr bwMode="gray">
          <a:xfrm>
            <a:off x="4658830" y="2625561"/>
            <a:ext cx="4261806" cy="369332"/>
          </a:xfrm>
        </p:spPr>
        <p:txBody>
          <a:bodyPr/>
          <a:lstStyle>
            <a:lvl1pPr marL="0" marR="0" indent="0" algn="l" defTabSz="685800" rtl="0" eaLnBrk="1" fontAlgn="auto" latinLnBrk="0" hangingPunct="1">
              <a:lnSpc>
                <a:spcPct val="95000"/>
              </a:lnSpc>
              <a:spcBef>
                <a:spcPts val="300"/>
              </a:spcBef>
              <a:spcAft>
                <a:spcPts val="150"/>
              </a:spcAft>
              <a:buClr>
                <a:schemeClr val="accent1"/>
              </a:buClr>
              <a:buSzTx/>
              <a:buNone/>
              <a:tabLst/>
              <a:defRPr kumimoji="0" lang="en-US" sz="1800" b="0" i="0" u="none" strike="noStrike" kern="1200" cap="none" spc="0" normalizeH="0" baseline="0" dirty="0">
                <a:ln>
                  <a:noFill/>
                </a:ln>
                <a:solidFill>
                  <a:srgbClr val="0067C5"/>
                </a:solidFill>
                <a:effectLst/>
                <a:uLnTx/>
                <a:uFillTx/>
                <a:latin typeface="+mn-lt"/>
                <a:ea typeface="+mn-ea"/>
                <a:cs typeface="+mn-cs"/>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a:t>Edit Master text styles</a:t>
            </a:r>
          </a:p>
        </p:txBody>
      </p:sp>
      <p:sp>
        <p:nvSpPr>
          <p:cNvPr id="10" name="Slide Number Placeholder 5">
            <a:extLst>
              <a:ext uri="{FF2B5EF4-FFF2-40B4-BE49-F238E27FC236}">
                <a16:creationId xmlns:a16="http://schemas.microsoft.com/office/drawing/2014/main" id="{017BF6A9-D235-4886-970A-AA691F52A3E2}"/>
              </a:ext>
            </a:extLst>
          </p:cNvPr>
          <p:cNvSpPr>
            <a:spLocks noGrp="1"/>
          </p:cNvSpPr>
          <p:nvPr>
            <p:ph type="sldNum" sz="quarter" idx="12"/>
          </p:nvPr>
        </p:nvSpPr>
        <p:spPr/>
        <p:txBody>
          <a:bodyPr/>
          <a:lstStyle>
            <a:lvl1pPr defTabSz="914400">
              <a:defRPr lang="en-US" sz="788" b="1">
                <a:solidFill>
                  <a:srgbClr val="A2A5A2">
                    <a:lumMod val="50000"/>
                  </a:srgbClr>
                </a:solidFill>
              </a:defRPr>
            </a:lvl1pPr>
          </a:lstStyle>
          <a:p>
            <a:pPr>
              <a:defRPr/>
            </a:pPr>
            <a:fld id="{79FE664F-BF1F-45E7-A18D-D42B917CDC22}" type="slidenum">
              <a:rPr/>
              <a:pPr>
                <a:defRPr/>
              </a:pPr>
              <a:t>‹#›</a:t>
            </a:fld>
            <a:endParaRPr/>
          </a:p>
        </p:txBody>
      </p:sp>
      <p:sp>
        <p:nvSpPr>
          <p:cNvPr id="11" name="Footer Placeholder 4">
            <a:extLst>
              <a:ext uri="{FF2B5EF4-FFF2-40B4-BE49-F238E27FC236}">
                <a16:creationId xmlns:a16="http://schemas.microsoft.com/office/drawing/2014/main" id="{88AB4AE6-1379-4E10-8C12-FD065FF7340A}"/>
              </a:ext>
            </a:extLst>
          </p:cNvPr>
          <p:cNvSpPr>
            <a:spLocks noGrp="1"/>
          </p:cNvSpPr>
          <p:nvPr>
            <p:ph type="ftr" sz="quarter" idx="13"/>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3841808324"/>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D971835B-1446-42AE-BFD0-F659C669D2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197274" y="180248"/>
            <a:ext cx="7634316" cy="678596"/>
          </a:xfrm>
        </p:spPr>
        <p:txBody>
          <a:bodyPr/>
          <a:lstStyle>
            <a:lvl1pPr>
              <a:defRPr/>
            </a:lvl1pPr>
          </a:lstStyle>
          <a:p>
            <a:r>
              <a:rPr lang="en-US"/>
              <a:t>Click to edit Master title style</a:t>
            </a:r>
          </a:p>
        </p:txBody>
      </p:sp>
      <p:sp>
        <p:nvSpPr>
          <p:cNvPr id="41" name="Text Placeholder 2"/>
          <p:cNvSpPr>
            <a:spLocks noGrp="1"/>
          </p:cNvSpPr>
          <p:nvPr>
            <p:ph type="body" idx="10"/>
          </p:nvPr>
        </p:nvSpPr>
        <p:spPr bwMode="gray">
          <a:xfrm>
            <a:off x="197274" y="829815"/>
            <a:ext cx="7634316"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1" name="Picture Placeholder 10"/>
          <p:cNvSpPr>
            <a:spLocks noGrp="1"/>
          </p:cNvSpPr>
          <p:nvPr>
            <p:ph type="pic" sz="quarter" idx="22"/>
          </p:nvPr>
        </p:nvSpPr>
        <p:spPr>
          <a:xfrm>
            <a:off x="7945500" y="180249"/>
            <a:ext cx="998002" cy="949648"/>
          </a:xfrm>
        </p:spPr>
        <p:txBody>
          <a:bodyPr rtlCol="0">
            <a:noAutofit/>
          </a:bodyPr>
          <a:lstStyle>
            <a:lvl1pPr marL="0" indent="0" algn="ctr">
              <a:lnSpc>
                <a:spcPct val="85000"/>
              </a:lnSpc>
              <a:buFontTx/>
              <a:buNone/>
              <a:defRPr sz="825" baseline="0">
                <a:solidFill>
                  <a:schemeClr val="bg2"/>
                </a:solidFill>
              </a:defRPr>
            </a:lvl1pPr>
          </a:lstStyle>
          <a:p>
            <a:pPr lvl="0"/>
            <a:r>
              <a:rPr lang="en-US" noProof="0"/>
              <a:t>Click icon to add picture</a:t>
            </a:r>
          </a:p>
        </p:txBody>
      </p:sp>
      <p:sp>
        <p:nvSpPr>
          <p:cNvPr id="14" name="Content Placeholder 3"/>
          <p:cNvSpPr>
            <a:spLocks noGrp="1"/>
          </p:cNvSpPr>
          <p:nvPr>
            <p:ph sz="quarter" idx="14"/>
          </p:nvPr>
        </p:nvSpPr>
        <p:spPr>
          <a:xfrm>
            <a:off x="197273" y="1300164"/>
            <a:ext cx="4290081" cy="3359944"/>
          </a:xfrm>
        </p:spPr>
        <p:txBody>
          <a:bodyPr/>
          <a:lstStyle>
            <a:lvl1pPr marL="0" indent="0">
              <a:buFont typeface="Arial" panose="020B0604020202020204" pitchFamily="34" charset="0"/>
              <a:buChar char="​"/>
              <a:defRPr>
                <a:solidFill>
                  <a:schemeClr val="accent1"/>
                </a:solidFill>
              </a:defRPr>
            </a:lvl1pPr>
            <a:lvl2pPr marL="127511" indent="-127511">
              <a:buClr>
                <a:schemeClr val="accent1"/>
              </a:buClr>
              <a:buFont typeface="Wingdings" panose="05000000000000000000" pitchFamily="2" charset="2"/>
              <a:buChar char="§"/>
              <a:defRPr/>
            </a:lvl2pPr>
            <a:lvl3pPr marL="259787" indent="-132278">
              <a:buFont typeface="Wingdings" panose="05000000000000000000" pitchFamily="2" charset="2"/>
              <a:buChar char="§"/>
              <a:defRPr/>
            </a:lvl3pPr>
            <a:lvl4pPr marL="431390" indent="-171603">
              <a:buFont typeface="Wingdings" panose="05000000000000000000" pitchFamily="2" charset="2"/>
              <a:buChar char="§"/>
              <a:defRPr/>
            </a:lvl4pPr>
            <a:lvl5pPr marL="602993" indent="-171603">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24"/>
          </p:nvPr>
        </p:nvSpPr>
        <p:spPr>
          <a:xfrm>
            <a:off x="4656136" y="1300163"/>
            <a:ext cx="4328525" cy="3360420"/>
          </a:xfrm>
        </p:spPr>
        <p:txBody>
          <a:bodyPr rtlCol="0">
            <a:noAutofit/>
          </a:bodyPr>
          <a:lstStyle>
            <a:lvl1pPr marL="0" indent="0">
              <a:buNone/>
              <a:defRPr/>
            </a:lvl1pPr>
          </a:lstStyle>
          <a:p>
            <a:pPr lvl="0"/>
            <a:r>
              <a:rPr lang="en-US" noProof="0"/>
              <a:t>Click icon to add picture</a:t>
            </a:r>
          </a:p>
        </p:txBody>
      </p:sp>
      <p:sp>
        <p:nvSpPr>
          <p:cNvPr id="8" name="Slide Number Placeholder 5">
            <a:extLst>
              <a:ext uri="{FF2B5EF4-FFF2-40B4-BE49-F238E27FC236}">
                <a16:creationId xmlns:a16="http://schemas.microsoft.com/office/drawing/2014/main" id="{7362567E-7772-4012-9967-383AFACF6041}"/>
              </a:ext>
            </a:extLst>
          </p:cNvPr>
          <p:cNvSpPr>
            <a:spLocks noGrp="1"/>
          </p:cNvSpPr>
          <p:nvPr>
            <p:ph type="sldNum" sz="quarter" idx="25"/>
          </p:nvPr>
        </p:nvSpPr>
        <p:spPr/>
        <p:txBody>
          <a:bodyPr/>
          <a:lstStyle>
            <a:lvl1pPr defTabSz="914400">
              <a:defRPr lang="en-US" sz="788" b="1">
                <a:solidFill>
                  <a:srgbClr val="A2A5A2">
                    <a:lumMod val="50000"/>
                  </a:srgbClr>
                </a:solidFill>
              </a:defRPr>
            </a:lvl1pPr>
          </a:lstStyle>
          <a:p>
            <a:pPr>
              <a:defRPr/>
            </a:pPr>
            <a:fld id="{D26ACAF7-3D20-4DE8-B32E-DC7C17E8172E}" type="slidenum">
              <a:rPr/>
              <a:pPr>
                <a:defRPr/>
              </a:pPr>
              <a:t>‹#›</a:t>
            </a:fld>
            <a:endParaRPr/>
          </a:p>
        </p:txBody>
      </p:sp>
      <p:sp>
        <p:nvSpPr>
          <p:cNvPr id="9" name="Footer Placeholder 4">
            <a:extLst>
              <a:ext uri="{FF2B5EF4-FFF2-40B4-BE49-F238E27FC236}">
                <a16:creationId xmlns:a16="http://schemas.microsoft.com/office/drawing/2014/main" id="{A2C3D293-EBB0-4282-B4A6-5B1CC0302C52}"/>
              </a:ext>
            </a:extLst>
          </p:cNvPr>
          <p:cNvSpPr>
            <a:spLocks noGrp="1"/>
          </p:cNvSpPr>
          <p:nvPr>
            <p:ph type="ftr" sz="quarter" idx="26"/>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3478484258"/>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63A8E26E-8904-4466-9743-4D8D562171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bwMode="gray">
          <a:xfrm>
            <a:off x="967273" y="145257"/>
            <a:ext cx="7209456" cy="3525790"/>
          </a:xfrm>
        </p:spPr>
        <p:txBody>
          <a:bodyPr/>
          <a:lstStyle>
            <a:lvl1pPr marL="88184" indent="-88184">
              <a:lnSpc>
                <a:spcPct val="120000"/>
              </a:lnSpc>
              <a:defRPr sz="2700" b="0"/>
            </a:lvl1pPr>
          </a:lstStyle>
          <a:p>
            <a:r>
              <a:rPr lang="en-US"/>
              <a:t>Click to edit Master title style</a:t>
            </a:r>
          </a:p>
        </p:txBody>
      </p:sp>
      <p:sp>
        <p:nvSpPr>
          <p:cNvPr id="29" name="Text Placeholder 2"/>
          <p:cNvSpPr>
            <a:spLocks noGrp="1"/>
          </p:cNvSpPr>
          <p:nvPr>
            <p:ph type="body" idx="1"/>
          </p:nvPr>
        </p:nvSpPr>
        <p:spPr bwMode="gray">
          <a:xfrm>
            <a:off x="967273" y="3880598"/>
            <a:ext cx="7209456" cy="241221"/>
          </a:xfrm>
        </p:spPr>
        <p:txBody>
          <a:bodyPr/>
          <a:lstStyle>
            <a:lvl1pPr marL="0" indent="0" algn="l">
              <a:buNone/>
              <a:defRPr sz="1500" b="1" cap="none" baseline="0">
                <a:solidFill>
                  <a:schemeClr val="accent1"/>
                </a:solidFill>
              </a:defRPr>
            </a:lvl1pPr>
            <a:lvl2pPr marL="343206" indent="0">
              <a:buNone/>
              <a:defRPr sz="1425">
                <a:solidFill>
                  <a:schemeClr val="tx1">
                    <a:tint val="75000"/>
                  </a:schemeClr>
                </a:solidFill>
              </a:defRPr>
            </a:lvl2pPr>
            <a:lvl3pPr marL="686412" indent="0">
              <a:buNone/>
              <a:defRPr sz="1200">
                <a:solidFill>
                  <a:schemeClr val="tx1">
                    <a:tint val="75000"/>
                  </a:schemeClr>
                </a:solidFill>
              </a:defRPr>
            </a:lvl3pPr>
            <a:lvl4pPr marL="1029617" indent="0">
              <a:buNone/>
              <a:defRPr sz="1125">
                <a:solidFill>
                  <a:schemeClr val="tx1">
                    <a:tint val="75000"/>
                  </a:schemeClr>
                </a:solidFill>
              </a:defRPr>
            </a:lvl4pPr>
            <a:lvl5pPr marL="1372823" indent="0">
              <a:buNone/>
              <a:defRPr sz="1125">
                <a:solidFill>
                  <a:schemeClr val="tx1">
                    <a:tint val="75000"/>
                  </a:schemeClr>
                </a:solidFill>
              </a:defRPr>
            </a:lvl5pPr>
            <a:lvl6pPr marL="1716029" indent="0">
              <a:buNone/>
              <a:defRPr sz="1125">
                <a:solidFill>
                  <a:schemeClr val="tx1">
                    <a:tint val="75000"/>
                  </a:schemeClr>
                </a:solidFill>
              </a:defRPr>
            </a:lvl6pPr>
            <a:lvl7pPr marL="2059235" indent="0">
              <a:buNone/>
              <a:defRPr sz="1125">
                <a:solidFill>
                  <a:schemeClr val="tx1">
                    <a:tint val="75000"/>
                  </a:schemeClr>
                </a:solidFill>
              </a:defRPr>
            </a:lvl7pPr>
            <a:lvl8pPr marL="2402440" indent="0">
              <a:buNone/>
              <a:defRPr sz="1125">
                <a:solidFill>
                  <a:schemeClr val="tx1">
                    <a:tint val="75000"/>
                  </a:schemeClr>
                </a:solidFill>
              </a:defRPr>
            </a:lvl8pPr>
            <a:lvl9pPr marL="2745646" indent="0">
              <a:buNone/>
              <a:defRPr sz="1125">
                <a:solidFill>
                  <a:schemeClr val="tx1">
                    <a:tint val="75000"/>
                  </a:schemeClr>
                </a:solidFill>
              </a:defRPr>
            </a:lvl9pPr>
          </a:lstStyle>
          <a:p>
            <a:pPr lvl="0"/>
            <a:r>
              <a:rPr lang="en-US"/>
              <a:t>Edit Master text styles</a:t>
            </a:r>
          </a:p>
        </p:txBody>
      </p:sp>
      <p:sp>
        <p:nvSpPr>
          <p:cNvPr id="5" name="Slide Number Placeholder 5">
            <a:extLst>
              <a:ext uri="{FF2B5EF4-FFF2-40B4-BE49-F238E27FC236}">
                <a16:creationId xmlns:a16="http://schemas.microsoft.com/office/drawing/2014/main" id="{C3DA071A-EF4C-4D89-94D2-80E69DB16634}"/>
              </a:ext>
            </a:extLst>
          </p:cNvPr>
          <p:cNvSpPr>
            <a:spLocks noGrp="1"/>
          </p:cNvSpPr>
          <p:nvPr>
            <p:ph type="sldNum" sz="quarter" idx="10"/>
          </p:nvPr>
        </p:nvSpPr>
        <p:spPr/>
        <p:txBody>
          <a:bodyPr/>
          <a:lstStyle>
            <a:lvl1pPr defTabSz="914400">
              <a:defRPr lang="en-US" sz="788" b="1">
                <a:solidFill>
                  <a:srgbClr val="A2A5A2">
                    <a:lumMod val="50000"/>
                  </a:srgbClr>
                </a:solidFill>
              </a:defRPr>
            </a:lvl1pPr>
          </a:lstStyle>
          <a:p>
            <a:pPr>
              <a:defRPr/>
            </a:pPr>
            <a:fld id="{1B34922C-4892-4832-9166-7766BF9695B6}" type="slidenum">
              <a:rPr/>
              <a:pPr>
                <a:defRPr/>
              </a:pPr>
              <a:t>‹#›</a:t>
            </a:fld>
            <a:endParaRPr/>
          </a:p>
        </p:txBody>
      </p:sp>
      <p:sp>
        <p:nvSpPr>
          <p:cNvPr id="6" name="Footer Placeholder 4">
            <a:extLst>
              <a:ext uri="{FF2B5EF4-FFF2-40B4-BE49-F238E27FC236}">
                <a16:creationId xmlns:a16="http://schemas.microsoft.com/office/drawing/2014/main" id="{AC2F1FEE-F56A-4CB7-A68B-B504357D12A3}"/>
              </a:ext>
            </a:extLst>
          </p:cNvPr>
          <p:cNvSpPr>
            <a:spLocks noGrp="1"/>
          </p:cNvSpPr>
          <p:nvPr>
            <p:ph type="ftr" sz="quarter" idx="11"/>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1342868511"/>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472732F6-4940-4D81-9B36-49B21A7E17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bwMode="gray">
          <a:xfrm>
            <a:off x="967273" y="284773"/>
            <a:ext cx="7209456" cy="4055966"/>
          </a:xfrm>
        </p:spPr>
        <p:txBody>
          <a:bodyPr anchor="ctr"/>
          <a:lstStyle>
            <a:lvl1pPr marL="0" indent="0" algn="ctr">
              <a:lnSpc>
                <a:spcPct val="80000"/>
              </a:lnSpc>
              <a:defRPr sz="7500" b="1">
                <a:solidFill>
                  <a:schemeClr val="accent1"/>
                </a:solidFill>
              </a:defRPr>
            </a:lvl1pPr>
          </a:lstStyle>
          <a:p>
            <a:r>
              <a:rPr lang="en-US"/>
              <a:t>Click to edit Master title style</a:t>
            </a:r>
          </a:p>
        </p:txBody>
      </p:sp>
      <p:sp>
        <p:nvSpPr>
          <p:cNvPr id="4" name="Slide Number Placeholder 5">
            <a:extLst>
              <a:ext uri="{FF2B5EF4-FFF2-40B4-BE49-F238E27FC236}">
                <a16:creationId xmlns:a16="http://schemas.microsoft.com/office/drawing/2014/main" id="{158AFAB3-1D57-43E7-80ED-39502455C126}"/>
              </a:ext>
            </a:extLst>
          </p:cNvPr>
          <p:cNvSpPr>
            <a:spLocks noGrp="1"/>
          </p:cNvSpPr>
          <p:nvPr>
            <p:ph type="sldNum" sz="quarter" idx="10"/>
          </p:nvPr>
        </p:nvSpPr>
        <p:spPr/>
        <p:txBody>
          <a:bodyPr/>
          <a:lstStyle>
            <a:lvl1pPr defTabSz="914400">
              <a:defRPr lang="en-US" sz="788" b="1">
                <a:solidFill>
                  <a:srgbClr val="A2A5A2">
                    <a:lumMod val="50000"/>
                  </a:srgbClr>
                </a:solidFill>
              </a:defRPr>
            </a:lvl1pPr>
          </a:lstStyle>
          <a:p>
            <a:pPr>
              <a:defRPr/>
            </a:pPr>
            <a:fld id="{4771885D-88D5-491B-A18A-151007D28F81}" type="slidenum">
              <a:rPr/>
              <a:pPr>
                <a:defRPr/>
              </a:pPr>
              <a:t>‹#›</a:t>
            </a:fld>
            <a:endParaRPr/>
          </a:p>
        </p:txBody>
      </p:sp>
      <p:sp>
        <p:nvSpPr>
          <p:cNvPr id="5" name="Footer Placeholder 4">
            <a:extLst>
              <a:ext uri="{FF2B5EF4-FFF2-40B4-BE49-F238E27FC236}">
                <a16:creationId xmlns:a16="http://schemas.microsoft.com/office/drawing/2014/main" id="{CC45EE34-6FD2-46C0-A8D4-97974E9E477D}"/>
              </a:ext>
            </a:extLst>
          </p:cNvPr>
          <p:cNvSpPr>
            <a:spLocks noGrp="1"/>
          </p:cNvSpPr>
          <p:nvPr>
            <p:ph type="ftr" sz="quarter" idx="11"/>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4001884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911774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380E5F7D-5C29-4CDD-A8E1-8FF09384676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a:extLst>
              <a:ext uri="{FF2B5EF4-FFF2-40B4-BE49-F238E27FC236}">
                <a16:creationId xmlns:a16="http://schemas.microsoft.com/office/drawing/2014/main" id="{F3849AAA-2C6F-45DF-9313-72914DB22069}"/>
              </a:ext>
            </a:extLst>
          </p:cNvPr>
          <p:cNvSpPr>
            <a:spLocks noGrp="1"/>
          </p:cNvSpPr>
          <p:nvPr>
            <p:ph type="sldNum" sz="quarter" idx="10"/>
          </p:nvPr>
        </p:nvSpPr>
        <p:spPr/>
        <p:txBody>
          <a:bodyPr/>
          <a:lstStyle>
            <a:lvl1pPr defTabSz="914400">
              <a:defRPr lang="en-US" sz="788" b="1">
                <a:solidFill>
                  <a:srgbClr val="A2A5A2">
                    <a:lumMod val="50000"/>
                  </a:srgbClr>
                </a:solidFill>
              </a:defRPr>
            </a:lvl1pPr>
          </a:lstStyle>
          <a:p>
            <a:pPr>
              <a:defRPr/>
            </a:pPr>
            <a:fld id="{84566B65-B472-4A61-8A6B-C079BA62DD3B}" type="slidenum">
              <a:rPr/>
              <a:pPr>
                <a:defRPr/>
              </a:pPr>
              <a:t>‹#›</a:t>
            </a:fld>
            <a:endParaRPr/>
          </a:p>
        </p:txBody>
      </p:sp>
      <p:sp>
        <p:nvSpPr>
          <p:cNvPr id="4" name="Footer Placeholder 4">
            <a:extLst>
              <a:ext uri="{FF2B5EF4-FFF2-40B4-BE49-F238E27FC236}">
                <a16:creationId xmlns:a16="http://schemas.microsoft.com/office/drawing/2014/main" id="{80542CE7-BE70-4950-8136-18C32AA84F94}"/>
              </a:ext>
            </a:extLst>
          </p:cNvPr>
          <p:cNvSpPr>
            <a:spLocks noGrp="1"/>
          </p:cNvSpPr>
          <p:nvPr>
            <p:ph type="ftr" sz="quarter" idx="11"/>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3238069246"/>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F655934A-5BE1-48D5-AD69-137BE0CD617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Media Placeholder 2"/>
          <p:cNvSpPr>
            <a:spLocks noGrp="1"/>
          </p:cNvSpPr>
          <p:nvPr>
            <p:ph type="media" sz="quarter" idx="19"/>
          </p:nvPr>
        </p:nvSpPr>
        <p:spPr>
          <a:xfrm>
            <a:off x="1217137" y="425056"/>
            <a:ext cx="6709730" cy="3773090"/>
          </a:xfrm>
        </p:spPr>
        <p:txBody>
          <a:bodyPr rtlCol="0" anchor="ctr">
            <a:noAutofit/>
          </a:bodyPr>
          <a:lstStyle>
            <a:lvl1pPr marL="0" indent="0" algn="ctr">
              <a:buNone/>
              <a:defRPr baseline="0"/>
            </a:lvl1pPr>
          </a:lstStyle>
          <a:p>
            <a:pPr lvl="0"/>
            <a:r>
              <a:rPr lang="en-US" noProof="0"/>
              <a:t>Click icon to add media</a:t>
            </a:r>
          </a:p>
        </p:txBody>
      </p:sp>
      <p:sp>
        <p:nvSpPr>
          <p:cNvPr id="4" name="Slide Number Placeholder 5">
            <a:extLst>
              <a:ext uri="{FF2B5EF4-FFF2-40B4-BE49-F238E27FC236}">
                <a16:creationId xmlns:a16="http://schemas.microsoft.com/office/drawing/2014/main" id="{0B69F41C-BB64-4503-A44C-90CE12E2B64F}"/>
              </a:ext>
            </a:extLst>
          </p:cNvPr>
          <p:cNvSpPr>
            <a:spLocks noGrp="1"/>
          </p:cNvSpPr>
          <p:nvPr>
            <p:ph type="sldNum" sz="quarter" idx="20"/>
          </p:nvPr>
        </p:nvSpPr>
        <p:spPr/>
        <p:txBody>
          <a:bodyPr/>
          <a:lstStyle>
            <a:lvl1pPr defTabSz="914400">
              <a:defRPr lang="en-US" sz="788" b="1">
                <a:solidFill>
                  <a:srgbClr val="A2A5A2">
                    <a:lumMod val="50000"/>
                  </a:srgbClr>
                </a:solidFill>
              </a:defRPr>
            </a:lvl1pPr>
          </a:lstStyle>
          <a:p>
            <a:pPr>
              <a:defRPr/>
            </a:pPr>
            <a:fld id="{E579428E-40D1-4456-B19A-B91A86804E60}" type="slidenum">
              <a:rPr/>
              <a:pPr>
                <a:defRPr/>
              </a:pPr>
              <a:t>‹#›</a:t>
            </a:fld>
            <a:endParaRPr/>
          </a:p>
        </p:txBody>
      </p:sp>
      <p:sp>
        <p:nvSpPr>
          <p:cNvPr id="5" name="Footer Placeholder 4">
            <a:extLst>
              <a:ext uri="{FF2B5EF4-FFF2-40B4-BE49-F238E27FC236}">
                <a16:creationId xmlns:a16="http://schemas.microsoft.com/office/drawing/2014/main" id="{5C126742-A54E-4117-9B40-FD2CC525FC4F}"/>
              </a:ext>
            </a:extLst>
          </p:cNvPr>
          <p:cNvSpPr>
            <a:spLocks noGrp="1"/>
          </p:cNvSpPr>
          <p:nvPr>
            <p:ph type="ftr" sz="quarter" idx="21"/>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42923457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CEAB01F5-1BB5-41EC-A95B-9BD2723DFF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171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8584DC15-18DF-4E66-A1B7-E02154CBE29E}"/>
              </a:ext>
            </a:extLst>
          </p:cNvPr>
          <p:cNvSpPr txBox="1">
            <a:spLocks noChangeArrowheads="1"/>
          </p:cNvSpPr>
          <p:nvPr userDrawn="1"/>
        </p:nvSpPr>
        <p:spPr bwMode="auto">
          <a:xfrm>
            <a:off x="2176463" y="1201738"/>
            <a:ext cx="18415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685800">
              <a:defRPr sz="2000">
                <a:solidFill>
                  <a:schemeClr val="tx1"/>
                </a:solidFill>
                <a:latin typeface="Arial" panose="020B0604020202020204" pitchFamily="34" charset="0"/>
              </a:defRPr>
            </a:lvl1pPr>
            <a:lvl2pPr defTabSz="685800">
              <a:defRPr sz="2000">
                <a:solidFill>
                  <a:schemeClr val="tx1"/>
                </a:solidFill>
                <a:latin typeface="Arial" panose="020B0604020202020204" pitchFamily="34" charset="0"/>
              </a:defRPr>
            </a:lvl2pPr>
            <a:lvl3pPr defTabSz="685800">
              <a:defRPr sz="2000">
                <a:solidFill>
                  <a:schemeClr val="tx1"/>
                </a:solidFill>
                <a:latin typeface="Arial" panose="020B0604020202020204" pitchFamily="34" charset="0"/>
              </a:defRPr>
            </a:lvl3pPr>
            <a:lvl4pPr defTabSz="685800">
              <a:defRPr sz="2000">
                <a:solidFill>
                  <a:schemeClr val="tx1"/>
                </a:solidFill>
                <a:latin typeface="Arial" panose="020B0604020202020204" pitchFamily="34" charset="0"/>
              </a:defRPr>
            </a:lvl4pPr>
            <a:lvl5pPr defTabSz="685800">
              <a:defRPr sz="2000">
                <a:solidFill>
                  <a:schemeClr val="tx1"/>
                </a:solidFill>
                <a:latin typeface="Arial" panose="020B0604020202020204" pitchFamily="34" charset="0"/>
              </a:defRPr>
            </a:lvl5pPr>
            <a:lvl6pPr marL="2284413" indent="1588" defTabSz="685800" eaLnBrk="0" fontAlgn="base" hangingPunct="0">
              <a:spcBef>
                <a:spcPct val="0"/>
              </a:spcBef>
              <a:spcAft>
                <a:spcPct val="0"/>
              </a:spcAft>
              <a:defRPr sz="2000">
                <a:solidFill>
                  <a:schemeClr val="tx1"/>
                </a:solidFill>
                <a:latin typeface="Arial" panose="020B0604020202020204" pitchFamily="34" charset="0"/>
              </a:defRPr>
            </a:lvl6pPr>
            <a:lvl7pPr marL="2741613" indent="1588" defTabSz="685800" eaLnBrk="0" fontAlgn="base" hangingPunct="0">
              <a:spcBef>
                <a:spcPct val="0"/>
              </a:spcBef>
              <a:spcAft>
                <a:spcPct val="0"/>
              </a:spcAft>
              <a:defRPr sz="2000">
                <a:solidFill>
                  <a:schemeClr val="tx1"/>
                </a:solidFill>
                <a:latin typeface="Arial" panose="020B0604020202020204" pitchFamily="34" charset="0"/>
              </a:defRPr>
            </a:lvl7pPr>
            <a:lvl8pPr marL="3198813" indent="1588" defTabSz="685800" eaLnBrk="0" fontAlgn="base" hangingPunct="0">
              <a:spcBef>
                <a:spcPct val="0"/>
              </a:spcBef>
              <a:spcAft>
                <a:spcPct val="0"/>
              </a:spcAft>
              <a:defRPr sz="2000">
                <a:solidFill>
                  <a:schemeClr val="tx1"/>
                </a:solidFill>
                <a:latin typeface="Arial" panose="020B0604020202020204" pitchFamily="34" charset="0"/>
              </a:defRPr>
            </a:lvl8pPr>
            <a:lvl9pPr marL="3656013" indent="1588" defTabSz="685800" eaLnBrk="0" fontAlgn="base" hangingPunct="0">
              <a:spcBef>
                <a:spcPct val="0"/>
              </a:spcBef>
              <a:spcAft>
                <a:spcPct val="0"/>
              </a:spcAft>
              <a:defRPr sz="2000">
                <a:solidFill>
                  <a:schemeClr val="tx1"/>
                </a:solidFill>
                <a:latin typeface="Arial" panose="020B0604020202020204" pitchFamily="34" charset="0"/>
              </a:defRPr>
            </a:lvl9pPr>
          </a:lstStyle>
          <a:p>
            <a:pPr>
              <a:defRPr/>
            </a:pPr>
            <a:endParaRPr lang="en-US" altLang="en-US" sz="3300">
              <a:solidFill>
                <a:srgbClr val="000000"/>
              </a:solidFill>
            </a:endParaRPr>
          </a:p>
        </p:txBody>
      </p:sp>
      <p:pic>
        <p:nvPicPr>
          <p:cNvPr id="6" name="Picture 7">
            <a:extLst>
              <a:ext uri="{FF2B5EF4-FFF2-40B4-BE49-F238E27FC236}">
                <a16:creationId xmlns:a16="http://schemas.microsoft.com/office/drawing/2014/main" id="{107C2E39-898F-490B-8E06-67727DEF396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a:extLst>
              <a:ext uri="{FF2B5EF4-FFF2-40B4-BE49-F238E27FC236}">
                <a16:creationId xmlns:a16="http://schemas.microsoft.com/office/drawing/2014/main" id="{06C68156-00C6-42FB-A86E-E0AFF54B21A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350" y="0"/>
            <a:ext cx="2058988" cy="171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4"/>
          <p:cNvSpPr>
            <a:spLocks noGrp="1"/>
          </p:cNvSpPr>
          <p:nvPr>
            <p:ph sz="quarter" idx="10"/>
          </p:nvPr>
        </p:nvSpPr>
        <p:spPr>
          <a:xfrm>
            <a:off x="661922" y="2134673"/>
            <a:ext cx="7820156" cy="25717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2"/>
          <p:cNvSpPr>
            <a:spLocks noGrp="1"/>
          </p:cNvSpPr>
          <p:nvPr>
            <p:ph type="title"/>
          </p:nvPr>
        </p:nvSpPr>
        <p:spPr>
          <a:xfrm>
            <a:off x="2425407" y="467187"/>
            <a:ext cx="6051753" cy="678596"/>
          </a:xfrm>
        </p:spPr>
        <p:txBody>
          <a:bodyPr/>
          <a:lstStyle>
            <a:lvl1pPr>
              <a:defRPr lang="en-US" sz="3300" kern="1200" dirty="0">
                <a:solidFill>
                  <a:sysClr val="windowText" lastClr="000000"/>
                </a:solidFill>
                <a:latin typeface="+mn-lt"/>
                <a:ea typeface="+mn-ea"/>
                <a:cs typeface="+mn-cs"/>
              </a:defRPr>
            </a:lvl1pPr>
          </a:lstStyle>
          <a:p>
            <a:r>
              <a:rPr lang="en-US"/>
              <a:t>Click to edit Master title style</a:t>
            </a:r>
          </a:p>
        </p:txBody>
      </p:sp>
      <p:sp>
        <p:nvSpPr>
          <p:cNvPr id="8" name="Slide Number Placeholder 5">
            <a:extLst>
              <a:ext uri="{FF2B5EF4-FFF2-40B4-BE49-F238E27FC236}">
                <a16:creationId xmlns:a16="http://schemas.microsoft.com/office/drawing/2014/main" id="{8F0C6E11-42D4-40F0-92DF-BABFE6357DB3}"/>
              </a:ext>
            </a:extLst>
          </p:cNvPr>
          <p:cNvSpPr>
            <a:spLocks noGrp="1"/>
          </p:cNvSpPr>
          <p:nvPr>
            <p:ph type="sldNum" sz="quarter" idx="11"/>
          </p:nvPr>
        </p:nvSpPr>
        <p:spPr/>
        <p:txBody>
          <a:bodyPr/>
          <a:lstStyle>
            <a:lvl1pPr defTabSz="914400">
              <a:defRPr lang="en-US" sz="788" b="1">
                <a:solidFill>
                  <a:srgbClr val="A2A5A2">
                    <a:lumMod val="50000"/>
                  </a:srgbClr>
                </a:solidFill>
              </a:defRPr>
            </a:lvl1pPr>
          </a:lstStyle>
          <a:p>
            <a:pPr>
              <a:defRPr/>
            </a:pPr>
            <a:fld id="{66AB41A5-0B2D-4E9F-BEC6-603D9EF98C1F}" type="slidenum">
              <a:rPr/>
              <a:pPr>
                <a:defRPr/>
              </a:pPr>
              <a:t>‹#›</a:t>
            </a:fld>
            <a:endParaRPr/>
          </a:p>
        </p:txBody>
      </p:sp>
      <p:sp>
        <p:nvSpPr>
          <p:cNvPr id="10" name="Footer Placeholder 4">
            <a:extLst>
              <a:ext uri="{FF2B5EF4-FFF2-40B4-BE49-F238E27FC236}">
                <a16:creationId xmlns:a16="http://schemas.microsoft.com/office/drawing/2014/main" id="{3C593149-9C75-4C60-9068-4EBC6ADB1473}"/>
              </a:ext>
            </a:extLst>
          </p:cNvPr>
          <p:cNvSpPr>
            <a:spLocks noGrp="1"/>
          </p:cNvSpPr>
          <p:nvPr>
            <p:ph type="ftr" sz="quarter" idx="12"/>
          </p:nvPr>
        </p:nvSpPr>
        <p:spPr/>
        <p:txBody>
          <a:bodyPr/>
          <a:lstStyle>
            <a:lvl1pPr defTabSz="914400">
              <a:defRPr lang="en-US" sz="600">
                <a:solidFill>
                  <a:srgbClr val="A2A5A2">
                    <a:lumMod val="50000"/>
                  </a:srgbClr>
                </a:solidFill>
              </a:defRPr>
            </a:lvl1pPr>
          </a:lstStyle>
          <a:p>
            <a:pPr>
              <a:defRPr/>
            </a:pPr>
            <a:r>
              <a:t>© 2018 NetApp, Inc. All rights reserved.  </a:t>
            </a:r>
          </a:p>
        </p:txBody>
      </p:sp>
    </p:spTree>
    <p:extLst>
      <p:ext uri="{BB962C8B-B14F-4D97-AF65-F5344CB8AC3E}">
        <p14:creationId xmlns:p14="http://schemas.microsoft.com/office/powerpoint/2010/main" val="2206545075"/>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23301EFD-292E-425C-9592-62EAEA1ECD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2"/>
          <a:stretch>
            <a:fillRect/>
          </a:stretch>
        </p:blipFill>
        <p:spPr bwMode="auto">
          <a:xfrm>
            <a:off x="0" y="0"/>
            <a:ext cx="91503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8">
            <a:extLst>
              <a:ext uri="{FF2B5EF4-FFF2-40B4-BE49-F238E27FC236}">
                <a16:creationId xmlns:a16="http://schemas.microsoft.com/office/drawing/2014/main" id="{792F7FE5-7022-4578-9D01-734A442CE52A}"/>
              </a:ext>
            </a:extLst>
          </p:cNvPr>
          <p:cNvSpPr>
            <a:spLocks noChangeAspect="1"/>
          </p:cNvSpPr>
          <p:nvPr userDrawn="1"/>
        </p:nvSpPr>
        <p:spPr bwMode="auto">
          <a:xfrm>
            <a:off x="8081963" y="4872038"/>
            <a:ext cx="782637" cy="142875"/>
          </a:xfrm>
          <a:custGeom>
            <a:avLst/>
            <a:gdLst>
              <a:gd name="T0" fmla="*/ 714139 w 3504841"/>
              <a:gd name="T1" fmla="*/ 72128 h 640991"/>
              <a:gd name="T2" fmla="*/ 735740 w 3504841"/>
              <a:gd name="T3" fmla="*/ 96805 h 640991"/>
              <a:gd name="T4" fmla="*/ 757422 w 3504841"/>
              <a:gd name="T5" fmla="*/ 72128 h 640991"/>
              <a:gd name="T6" fmla="*/ 632342 w 3504841"/>
              <a:gd name="T7" fmla="*/ 47771 h 640991"/>
              <a:gd name="T8" fmla="*/ 610821 w 3504841"/>
              <a:gd name="T9" fmla="*/ 72368 h 640991"/>
              <a:gd name="T10" fmla="*/ 654104 w 3504841"/>
              <a:gd name="T11" fmla="*/ 72368 h 640991"/>
              <a:gd name="T12" fmla="*/ 632342 w 3504841"/>
              <a:gd name="T13" fmla="*/ 47771 h 640991"/>
              <a:gd name="T14" fmla="*/ 330054 w 3504841"/>
              <a:gd name="T15" fmla="*/ 65520 h 640991"/>
              <a:gd name="T16" fmla="*/ 349318 w 3504841"/>
              <a:gd name="T17" fmla="*/ 46767 h 640991"/>
              <a:gd name="T18" fmla="*/ 504328 w 3504841"/>
              <a:gd name="T19" fmla="*/ 68164 h 640991"/>
              <a:gd name="T20" fmla="*/ 519758 w 3504841"/>
              <a:gd name="T21" fmla="*/ 30589 h 640991"/>
              <a:gd name="T22" fmla="*/ 392342 w 3504841"/>
              <a:gd name="T23" fmla="*/ 74736 h 640991"/>
              <a:gd name="T24" fmla="*/ 330535 w 3504841"/>
              <a:gd name="T25" fmla="*/ 81308 h 640991"/>
              <a:gd name="T26" fmla="*/ 373800 w 3504841"/>
              <a:gd name="T27" fmla="*/ 89642 h 640991"/>
              <a:gd name="T28" fmla="*/ 351806 w 3504841"/>
              <a:gd name="T29" fmla="*/ 118813 h 640991"/>
              <a:gd name="T30" fmla="*/ 305572 w 3504841"/>
              <a:gd name="T31" fmla="*/ 72733 h 640991"/>
              <a:gd name="T32" fmla="*/ 742245 w 3504841"/>
              <a:gd name="T33" fmla="*/ 26539 h 640991"/>
              <a:gd name="T34" fmla="*/ 782637 w 3504841"/>
              <a:gd name="T35" fmla="*/ 72368 h 640991"/>
              <a:gd name="T36" fmla="*/ 714621 w 3504841"/>
              <a:gd name="T37" fmla="*/ 104897 h 640991"/>
              <a:gd name="T38" fmla="*/ 689486 w 3504841"/>
              <a:gd name="T39" fmla="*/ 142875 h 640991"/>
              <a:gd name="T40" fmla="*/ 714621 w 3504841"/>
              <a:gd name="T41" fmla="*/ 28141 h 640991"/>
              <a:gd name="T42" fmla="*/ 742245 w 3504841"/>
              <a:gd name="T43" fmla="*/ 26539 h 640991"/>
              <a:gd name="T44" fmla="*/ 679480 w 3504841"/>
              <a:gd name="T45" fmla="*/ 72128 h 640991"/>
              <a:gd name="T46" fmla="*/ 639088 w 3504841"/>
              <a:gd name="T47" fmla="*/ 118037 h 640991"/>
              <a:gd name="T48" fmla="*/ 611464 w 3504841"/>
              <a:gd name="T49" fmla="*/ 142875 h 640991"/>
              <a:gd name="T50" fmla="*/ 586329 w 3504841"/>
              <a:gd name="T51" fmla="*/ 28141 h 640991"/>
              <a:gd name="T52" fmla="*/ 611464 w 3504841"/>
              <a:gd name="T53" fmla="*/ 40800 h 640991"/>
              <a:gd name="T54" fmla="*/ 408403 w 3504841"/>
              <a:gd name="T55" fmla="*/ 5662 h 640991"/>
              <a:gd name="T56" fmla="*/ 433178 w 3504841"/>
              <a:gd name="T57" fmla="*/ 28382 h 640991"/>
              <a:gd name="T58" fmla="*/ 454024 w 3504841"/>
              <a:gd name="T59" fmla="*/ 49898 h 640991"/>
              <a:gd name="T60" fmla="*/ 433178 w 3504841"/>
              <a:gd name="T61" fmla="*/ 87630 h 640991"/>
              <a:gd name="T62" fmla="*/ 453783 w 3504841"/>
              <a:gd name="T63" fmla="*/ 93090 h 640991"/>
              <a:gd name="T64" fmla="*/ 433819 w 3504841"/>
              <a:gd name="T65" fmla="*/ 118459 h 640991"/>
              <a:gd name="T66" fmla="*/ 408403 w 3504841"/>
              <a:gd name="T67" fmla="*/ 49898 h 640991"/>
              <a:gd name="T68" fmla="*/ 397739 w 3504841"/>
              <a:gd name="T69" fmla="*/ 28382 h 640991"/>
              <a:gd name="T70" fmla="*/ 408403 w 3504841"/>
              <a:gd name="T71" fmla="*/ 5662 h 640991"/>
              <a:gd name="T72" fmla="*/ 214001 w 3504841"/>
              <a:gd name="T73" fmla="*/ 354 h 640991"/>
              <a:gd name="T74" fmla="*/ 268192 w 3504841"/>
              <a:gd name="T75" fmla="*/ 354 h 640991"/>
              <a:gd name="T76" fmla="*/ 293439 w 3504841"/>
              <a:gd name="T77" fmla="*/ 116690 h 640991"/>
              <a:gd name="T78" fmla="*/ 215609 w 3504841"/>
              <a:gd name="T79" fmla="*/ 43147 h 640991"/>
              <a:gd name="T80" fmla="*/ 190362 w 3504841"/>
              <a:gd name="T81" fmla="*/ 116690 h 640991"/>
              <a:gd name="T82" fmla="*/ 0 w 3504841"/>
              <a:gd name="T83" fmla="*/ 354 h 640991"/>
              <a:gd name="T84" fmla="*/ 139944 w 3504841"/>
              <a:gd name="T85" fmla="*/ 116690 h 640991"/>
              <a:gd name="T86" fmla="*/ 85526 w 3504841"/>
              <a:gd name="T87" fmla="*/ 46760 h 640991"/>
              <a:gd name="T88" fmla="*/ 54418 w 3504841"/>
              <a:gd name="T89" fmla="*/ 116690 h 640991"/>
              <a:gd name="T90" fmla="*/ 0 w 3504841"/>
              <a:gd name="T91" fmla="*/ 354 h 640991"/>
              <a:gd name="T92" fmla="*/ 531571 w 3504841"/>
              <a:gd name="T93" fmla="*/ 0 h 640991"/>
              <a:gd name="T94" fmla="*/ 553349 w 3504841"/>
              <a:gd name="T95" fmla="*/ 116336 h 640991"/>
              <a:gd name="T96" fmla="*/ 496614 w 3504841"/>
              <a:gd name="T97" fmla="*/ 90323 h 640991"/>
              <a:gd name="T98" fmla="*/ 460130 w 3504841"/>
              <a:gd name="T99" fmla="*/ 116336 h 6409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04841" h="640991">
                <a:moveTo>
                  <a:pt x="3294826" y="214318"/>
                </a:moveTo>
                <a:cubicBezTo>
                  <a:pt x="3242322" y="214318"/>
                  <a:pt x="3198090" y="258171"/>
                  <a:pt x="3198090" y="323592"/>
                </a:cubicBezTo>
                <a:lnTo>
                  <a:pt x="3198090" y="324670"/>
                </a:lnTo>
                <a:cubicBezTo>
                  <a:pt x="3198090" y="390451"/>
                  <a:pt x="3242322" y="434304"/>
                  <a:pt x="3294826" y="434304"/>
                </a:cubicBezTo>
                <a:cubicBezTo>
                  <a:pt x="3347689" y="434304"/>
                  <a:pt x="3391922" y="391529"/>
                  <a:pt x="3391922" y="324670"/>
                </a:cubicBezTo>
                <a:lnTo>
                  <a:pt x="3391922" y="323592"/>
                </a:lnTo>
                <a:cubicBezTo>
                  <a:pt x="3391922" y="258171"/>
                  <a:pt x="3347689" y="214318"/>
                  <a:pt x="3294826" y="214318"/>
                </a:cubicBezTo>
                <a:close/>
                <a:moveTo>
                  <a:pt x="2831785" y="214318"/>
                </a:moveTo>
                <a:cubicBezTo>
                  <a:pt x="2778921" y="214318"/>
                  <a:pt x="2735408" y="258171"/>
                  <a:pt x="2735408" y="323592"/>
                </a:cubicBezTo>
                <a:lnTo>
                  <a:pt x="2735408" y="324670"/>
                </a:lnTo>
                <a:cubicBezTo>
                  <a:pt x="2735408" y="390451"/>
                  <a:pt x="2778921" y="434304"/>
                  <a:pt x="2831785" y="434304"/>
                </a:cubicBezTo>
                <a:cubicBezTo>
                  <a:pt x="2885367" y="434304"/>
                  <a:pt x="2929240" y="391529"/>
                  <a:pt x="2929240" y="324670"/>
                </a:cubicBezTo>
                <a:lnTo>
                  <a:pt x="2929240" y="323592"/>
                </a:lnTo>
                <a:cubicBezTo>
                  <a:pt x="2929240" y="258171"/>
                  <a:pt x="2884288" y="214318"/>
                  <a:pt x="2831785" y="214318"/>
                </a:cubicBezTo>
                <a:close/>
                <a:moveTo>
                  <a:pt x="1564332" y="209816"/>
                </a:moveTo>
                <a:cubicBezTo>
                  <a:pt x="1517602" y="209816"/>
                  <a:pt x="1487048" y="243253"/>
                  <a:pt x="1478061" y="293948"/>
                </a:cubicBezTo>
                <a:lnTo>
                  <a:pt x="1647368" y="293948"/>
                </a:lnTo>
                <a:cubicBezTo>
                  <a:pt x="1640179" y="243253"/>
                  <a:pt x="1611062" y="209816"/>
                  <a:pt x="1564332" y="209816"/>
                </a:cubicBezTo>
                <a:close/>
                <a:moveTo>
                  <a:pt x="2327603" y="137236"/>
                </a:moveTo>
                <a:lnTo>
                  <a:pt x="2258507" y="305808"/>
                </a:lnTo>
                <a:lnTo>
                  <a:pt x="2396699" y="305808"/>
                </a:lnTo>
                <a:lnTo>
                  <a:pt x="2327603" y="137236"/>
                </a:lnTo>
                <a:close/>
                <a:moveTo>
                  <a:pt x="1564332" y="120650"/>
                </a:moveTo>
                <a:cubicBezTo>
                  <a:pt x="1696974" y="120650"/>
                  <a:pt x="1757004" y="223119"/>
                  <a:pt x="1757004" y="335295"/>
                </a:cubicBezTo>
                <a:cubicBezTo>
                  <a:pt x="1757004" y="344283"/>
                  <a:pt x="1755925" y="354710"/>
                  <a:pt x="1755925" y="364777"/>
                </a:cubicBezTo>
                <a:lnTo>
                  <a:pt x="1480218" y="364777"/>
                </a:lnTo>
                <a:cubicBezTo>
                  <a:pt x="1491361" y="415472"/>
                  <a:pt x="1526589" y="442796"/>
                  <a:pt x="1577273" y="442796"/>
                </a:cubicBezTo>
                <a:cubicBezTo>
                  <a:pt x="1615016" y="442796"/>
                  <a:pt x="1642335" y="430572"/>
                  <a:pt x="1673968" y="402169"/>
                </a:cubicBezTo>
                <a:lnTo>
                  <a:pt x="1737593" y="458976"/>
                </a:lnTo>
                <a:cubicBezTo>
                  <a:pt x="1701287" y="504637"/>
                  <a:pt x="1647368" y="533041"/>
                  <a:pt x="1575475" y="533041"/>
                </a:cubicBezTo>
                <a:cubicBezTo>
                  <a:pt x="1455775" y="531962"/>
                  <a:pt x="1368425" y="447830"/>
                  <a:pt x="1368425" y="327025"/>
                </a:cubicBezTo>
                <a:lnTo>
                  <a:pt x="1368425" y="326306"/>
                </a:lnTo>
                <a:cubicBezTo>
                  <a:pt x="1368425" y="213051"/>
                  <a:pt x="1449664" y="120650"/>
                  <a:pt x="1564332" y="120650"/>
                </a:cubicBezTo>
                <a:close/>
                <a:moveTo>
                  <a:pt x="3323955" y="119062"/>
                </a:moveTo>
                <a:cubicBezTo>
                  <a:pt x="3416376" y="119062"/>
                  <a:pt x="3504841" y="190953"/>
                  <a:pt x="3504841" y="323592"/>
                </a:cubicBezTo>
                <a:lnTo>
                  <a:pt x="3504841" y="324670"/>
                </a:lnTo>
                <a:cubicBezTo>
                  <a:pt x="3504841" y="457309"/>
                  <a:pt x="3418533" y="529560"/>
                  <a:pt x="3323955" y="529560"/>
                </a:cubicBezTo>
                <a:cubicBezTo>
                  <a:pt x="3264259" y="529560"/>
                  <a:pt x="3226499" y="502241"/>
                  <a:pt x="3200247" y="470609"/>
                </a:cubicBezTo>
                <a:lnTo>
                  <a:pt x="3200247" y="640991"/>
                </a:lnTo>
                <a:lnTo>
                  <a:pt x="3087688" y="640991"/>
                </a:lnTo>
                <a:lnTo>
                  <a:pt x="3087688" y="126251"/>
                </a:lnTo>
                <a:lnTo>
                  <a:pt x="3200247" y="126251"/>
                </a:lnTo>
                <a:lnTo>
                  <a:pt x="3200247" y="183045"/>
                </a:lnTo>
                <a:cubicBezTo>
                  <a:pt x="3227578" y="146381"/>
                  <a:pt x="3265338" y="119062"/>
                  <a:pt x="3323955" y="119062"/>
                </a:cubicBezTo>
                <a:close/>
                <a:moveTo>
                  <a:pt x="2861992" y="119062"/>
                </a:moveTo>
                <a:cubicBezTo>
                  <a:pt x="2954413" y="119062"/>
                  <a:pt x="3042879" y="190953"/>
                  <a:pt x="3042879" y="323592"/>
                </a:cubicBezTo>
                <a:lnTo>
                  <a:pt x="3042879" y="324670"/>
                </a:lnTo>
                <a:cubicBezTo>
                  <a:pt x="3042879" y="457309"/>
                  <a:pt x="2956571" y="529560"/>
                  <a:pt x="2861992" y="529560"/>
                </a:cubicBezTo>
                <a:cubicBezTo>
                  <a:pt x="2802296" y="529560"/>
                  <a:pt x="2764537" y="502241"/>
                  <a:pt x="2738285" y="470609"/>
                </a:cubicBezTo>
                <a:lnTo>
                  <a:pt x="2738285" y="640991"/>
                </a:lnTo>
                <a:lnTo>
                  <a:pt x="2625725" y="640991"/>
                </a:lnTo>
                <a:lnTo>
                  <a:pt x="2625725" y="126251"/>
                </a:lnTo>
                <a:lnTo>
                  <a:pt x="2738285" y="126251"/>
                </a:lnTo>
                <a:lnTo>
                  <a:pt x="2738285" y="183045"/>
                </a:lnTo>
                <a:cubicBezTo>
                  <a:pt x="2765615" y="146381"/>
                  <a:pt x="2803375" y="119062"/>
                  <a:pt x="2861992" y="119062"/>
                </a:cubicBezTo>
                <a:close/>
                <a:moveTo>
                  <a:pt x="1828929" y="25400"/>
                </a:moveTo>
                <a:lnTo>
                  <a:pt x="1939876" y="25400"/>
                </a:lnTo>
                <a:lnTo>
                  <a:pt x="1939876" y="127331"/>
                </a:lnTo>
                <a:lnTo>
                  <a:pt x="2033229" y="127331"/>
                </a:lnTo>
                <a:lnTo>
                  <a:pt x="2033229" y="223859"/>
                </a:lnTo>
                <a:lnTo>
                  <a:pt x="1939876" y="223859"/>
                </a:lnTo>
                <a:lnTo>
                  <a:pt x="1939876" y="393143"/>
                </a:lnTo>
                <a:cubicBezTo>
                  <a:pt x="1939876" y="419436"/>
                  <a:pt x="1951006" y="431682"/>
                  <a:pt x="1976499" y="431682"/>
                </a:cubicBezTo>
                <a:cubicBezTo>
                  <a:pt x="1996606" y="431682"/>
                  <a:pt x="2015995" y="426640"/>
                  <a:pt x="2032152" y="417635"/>
                </a:cubicBezTo>
                <a:lnTo>
                  <a:pt x="2032152" y="508040"/>
                </a:lnTo>
                <a:cubicBezTo>
                  <a:pt x="2008814" y="522087"/>
                  <a:pt x="1981526" y="531452"/>
                  <a:pt x="1942748" y="531452"/>
                </a:cubicBezTo>
                <a:cubicBezTo>
                  <a:pt x="1874888" y="530371"/>
                  <a:pt x="1828929" y="502998"/>
                  <a:pt x="1828929" y="411512"/>
                </a:cubicBezTo>
                <a:lnTo>
                  <a:pt x="1828929" y="223859"/>
                </a:lnTo>
                <a:lnTo>
                  <a:pt x="1781175" y="223859"/>
                </a:lnTo>
                <a:lnTo>
                  <a:pt x="1781175" y="127331"/>
                </a:lnTo>
                <a:lnTo>
                  <a:pt x="1828929" y="127331"/>
                </a:lnTo>
                <a:lnTo>
                  <a:pt x="1828929" y="25400"/>
                </a:lnTo>
                <a:close/>
                <a:moveTo>
                  <a:pt x="852488" y="1587"/>
                </a:moveTo>
                <a:lnTo>
                  <a:pt x="958347" y="1587"/>
                </a:lnTo>
                <a:lnTo>
                  <a:pt x="1201030" y="324325"/>
                </a:lnTo>
                <a:lnTo>
                  <a:pt x="1201030" y="1587"/>
                </a:lnTo>
                <a:lnTo>
                  <a:pt x="1314090" y="1587"/>
                </a:lnTo>
                <a:lnTo>
                  <a:pt x="1314090" y="523515"/>
                </a:lnTo>
                <a:lnTo>
                  <a:pt x="1216513" y="523515"/>
                </a:lnTo>
                <a:lnTo>
                  <a:pt x="965548" y="193573"/>
                </a:lnTo>
                <a:lnTo>
                  <a:pt x="965548" y="523515"/>
                </a:lnTo>
                <a:lnTo>
                  <a:pt x="852488" y="523515"/>
                </a:lnTo>
                <a:lnTo>
                  <a:pt x="852488" y="1587"/>
                </a:lnTo>
                <a:close/>
                <a:moveTo>
                  <a:pt x="0" y="1587"/>
                </a:moveTo>
                <a:lnTo>
                  <a:pt x="626703" y="1587"/>
                </a:lnTo>
                <a:lnTo>
                  <a:pt x="626703" y="523515"/>
                </a:lnTo>
                <a:lnTo>
                  <a:pt x="383005" y="523515"/>
                </a:lnTo>
                <a:lnTo>
                  <a:pt x="383005" y="209782"/>
                </a:lnTo>
                <a:lnTo>
                  <a:pt x="243698" y="209782"/>
                </a:lnTo>
                <a:lnTo>
                  <a:pt x="243698" y="523515"/>
                </a:lnTo>
                <a:lnTo>
                  <a:pt x="0" y="523515"/>
                </a:lnTo>
                <a:lnTo>
                  <a:pt x="0" y="1587"/>
                </a:lnTo>
                <a:close/>
                <a:moveTo>
                  <a:pt x="2277940" y="0"/>
                </a:moveTo>
                <a:lnTo>
                  <a:pt x="2380505" y="0"/>
                </a:lnTo>
                <a:lnTo>
                  <a:pt x="2596790" y="521927"/>
                </a:lnTo>
                <a:lnTo>
                  <a:pt x="2478031" y="521927"/>
                </a:lnTo>
                <a:lnTo>
                  <a:pt x="2430168" y="405223"/>
                </a:lnTo>
                <a:lnTo>
                  <a:pt x="2223959" y="405223"/>
                </a:lnTo>
                <a:lnTo>
                  <a:pt x="2176095" y="521927"/>
                </a:lnTo>
                <a:lnTo>
                  <a:pt x="2060575" y="521927"/>
                </a:lnTo>
                <a:lnTo>
                  <a:pt x="227794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2" name="Title 2">
            <a:extLst>
              <a:ext uri="{FF2B5EF4-FFF2-40B4-BE49-F238E27FC236}">
                <a16:creationId xmlns:a16="http://schemas.microsoft.com/office/drawing/2014/main" id="{7B7E66A5-61A5-A44B-A9EF-FCCE4773BA6F}"/>
              </a:ext>
            </a:extLst>
          </p:cNvPr>
          <p:cNvSpPr>
            <a:spLocks noGrp="1"/>
          </p:cNvSpPr>
          <p:nvPr>
            <p:ph type="title"/>
          </p:nvPr>
        </p:nvSpPr>
        <p:spPr>
          <a:xfrm>
            <a:off x="197274" y="180248"/>
            <a:ext cx="8746228" cy="678596"/>
          </a:xfrm>
        </p:spPr>
        <p:txBody>
          <a:bodyPr/>
          <a:lstStyle>
            <a:lvl1pPr>
              <a:defRPr sz="2250"/>
            </a:lvl1pPr>
          </a:lstStyle>
          <a:p>
            <a:r>
              <a:rPr lang="en-US"/>
              <a:t>Click to edit Master title style</a:t>
            </a:r>
          </a:p>
        </p:txBody>
      </p:sp>
      <p:sp>
        <p:nvSpPr>
          <p:cNvPr id="5" name="Slide Number Placeholder 5">
            <a:extLst>
              <a:ext uri="{FF2B5EF4-FFF2-40B4-BE49-F238E27FC236}">
                <a16:creationId xmlns:a16="http://schemas.microsoft.com/office/drawing/2014/main" id="{AAC3827C-0CF3-4F50-8C6B-1B968BD4E155}"/>
              </a:ext>
            </a:extLst>
          </p:cNvPr>
          <p:cNvSpPr>
            <a:spLocks noGrp="1"/>
          </p:cNvSpPr>
          <p:nvPr>
            <p:ph type="sldNum" sz="quarter" idx="10"/>
          </p:nvPr>
        </p:nvSpPr>
        <p:spPr/>
        <p:txBody>
          <a:bodyPr/>
          <a:lstStyle>
            <a:lvl1pPr defTabSz="914400">
              <a:defRPr lang="en-US" sz="788" b="1">
                <a:solidFill>
                  <a:prstClr val="black"/>
                </a:solidFill>
              </a:defRPr>
            </a:lvl1pPr>
          </a:lstStyle>
          <a:p>
            <a:pPr>
              <a:defRPr/>
            </a:pPr>
            <a:fld id="{7BAAF123-9A47-4FFF-B0C4-3E9D3AC2A125}" type="slidenum">
              <a:rPr/>
              <a:pPr>
                <a:defRPr/>
              </a:pPr>
              <a:t>‹#›</a:t>
            </a:fld>
            <a:endParaRPr/>
          </a:p>
        </p:txBody>
      </p:sp>
      <p:sp>
        <p:nvSpPr>
          <p:cNvPr id="6" name="Footer Placeholder 4">
            <a:extLst>
              <a:ext uri="{FF2B5EF4-FFF2-40B4-BE49-F238E27FC236}">
                <a16:creationId xmlns:a16="http://schemas.microsoft.com/office/drawing/2014/main" id="{6D6BDEDA-D791-4786-A7C9-46A57ED6EA0B}"/>
              </a:ext>
            </a:extLst>
          </p:cNvPr>
          <p:cNvSpPr>
            <a:spLocks noGrp="1"/>
          </p:cNvSpPr>
          <p:nvPr>
            <p:ph type="ftr" sz="quarter" idx="11"/>
          </p:nvPr>
        </p:nvSpPr>
        <p:spPr/>
        <p:txBody>
          <a:bodyPr/>
          <a:lstStyle>
            <a:lvl1pPr defTabSz="914400">
              <a:defRPr lang="en-US" sz="600">
                <a:solidFill>
                  <a:prstClr val="black"/>
                </a:solidFill>
              </a:defRPr>
            </a:lvl1pPr>
          </a:lstStyle>
          <a:p>
            <a:pPr>
              <a:defRPr/>
            </a:pPr>
            <a:r>
              <a:t>© 2018 NetApp, Inc. All rights reserved.  </a:t>
            </a:r>
          </a:p>
        </p:txBody>
      </p:sp>
    </p:spTree>
    <p:extLst>
      <p:ext uri="{BB962C8B-B14F-4D97-AF65-F5344CB8AC3E}">
        <p14:creationId xmlns:p14="http://schemas.microsoft.com/office/powerpoint/2010/main" val="406320984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EDB9D-1C11-4A09-A663-6AA2E420146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2"/>
          <a:stretch>
            <a:fillRect/>
          </a:stretch>
        </p:blipFill>
        <p:spPr bwMode="auto">
          <a:xfrm>
            <a:off x="0" y="0"/>
            <a:ext cx="91503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A7D0323C-7A44-44A7-B5E4-715A5039F92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7063" y="742950"/>
            <a:ext cx="13731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3"/>
          <p:cNvSpPr>
            <a:spLocks noGrp="1"/>
          </p:cNvSpPr>
          <p:nvPr>
            <p:ph type="body" sz="quarter" idx="10"/>
          </p:nvPr>
        </p:nvSpPr>
        <p:spPr>
          <a:xfrm>
            <a:off x="557358" y="1926349"/>
            <a:ext cx="6791189" cy="1102519"/>
          </a:xfrm>
        </p:spPr>
        <p:txBody>
          <a:bodyPr anchor="b"/>
          <a:lstStyle>
            <a:lvl1pPr marL="0" indent="0">
              <a:buNone/>
              <a:defRPr sz="3300">
                <a:solidFill>
                  <a:schemeClr val="tx1"/>
                </a:solidFill>
              </a:defRPr>
            </a:lvl1pPr>
          </a:lstStyle>
          <a:p>
            <a:pPr lvl="0"/>
            <a:r>
              <a:rPr lang="en-US"/>
              <a:t>Edit Master text styles</a:t>
            </a:r>
          </a:p>
        </p:txBody>
      </p:sp>
      <p:sp>
        <p:nvSpPr>
          <p:cNvPr id="5" name="Slide Number Placeholder 5">
            <a:extLst>
              <a:ext uri="{FF2B5EF4-FFF2-40B4-BE49-F238E27FC236}">
                <a16:creationId xmlns:a16="http://schemas.microsoft.com/office/drawing/2014/main" id="{EBF26EF0-0C93-4827-AD26-CB6653B03B1F}"/>
              </a:ext>
            </a:extLst>
          </p:cNvPr>
          <p:cNvSpPr>
            <a:spLocks noGrp="1"/>
          </p:cNvSpPr>
          <p:nvPr>
            <p:ph type="sldNum" sz="quarter" idx="11"/>
          </p:nvPr>
        </p:nvSpPr>
        <p:spPr/>
        <p:txBody>
          <a:bodyPr/>
          <a:lstStyle>
            <a:lvl1pPr defTabSz="914400">
              <a:defRPr lang="en-US" sz="788" b="1">
                <a:solidFill>
                  <a:prstClr val="black"/>
                </a:solidFill>
              </a:defRPr>
            </a:lvl1pPr>
          </a:lstStyle>
          <a:p>
            <a:pPr>
              <a:defRPr/>
            </a:pPr>
            <a:fld id="{A0E74EB3-17F8-4B64-B098-455689B73115}" type="slidenum">
              <a:rPr/>
              <a:pPr>
                <a:defRPr/>
              </a:pPr>
              <a:t>‹#›</a:t>
            </a:fld>
            <a:endParaRPr/>
          </a:p>
        </p:txBody>
      </p:sp>
      <p:sp>
        <p:nvSpPr>
          <p:cNvPr id="6" name="Footer Placeholder 4">
            <a:extLst>
              <a:ext uri="{FF2B5EF4-FFF2-40B4-BE49-F238E27FC236}">
                <a16:creationId xmlns:a16="http://schemas.microsoft.com/office/drawing/2014/main" id="{353CE501-0363-4842-BCC7-4F2B8389C3DC}"/>
              </a:ext>
            </a:extLst>
          </p:cNvPr>
          <p:cNvSpPr>
            <a:spLocks noGrp="1"/>
          </p:cNvSpPr>
          <p:nvPr>
            <p:ph type="ftr" sz="quarter" idx="12"/>
          </p:nvPr>
        </p:nvSpPr>
        <p:spPr/>
        <p:txBody>
          <a:bodyPr/>
          <a:lstStyle>
            <a:lvl1pPr defTabSz="914400">
              <a:defRPr lang="en-US" sz="600">
                <a:solidFill>
                  <a:prstClr val="black"/>
                </a:solidFill>
              </a:defRPr>
            </a:lvl1pPr>
          </a:lstStyle>
          <a:p>
            <a:pPr>
              <a:defRPr/>
            </a:pPr>
            <a:r>
              <a:t>© 2018 NetApp, Inc. All rights reserved.  </a:t>
            </a:r>
          </a:p>
        </p:txBody>
      </p:sp>
    </p:spTree>
    <p:extLst>
      <p:ext uri="{BB962C8B-B14F-4D97-AF65-F5344CB8AC3E}">
        <p14:creationId xmlns:p14="http://schemas.microsoft.com/office/powerpoint/2010/main" val="214898821"/>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73C00928-BE30-4D17-A857-0944DB6E34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Content Placeholder 39"/>
          <p:cNvSpPr>
            <a:spLocks noGrp="1"/>
          </p:cNvSpPr>
          <p:nvPr>
            <p:ph sz="quarter" idx="15"/>
          </p:nvPr>
        </p:nvSpPr>
        <p:spPr bwMode="gray">
          <a:xfrm>
            <a:off x="197274" y="1300068"/>
            <a:ext cx="4287367" cy="3360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197274" y="180248"/>
            <a:ext cx="8746228" cy="678596"/>
          </a:xfrm>
        </p:spPr>
        <p:txBody>
          <a:bodyPr/>
          <a:lstStyle/>
          <a:p>
            <a:r>
              <a:rPr lang="en-US"/>
              <a:t>Click to edit Master title style</a:t>
            </a:r>
          </a:p>
        </p:txBody>
      </p:sp>
      <p:sp>
        <p:nvSpPr>
          <p:cNvPr id="83" name="Content Placeholder 3"/>
          <p:cNvSpPr>
            <a:spLocks noGrp="1"/>
          </p:cNvSpPr>
          <p:nvPr>
            <p:ph sz="quarter" idx="14"/>
          </p:nvPr>
        </p:nvSpPr>
        <p:spPr>
          <a:xfrm>
            <a:off x="4656135" y="1300068"/>
            <a:ext cx="4287367" cy="3359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p:cNvSpPr>
            <a:spLocks noGrp="1"/>
          </p:cNvSpPr>
          <p:nvPr>
            <p:ph type="body" idx="10"/>
          </p:nvPr>
        </p:nvSpPr>
        <p:spPr bwMode="gray">
          <a:xfrm>
            <a:off x="206848" y="829815"/>
            <a:ext cx="873936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14" name="Text Placeholder 6"/>
          <p:cNvSpPr>
            <a:spLocks noGrp="1"/>
          </p:cNvSpPr>
          <p:nvPr>
            <p:ph type="body" sz="quarter" idx="16"/>
          </p:nvPr>
        </p:nvSpPr>
        <p:spPr>
          <a:xfrm>
            <a:off x="220867" y="4678985"/>
            <a:ext cx="7783274" cy="161583"/>
          </a:xfrm>
        </p:spPr>
        <p:txBody>
          <a:bodyPr anchor="ctr"/>
          <a:lstStyle>
            <a:lvl1pPr marL="0" indent="0">
              <a:lnSpc>
                <a:spcPct val="100000"/>
              </a:lnSpc>
              <a:spcBef>
                <a:spcPts val="0"/>
              </a:spcBef>
              <a:spcAft>
                <a:spcPts val="0"/>
              </a:spcAft>
              <a:buFontTx/>
              <a:buNone/>
              <a:defRPr sz="600" baseline="0">
                <a:solidFill>
                  <a:schemeClr val="bg2"/>
                </a:solidFill>
              </a:defRPr>
            </a:lvl1pPr>
            <a:lvl2pPr marL="171603" indent="0">
              <a:buFontTx/>
              <a:buNone/>
              <a:defRPr sz="600">
                <a:solidFill>
                  <a:schemeClr val="bg2"/>
                </a:solidFill>
              </a:defRPr>
            </a:lvl2pPr>
            <a:lvl3pPr marL="343206" indent="0">
              <a:buFontTx/>
              <a:buNone/>
              <a:defRPr sz="600">
                <a:solidFill>
                  <a:schemeClr val="bg2"/>
                </a:solidFill>
              </a:defRPr>
            </a:lvl3pPr>
            <a:lvl4pPr marL="514809"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8" name="Footer Placeholder 4">
            <a:extLst>
              <a:ext uri="{FF2B5EF4-FFF2-40B4-BE49-F238E27FC236}">
                <a16:creationId xmlns:a16="http://schemas.microsoft.com/office/drawing/2014/main" id="{1999C408-9AB9-452D-982B-8ACBEED12F9A}"/>
              </a:ext>
            </a:extLst>
          </p:cNvPr>
          <p:cNvSpPr>
            <a:spLocks noGrp="1"/>
          </p:cNvSpPr>
          <p:nvPr>
            <p:ph type="ftr" sz="quarter" idx="17"/>
          </p:nvPr>
        </p:nvSpPr>
        <p:spPr>
          <a:xfrm>
            <a:off x="666750" y="4854575"/>
            <a:ext cx="4905375" cy="180975"/>
          </a:xfrm>
        </p:spPr>
        <p:txBody>
          <a:bodyPr/>
          <a:lstStyle>
            <a:lvl1pPr defTabSz="914400">
              <a:defRPr lang="en-US" sz="600">
                <a:solidFill>
                  <a:schemeClr val="bg2"/>
                </a:solidFill>
              </a:defRPr>
            </a:lvl1pPr>
          </a:lstStyle>
          <a:p>
            <a:pPr>
              <a:defRPr/>
            </a:pPr>
            <a:r>
              <a:t>© 2018 NetApp, Inc. All rights reserved.  --- NETAPP CONFIDENTIAL --  Limited Use Only </a:t>
            </a:r>
          </a:p>
        </p:txBody>
      </p:sp>
      <p:sp>
        <p:nvSpPr>
          <p:cNvPr id="9" name="Slide Number Placeholder 5">
            <a:extLst>
              <a:ext uri="{FF2B5EF4-FFF2-40B4-BE49-F238E27FC236}">
                <a16:creationId xmlns:a16="http://schemas.microsoft.com/office/drawing/2014/main" id="{E10E4D8A-7B8E-47B5-8302-10F7C52E8BF2}"/>
              </a:ext>
            </a:extLst>
          </p:cNvPr>
          <p:cNvSpPr>
            <a:spLocks noGrp="1"/>
          </p:cNvSpPr>
          <p:nvPr>
            <p:ph type="sldNum" sz="quarter" idx="18"/>
          </p:nvPr>
        </p:nvSpPr>
        <p:spPr/>
        <p:txBody>
          <a:bodyPr/>
          <a:lstStyle>
            <a:lvl1pPr defTabSz="914400">
              <a:defRPr lang="en-US" sz="788" b="1">
                <a:solidFill>
                  <a:schemeClr val="bg2">
                    <a:lumMod val="50000"/>
                  </a:schemeClr>
                </a:solidFill>
              </a:defRPr>
            </a:lvl1pPr>
          </a:lstStyle>
          <a:p>
            <a:pPr>
              <a:defRPr/>
            </a:pPr>
            <a:fld id="{5BF9EAF9-15F3-49CC-98F9-BDAF86756E07}" type="slidenum">
              <a:rPr/>
              <a:pPr>
                <a:defRPr/>
              </a:pPr>
              <a:t>‹#›</a:t>
            </a:fld>
            <a:endParaRPr/>
          </a:p>
        </p:txBody>
      </p:sp>
    </p:spTree>
    <p:extLst>
      <p:ext uri="{BB962C8B-B14F-4D97-AF65-F5344CB8AC3E}">
        <p14:creationId xmlns:p14="http://schemas.microsoft.com/office/powerpoint/2010/main" val="3848127357"/>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lide Vertical">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14203A42-6594-4EAF-A6D7-B32AEE1CEC2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a:extLst>
              <a:ext uri="{FF2B5EF4-FFF2-40B4-BE49-F238E27FC236}">
                <a16:creationId xmlns:a16="http://schemas.microsoft.com/office/drawing/2014/main" id="{4A8F55CA-FB42-424C-A601-C4651D400C6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31163" y="4722813"/>
            <a:ext cx="9128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gray">
          <a:xfrm>
            <a:off x="524401" y="1533529"/>
            <a:ext cx="4047274" cy="1508760"/>
          </a:xfrm>
        </p:spPr>
        <p:txBody>
          <a:bodyPr rIns="0"/>
          <a:lstStyle>
            <a:lvl1pPr algn="l">
              <a:lnSpc>
                <a:spcPct val="95000"/>
              </a:lnSpc>
              <a:defRPr sz="3300" b="0">
                <a:solidFill>
                  <a:schemeClr val="tx1"/>
                </a:solidFill>
              </a:defRPr>
            </a:lvl1pPr>
          </a:lstStyle>
          <a:p>
            <a:r>
              <a:rPr lang="en-US"/>
              <a:t>Click to edit Master title style</a:t>
            </a:r>
          </a:p>
        </p:txBody>
      </p:sp>
      <p:sp>
        <p:nvSpPr>
          <p:cNvPr id="25" name="Text Placeholder 24"/>
          <p:cNvSpPr>
            <a:spLocks noGrp="1"/>
          </p:cNvSpPr>
          <p:nvPr>
            <p:ph type="body" sz="quarter" idx="10"/>
          </p:nvPr>
        </p:nvSpPr>
        <p:spPr bwMode="gray">
          <a:xfrm>
            <a:off x="524401" y="3062570"/>
            <a:ext cx="3498491" cy="1507336"/>
          </a:xfrm>
        </p:spPr>
        <p:txBody>
          <a:bodyPr rIns="0"/>
          <a:lstStyle>
            <a:lvl1pPr marL="0" indent="0">
              <a:lnSpc>
                <a:spcPct val="85000"/>
              </a:lnSpc>
              <a:spcAft>
                <a:spcPts val="1201"/>
              </a:spcAft>
              <a:buFont typeface="Arial" panose="020B0604020202020204" pitchFamily="34" charset="0"/>
              <a:buChar char="​"/>
              <a:defRPr sz="1950" b="0">
                <a:solidFill>
                  <a:schemeClr val="accent1"/>
                </a:solidFill>
              </a:defRPr>
            </a:lvl1pPr>
            <a:lvl2pPr marL="0" indent="0">
              <a:lnSpc>
                <a:spcPct val="85000"/>
              </a:lnSpc>
              <a:spcBef>
                <a:spcPts val="3300"/>
              </a:spcBef>
              <a:buFont typeface="Arial" panose="020B0604020202020204" pitchFamily="34" charset="0"/>
              <a:buChar char="​"/>
              <a:defRPr sz="1350" b="0">
                <a:solidFill>
                  <a:schemeClr val="tx1"/>
                </a:solidFill>
              </a:defRPr>
            </a:lvl2pPr>
            <a:lvl3pPr marL="0" indent="0">
              <a:lnSpc>
                <a:spcPct val="85000"/>
              </a:lnSpc>
              <a:buFont typeface="Arial" panose="020B0604020202020204" pitchFamily="34" charset="0"/>
              <a:buChar char="​"/>
              <a:defRPr sz="1350" b="0">
                <a:solidFill>
                  <a:schemeClr val="tx1"/>
                </a:solidFill>
              </a:defRPr>
            </a:lvl3pPr>
            <a:lvl4pPr marL="0" indent="0">
              <a:lnSpc>
                <a:spcPct val="85000"/>
              </a:lnSpc>
              <a:buFont typeface="Arial" panose="020B0604020202020204" pitchFamily="34" charset="0"/>
              <a:buChar char="​"/>
              <a:defRPr sz="1200" b="0">
                <a:solidFill>
                  <a:schemeClr val="bg2"/>
                </a:solidFill>
              </a:defRPr>
            </a:lvl4pPr>
            <a:lvl5pPr marL="0" indent="0">
              <a:lnSpc>
                <a:spcPct val="85000"/>
              </a:lnSpc>
              <a:buFont typeface="Arial" panose="020B0604020202020204" pitchFamily="34" charset="0"/>
              <a:buChar char="​"/>
              <a:defRPr sz="1200" b="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Footer Placeholder 4">
            <a:extLst>
              <a:ext uri="{FF2B5EF4-FFF2-40B4-BE49-F238E27FC236}">
                <a16:creationId xmlns:a16="http://schemas.microsoft.com/office/drawing/2014/main" id="{EBCFE465-7B29-4D36-8406-5672DC6DB420}"/>
              </a:ext>
            </a:extLst>
          </p:cNvPr>
          <p:cNvSpPr>
            <a:spLocks noGrp="1"/>
          </p:cNvSpPr>
          <p:nvPr>
            <p:ph type="ftr" sz="quarter" idx="11"/>
          </p:nvPr>
        </p:nvSpPr>
        <p:spPr>
          <a:xfrm>
            <a:off x="666750" y="4854575"/>
            <a:ext cx="4905375" cy="180975"/>
          </a:xfrm>
        </p:spPr>
        <p:txBody>
          <a:bodyPr/>
          <a:lstStyle>
            <a:lvl1pPr defTabSz="914400">
              <a:defRPr lang="en-US" sz="600">
                <a:solidFill>
                  <a:schemeClr val="bg2"/>
                </a:solidFill>
              </a:defRPr>
            </a:lvl1pPr>
          </a:lstStyle>
          <a:p>
            <a:pPr>
              <a:defRPr/>
            </a:pPr>
            <a:r>
              <a:t>© 2018 NetApp, Inc. All rights reserved.  </a:t>
            </a:r>
          </a:p>
        </p:txBody>
      </p:sp>
      <p:sp>
        <p:nvSpPr>
          <p:cNvPr id="7" name="Slide Number Placeholder 5">
            <a:extLst>
              <a:ext uri="{FF2B5EF4-FFF2-40B4-BE49-F238E27FC236}">
                <a16:creationId xmlns:a16="http://schemas.microsoft.com/office/drawing/2014/main" id="{817646EF-A5D2-4847-8239-0C79B6D05B99}"/>
              </a:ext>
            </a:extLst>
          </p:cNvPr>
          <p:cNvSpPr>
            <a:spLocks noGrp="1"/>
          </p:cNvSpPr>
          <p:nvPr>
            <p:ph type="sldNum" sz="quarter" idx="12"/>
          </p:nvPr>
        </p:nvSpPr>
        <p:spPr/>
        <p:txBody>
          <a:bodyPr/>
          <a:lstStyle>
            <a:lvl1pPr defTabSz="914400">
              <a:defRPr lang="en-US" sz="788" b="1">
                <a:solidFill>
                  <a:schemeClr val="bg2">
                    <a:lumMod val="50000"/>
                  </a:schemeClr>
                </a:solidFill>
              </a:defRPr>
            </a:lvl1pPr>
          </a:lstStyle>
          <a:p>
            <a:pPr>
              <a:defRPr/>
            </a:pPr>
            <a:fld id="{A54C3BA7-B3A8-407D-80CA-D9DF1739A255}" type="slidenum">
              <a:rPr/>
              <a:pPr>
                <a:defRPr/>
              </a:pPr>
              <a:t>‹#›</a:t>
            </a:fld>
            <a:endParaRPr/>
          </a:p>
        </p:txBody>
      </p:sp>
    </p:spTree>
    <p:extLst>
      <p:ext uri="{BB962C8B-B14F-4D97-AF65-F5344CB8AC3E}">
        <p14:creationId xmlns:p14="http://schemas.microsoft.com/office/powerpoint/2010/main" val="3539409433"/>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903F62D4-8814-4DD3-867D-ABE98BEAA1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57250"/>
            <a:ext cx="9155113" cy="428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87FE75CF-626B-4440-906F-82D1CB44C9C6}"/>
              </a:ext>
            </a:extLst>
          </p:cNvPr>
          <p:cNvSpPr/>
          <p:nvPr userDrawn="1"/>
        </p:nvSpPr>
        <p:spPr>
          <a:xfrm>
            <a:off x="0" y="857250"/>
            <a:ext cx="9144000" cy="4286250"/>
          </a:xfrm>
          <a:prstGeom prst="rect">
            <a:avLst/>
          </a:prstGeom>
          <a:gradFill>
            <a:gsLst>
              <a:gs pos="0">
                <a:schemeClr val="bg1"/>
              </a:gs>
              <a:gs pos="49000">
                <a:schemeClr val="bg1">
                  <a:alpha val="0"/>
                </a:schemeClr>
              </a:gs>
              <a:gs pos="100000">
                <a:schemeClr val="bg1"/>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68544" rIns="0" bIns="68544" anchor="ctr"/>
          <a:lstStyle/>
          <a:p>
            <a:pPr algn="ctr" defTabSz="686206" eaLnBrk="1" fontAlgn="auto" hangingPunct="1">
              <a:lnSpc>
                <a:spcPct val="95000"/>
              </a:lnSpc>
              <a:spcBef>
                <a:spcPts val="0"/>
              </a:spcBef>
              <a:spcAft>
                <a:spcPts val="0"/>
              </a:spcAft>
              <a:defRPr/>
            </a:pPr>
            <a:endParaRPr lang="en-US" sz="1349">
              <a:solidFill>
                <a:prstClr val="white"/>
              </a:solidFill>
            </a:endParaRPr>
          </a:p>
        </p:txBody>
      </p:sp>
      <p:pic>
        <p:nvPicPr>
          <p:cNvPr id="6" name="Picture 7">
            <a:extLst>
              <a:ext uri="{FF2B5EF4-FFF2-40B4-BE49-F238E27FC236}">
                <a16:creationId xmlns:a16="http://schemas.microsoft.com/office/drawing/2014/main" id="{FE489620-0443-4FEC-AE4D-9D444AE3FF5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4AC70395-352E-E949-8BB5-482BE6C5ECE3}"/>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177A76B2-F31E-EA4B-B771-3EEFD82FD914}"/>
              </a:ext>
            </a:extLst>
          </p:cNvPr>
          <p:cNvSpPr>
            <a:spLocks noGrp="1"/>
          </p:cNvSpPr>
          <p:nvPr>
            <p:ph type="body" idx="12"/>
          </p:nvPr>
        </p:nvSpPr>
        <p:spPr bwMode="gray">
          <a:xfrm>
            <a:off x="206848" y="829815"/>
            <a:ext cx="8739368" cy="300082"/>
          </a:xfrm>
        </p:spPr>
        <p:txBody>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7" name="Footer Placeholder 2">
            <a:extLst>
              <a:ext uri="{FF2B5EF4-FFF2-40B4-BE49-F238E27FC236}">
                <a16:creationId xmlns:a16="http://schemas.microsoft.com/office/drawing/2014/main" id="{6D1C96BA-0499-4198-AC3A-32C6A4D785C1}"/>
              </a:ext>
            </a:extLst>
          </p:cNvPr>
          <p:cNvSpPr>
            <a:spLocks noGrp="1"/>
          </p:cNvSpPr>
          <p:nvPr>
            <p:ph type="ftr" sz="quarter" idx="13"/>
          </p:nvPr>
        </p:nvSpPr>
        <p:spPr/>
        <p:txBody>
          <a:bodyPr/>
          <a:lstStyle>
            <a:lvl1pPr>
              <a:defRPr/>
            </a:lvl1pPr>
          </a:lstStyle>
          <a:p>
            <a:pPr>
              <a:defRPr/>
            </a:pPr>
            <a:r>
              <a:t>© 2018 NetApp, Inc. All rights reserved. </a:t>
            </a:r>
            <a:endParaRPr dirty="0"/>
          </a:p>
        </p:txBody>
      </p:sp>
      <p:sp>
        <p:nvSpPr>
          <p:cNvPr id="8" name="Slide Number Placeholder 3">
            <a:extLst>
              <a:ext uri="{FF2B5EF4-FFF2-40B4-BE49-F238E27FC236}">
                <a16:creationId xmlns:a16="http://schemas.microsoft.com/office/drawing/2014/main" id="{BED54336-9693-40F6-AA7D-ED3A5228D42D}"/>
              </a:ext>
            </a:extLst>
          </p:cNvPr>
          <p:cNvSpPr>
            <a:spLocks noGrp="1"/>
          </p:cNvSpPr>
          <p:nvPr>
            <p:ph type="sldNum" sz="quarter" idx="14"/>
          </p:nvPr>
        </p:nvSpPr>
        <p:spPr/>
        <p:txBody>
          <a:bodyPr/>
          <a:lstStyle>
            <a:lvl1pPr>
              <a:defRPr/>
            </a:lvl1pPr>
          </a:lstStyle>
          <a:p>
            <a:pPr>
              <a:defRPr/>
            </a:pPr>
            <a:fld id="{2BF1F6AF-60D4-4464-8C39-AEBB5CFA98BE}" type="slidenum">
              <a:rPr/>
              <a:pPr>
                <a:defRPr/>
              </a:pPr>
              <a:t>‹#›</a:t>
            </a:fld>
            <a:endParaRPr dirty="0"/>
          </a:p>
        </p:txBody>
      </p:sp>
    </p:spTree>
    <p:extLst>
      <p:ext uri="{BB962C8B-B14F-4D97-AF65-F5344CB8AC3E}">
        <p14:creationId xmlns:p14="http://schemas.microsoft.com/office/powerpoint/2010/main" val="1913090864"/>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hank You">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19B9657E-1140-4CA6-B5C1-7FADE12527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0375" y="4870450"/>
            <a:ext cx="78898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4A183F40-5198-45AC-BCFA-6041129088AA}"/>
              </a:ext>
            </a:extLst>
          </p:cNvPr>
          <p:cNvSpPr txBox="1"/>
          <p:nvPr userDrawn="1"/>
        </p:nvSpPr>
        <p:spPr>
          <a:xfrm>
            <a:off x="11113" y="-1573213"/>
            <a:ext cx="8936037" cy="890588"/>
          </a:xfrm>
          <a:prstGeom prst="rect">
            <a:avLst/>
          </a:prstGeom>
        </p:spPr>
        <p:txBody>
          <a:bodyPr lIns="68580" tIns="34290" rIns="68580" bIns="34290" anchor="ctr"/>
          <a:lstStyle/>
          <a:p>
            <a:pPr defTabSz="685800" eaLnBrk="1" fontAlgn="auto" hangingPunct="1">
              <a:lnSpc>
                <a:spcPct val="95000"/>
              </a:lnSpc>
              <a:spcBef>
                <a:spcPts val="300"/>
              </a:spcBef>
              <a:spcAft>
                <a:spcPts val="150"/>
              </a:spcAft>
              <a:defRPr/>
            </a:pPr>
            <a:endParaRPr lang="en-US" sz="1350" err="1">
              <a:solidFill>
                <a:sysClr val="windowText" lastClr="000000"/>
              </a:solidFill>
              <a:latin typeface="+mn-lt"/>
            </a:endParaRPr>
          </a:p>
        </p:txBody>
      </p:sp>
      <p:sp>
        <p:nvSpPr>
          <p:cNvPr id="4" name="Footer Placeholder 4">
            <a:extLst>
              <a:ext uri="{FF2B5EF4-FFF2-40B4-BE49-F238E27FC236}">
                <a16:creationId xmlns:a16="http://schemas.microsoft.com/office/drawing/2014/main" id="{ABD57472-5C6A-4C5E-B5A2-8B0392DE1B04}"/>
              </a:ext>
            </a:extLst>
          </p:cNvPr>
          <p:cNvSpPr>
            <a:spLocks noGrp="1"/>
          </p:cNvSpPr>
          <p:nvPr>
            <p:ph type="ftr" sz="quarter" idx="10"/>
          </p:nvPr>
        </p:nvSpPr>
        <p:spPr>
          <a:xfrm>
            <a:off x="666750" y="4854575"/>
            <a:ext cx="4905375" cy="180975"/>
          </a:xfrm>
        </p:spPr>
        <p:txBody>
          <a:bodyPr/>
          <a:lstStyle>
            <a:lvl1pPr defTabSz="914400">
              <a:defRPr lang="en-US" sz="600">
                <a:solidFill>
                  <a:schemeClr val="bg1"/>
                </a:solidFill>
              </a:defRPr>
            </a:lvl1pPr>
          </a:lstStyle>
          <a:p>
            <a:pPr>
              <a:defRPr/>
            </a:pPr>
            <a:r>
              <a:t>© 2018 NetApp, Inc. All rights reserved.</a:t>
            </a:r>
          </a:p>
        </p:txBody>
      </p:sp>
      <p:sp>
        <p:nvSpPr>
          <p:cNvPr id="5" name="Slide Number Placeholder 5">
            <a:extLst>
              <a:ext uri="{FF2B5EF4-FFF2-40B4-BE49-F238E27FC236}">
                <a16:creationId xmlns:a16="http://schemas.microsoft.com/office/drawing/2014/main" id="{E47E7348-87D4-409D-ADD1-3B63DB62C1A4}"/>
              </a:ext>
            </a:extLst>
          </p:cNvPr>
          <p:cNvSpPr>
            <a:spLocks noGrp="1"/>
          </p:cNvSpPr>
          <p:nvPr>
            <p:ph type="sldNum" sz="quarter" idx="11"/>
          </p:nvPr>
        </p:nvSpPr>
        <p:spPr/>
        <p:txBody>
          <a:bodyPr/>
          <a:lstStyle>
            <a:lvl1pPr defTabSz="914400">
              <a:defRPr lang="en-US" sz="788" b="1">
                <a:solidFill>
                  <a:schemeClr val="bg1"/>
                </a:solidFill>
              </a:defRPr>
            </a:lvl1pPr>
          </a:lstStyle>
          <a:p>
            <a:pPr>
              <a:defRPr/>
            </a:pPr>
            <a:fld id="{22545CDA-855B-4870-9D22-3B3F9F849CA5}" type="slidenum">
              <a:rPr/>
              <a:pPr>
                <a:defRPr/>
              </a:pPr>
              <a:t>‹#›</a:t>
            </a:fld>
            <a:endParaRPr/>
          </a:p>
        </p:txBody>
      </p:sp>
    </p:spTree>
    <p:extLst>
      <p:ext uri="{BB962C8B-B14F-4D97-AF65-F5344CB8AC3E}">
        <p14:creationId xmlns:p14="http://schemas.microsoft.com/office/powerpoint/2010/main" val="592461491"/>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Virtual Cloud">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6E2118E7-F453-4D16-95F7-CB6EF90EAE57}"/>
              </a:ext>
            </a:extLst>
          </p:cNvPr>
          <p:cNvCxnSpPr>
            <a:cxnSpLocks noChangeShapeType="1"/>
          </p:cNvCxnSpPr>
          <p:nvPr userDrawn="1"/>
        </p:nvCxnSpPr>
        <p:spPr bwMode="auto">
          <a:xfrm>
            <a:off x="0" y="25400"/>
            <a:ext cx="9144000" cy="0"/>
          </a:xfrm>
          <a:prstGeom prst="line">
            <a:avLst/>
          </a:prstGeom>
          <a:noFill/>
          <a:ln w="50800">
            <a:solidFill>
              <a:srgbClr val="2497D5"/>
            </a:solidFill>
            <a:round/>
            <a:headEnd/>
            <a:tailEnd/>
          </a:ln>
          <a:extLst>
            <a:ext uri="{909E8E84-426E-40DD-AFC4-6F175D3DCCD1}">
              <a14:hiddenFill xmlns:a14="http://schemas.microsoft.com/office/drawing/2010/main">
                <a:noFill/>
              </a14:hiddenFill>
            </a:ext>
          </a:extLst>
        </p:spPr>
      </p:cxnSp>
      <p:pic>
        <p:nvPicPr>
          <p:cNvPr id="5" name="Picture 8" descr="FlexPod_Reg_CMYK-withbubble.png">
            <a:extLst>
              <a:ext uri="{FF2B5EF4-FFF2-40B4-BE49-F238E27FC236}">
                <a16:creationId xmlns:a16="http://schemas.microsoft.com/office/drawing/2014/main" id="{E08AA689-6CAF-4660-B74B-DAE1E5AECF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11517DA-9DBF-40AF-B975-32EECC737974}"/>
              </a:ext>
            </a:extLst>
          </p:cNvPr>
          <p:cNvSpPr txBox="1"/>
          <p:nvPr userDrawn="1"/>
        </p:nvSpPr>
        <p:spPr>
          <a:xfrm>
            <a:off x="5562600" y="4897438"/>
            <a:ext cx="3281363" cy="184150"/>
          </a:xfrm>
          <a:prstGeom prst="rect">
            <a:avLst/>
          </a:prstGeom>
          <a:noFill/>
        </p:spPr>
        <p:txBody>
          <a:bodyPr>
            <a:spAutoFit/>
          </a:bodyPr>
          <a:lstStyle/>
          <a:p>
            <a:pPr algn="r" eaLnBrk="1" hangingPunct="1">
              <a:buClr>
                <a:schemeClr val="accent3"/>
              </a:buClr>
              <a:defRPr/>
            </a:pPr>
            <a:r>
              <a:rPr lang="en-US" sz="600" dirty="0">
                <a:latin typeface="Arial" charset="0"/>
              </a:rPr>
              <a:t>© 2019 Cisco and NetApp. All rights reserved. NetApp Confidential - Limited Use Only</a:t>
            </a:r>
          </a:p>
        </p:txBody>
      </p:sp>
      <p:sp>
        <p:nvSpPr>
          <p:cNvPr id="9" name="Title 1"/>
          <p:cNvSpPr>
            <a:spLocks noGrp="1"/>
          </p:cNvSpPr>
          <p:nvPr>
            <p:ph type="ctrTitle"/>
          </p:nvPr>
        </p:nvSpPr>
        <p:spPr>
          <a:xfrm>
            <a:off x="278058" y="259487"/>
            <a:ext cx="7521556" cy="437508"/>
          </a:xfrm>
          <a:prstGeom prst="rect">
            <a:avLst/>
          </a:prstGeom>
        </p:spPr>
        <p:txBody>
          <a:bodyPr anchor="t"/>
          <a:lstStyle>
            <a:lvl1pPr>
              <a:defRPr sz="2800" b="1">
                <a:solidFill>
                  <a:schemeClr val="tx1"/>
                </a:solidFill>
              </a:defRPr>
            </a:lvl1pPr>
          </a:lstStyle>
          <a:p>
            <a:r>
              <a:rPr lang="en-US"/>
              <a:t>Click to edit Master title style</a:t>
            </a:r>
            <a:endParaRPr lang="en-US" dirty="0"/>
          </a:p>
        </p:txBody>
      </p:sp>
      <p:sp>
        <p:nvSpPr>
          <p:cNvPr id="14" name="Text Placeholder 13"/>
          <p:cNvSpPr>
            <a:spLocks noGrp="1"/>
          </p:cNvSpPr>
          <p:nvPr>
            <p:ph type="body" sz="quarter" idx="10"/>
          </p:nvPr>
        </p:nvSpPr>
        <p:spPr>
          <a:xfrm>
            <a:off x="278058" y="1191986"/>
            <a:ext cx="8566310" cy="3532414"/>
          </a:xfrm>
        </p:spPr>
        <p:txBody>
          <a:bodyPr/>
          <a:lstStyle>
            <a:lvl1pPr>
              <a:buClrTx/>
              <a:defRPr sz="1500"/>
            </a:lvl1pPr>
            <a:lvl2pPr>
              <a:buClrTx/>
              <a:defRPr sz="1200"/>
            </a:lvl2pPr>
            <a:lvl3pPr>
              <a:buClrTx/>
              <a:defRPr sz="1200"/>
            </a:lvl3pPr>
            <a:lvl4pPr>
              <a:buClrTx/>
              <a:defRPr sz="1200"/>
            </a:lvl4pPr>
            <a:lvl5pPr>
              <a:buClrTx/>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785599"/>
      </p:ext>
    </p:extLst>
  </p:cSld>
  <p:clrMapOvr>
    <a:masterClrMapping/>
  </p:clrMapOvr>
  <p:transition spd="slow">
    <p:circl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ing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6F9F80A8-1020-4CD0-89A5-C65DDC8911FC}"/>
              </a:ext>
            </a:extLst>
          </p:cNvPr>
          <p:cNvSpPr>
            <a:spLocks noGrp="1"/>
          </p:cNvSpPr>
          <p:nvPr>
            <p:ph type="ftr" sz="quarter" idx="10"/>
          </p:nvPr>
        </p:nvSpPr>
        <p:spPr>
          <a:xfrm>
            <a:off x="0" y="0"/>
            <a:ext cx="0" cy="0"/>
          </a:xfrm>
        </p:spPr>
        <p:txBody>
          <a:bodyPr/>
          <a:lstStyle>
            <a:lvl1pPr>
              <a:defRPr dirty="0">
                <a:hlinkClick r:id="" action="ppaction://noaction"/>
              </a:defRPr>
            </a:lvl1pPr>
          </a:lstStyle>
          <a:p>
            <a:pPr>
              <a:defRPr/>
            </a:pPr>
            <a:endParaRPr lang="en-US" dirty="0"/>
          </a:p>
        </p:txBody>
      </p:sp>
    </p:spTree>
    <p:extLst>
      <p:ext uri="{BB962C8B-B14F-4D97-AF65-F5344CB8AC3E}">
        <p14:creationId xmlns:p14="http://schemas.microsoft.com/office/powerpoint/2010/main" val="1398286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197273" y="180247"/>
            <a:ext cx="8746228" cy="678596"/>
          </a:xfrm>
        </p:spPr>
        <p:txBody>
          <a:bodyPr>
            <a:noAutofit/>
          </a:bodyPr>
          <a:lstStyle>
            <a:lvl1pPr>
              <a:defRPr sz="2250"/>
            </a:lvl1pPr>
          </a:lstStyle>
          <a:p>
            <a:r>
              <a:rPr lang="en-US"/>
              <a:t>Click to edit Master title style</a:t>
            </a:r>
          </a:p>
        </p:txBody>
      </p:sp>
      <p:sp>
        <p:nvSpPr>
          <p:cNvPr id="40" name="Text Placeholder 2"/>
          <p:cNvSpPr>
            <a:spLocks noGrp="1"/>
          </p:cNvSpPr>
          <p:nvPr>
            <p:ph type="body" idx="10"/>
          </p:nvPr>
        </p:nvSpPr>
        <p:spPr bwMode="gray">
          <a:xfrm>
            <a:off x="206848" y="829814"/>
            <a:ext cx="8739368" cy="300082"/>
          </a:xfrm>
        </p:spPr>
        <p:txBody>
          <a:bodyPr>
            <a:noAutofit/>
          </a:bodyPr>
          <a:lstStyle>
            <a:lvl1pPr marL="0" indent="0">
              <a:spcBef>
                <a:spcPts val="0"/>
              </a:spcBef>
              <a:spcAft>
                <a:spcPts val="0"/>
              </a:spcAft>
              <a:buNone/>
              <a:defRPr sz="1350" b="0">
                <a:solidFill>
                  <a:srgbClr val="7030A0"/>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4" name="Slide Number Placeholder 5">
            <a:extLst>
              <a:ext uri="{FF2B5EF4-FFF2-40B4-BE49-F238E27FC236}">
                <a16:creationId xmlns:a16="http://schemas.microsoft.com/office/drawing/2014/main" id="{CA8041EA-7AEE-4D83-9EC4-7A77C24D1123}"/>
              </a:ext>
            </a:extLst>
          </p:cNvPr>
          <p:cNvSpPr>
            <a:spLocks noGrp="1"/>
          </p:cNvSpPr>
          <p:nvPr>
            <p:ph type="sldNum" sz="quarter" idx="11"/>
          </p:nvPr>
        </p:nvSpPr>
        <p:spPr/>
        <p:txBody>
          <a:bodyPr rtlCol="0"/>
          <a:lstStyle>
            <a:lvl1pPr>
              <a:defRPr lang="en-US" sz="788" b="1">
                <a:solidFill>
                  <a:schemeClr val="bg2">
                    <a:lumMod val="50000"/>
                  </a:schemeClr>
                </a:solidFill>
              </a:defRPr>
            </a:lvl1pPr>
          </a:lstStyle>
          <a:p>
            <a:pPr>
              <a:defRPr/>
            </a:pPr>
            <a:fld id="{6E8C0B30-45E4-47CD-8846-19EE49AC776B}" type="slidenum">
              <a:rPr/>
              <a:pPr>
                <a:defRPr/>
              </a:pPr>
              <a:t>‹#›</a:t>
            </a:fld>
            <a:endParaRPr/>
          </a:p>
        </p:txBody>
      </p:sp>
    </p:spTree>
    <p:extLst>
      <p:ext uri="{BB962C8B-B14F-4D97-AF65-F5344CB8AC3E}">
        <p14:creationId xmlns:p14="http://schemas.microsoft.com/office/powerpoint/2010/main" val="1777318510"/>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7273" y="180247"/>
            <a:ext cx="8746228" cy="678596"/>
          </a:xfrm>
        </p:spPr>
        <p:txBody>
          <a:bodyPr>
            <a:noAutofit/>
          </a:bodyPr>
          <a:lstStyle>
            <a:lvl1pPr>
              <a:defRPr sz="2249"/>
            </a:lvl1pPr>
          </a:lstStyle>
          <a:p>
            <a:r>
              <a:rPr lang="en-US" dirty="0"/>
              <a:t>Click to edit Master title style</a:t>
            </a:r>
          </a:p>
        </p:txBody>
      </p:sp>
      <p:sp>
        <p:nvSpPr>
          <p:cNvPr id="48" name="Content Placeholder 3"/>
          <p:cNvSpPr>
            <a:spLocks noGrp="1"/>
          </p:cNvSpPr>
          <p:nvPr>
            <p:ph sz="quarter" idx="14"/>
          </p:nvPr>
        </p:nvSpPr>
        <p:spPr>
          <a:xfrm>
            <a:off x="197273" y="1300164"/>
            <a:ext cx="8746228" cy="335994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p:nvPr>
        </p:nvSpPr>
        <p:spPr bwMode="gray">
          <a:xfrm>
            <a:off x="206848" y="829815"/>
            <a:ext cx="8739368" cy="300082"/>
          </a:xfrm>
        </p:spPr>
        <p:txBody>
          <a:bodyPr>
            <a:noAutofit/>
          </a:bodyPr>
          <a:lstStyle>
            <a:lvl1pPr marL="0" indent="0">
              <a:spcBef>
                <a:spcPts val="0"/>
              </a:spcBef>
              <a:spcAft>
                <a:spcPts val="0"/>
              </a:spcAft>
              <a:buNone/>
              <a:defRPr sz="1350" b="0">
                <a:solidFill>
                  <a:schemeClr val="accent1"/>
                </a:solidFill>
              </a:defRPr>
            </a:lvl1pPr>
            <a:lvl2pPr marL="343121" indent="0">
              <a:buNone/>
              <a:defRPr sz="1500" b="1"/>
            </a:lvl2pPr>
            <a:lvl3pPr marL="686240" indent="0">
              <a:buNone/>
              <a:defRPr sz="1425" b="1"/>
            </a:lvl3pPr>
            <a:lvl4pPr marL="1029359" indent="0">
              <a:buNone/>
              <a:defRPr sz="1200" b="1"/>
            </a:lvl4pPr>
            <a:lvl5pPr marL="1372480" indent="0">
              <a:buNone/>
              <a:defRPr sz="1200" b="1"/>
            </a:lvl5pPr>
            <a:lvl6pPr marL="1715600" indent="0">
              <a:buNone/>
              <a:defRPr sz="1200" b="1"/>
            </a:lvl6pPr>
            <a:lvl7pPr marL="2058720" indent="0">
              <a:buNone/>
              <a:defRPr sz="1200" b="1"/>
            </a:lvl7pPr>
            <a:lvl8pPr marL="2401840" indent="0">
              <a:buNone/>
              <a:defRPr sz="1200" b="1"/>
            </a:lvl8pPr>
            <a:lvl9pPr marL="2744960" indent="0">
              <a:buNone/>
              <a:defRPr sz="1200" b="1"/>
            </a:lvl9pPr>
          </a:lstStyle>
          <a:p>
            <a:pPr lvl="0"/>
            <a:r>
              <a:rPr lang="en-US"/>
              <a:t>Edit Master text styles</a:t>
            </a:r>
          </a:p>
        </p:txBody>
      </p:sp>
      <p:sp>
        <p:nvSpPr>
          <p:cNvPr id="5" name="Slide Number Placeholder 5">
            <a:extLst>
              <a:ext uri="{FF2B5EF4-FFF2-40B4-BE49-F238E27FC236}">
                <a16:creationId xmlns:a16="http://schemas.microsoft.com/office/drawing/2014/main" id="{8987E9B0-66B5-4656-AD9D-28F617CA9058}"/>
              </a:ext>
            </a:extLst>
          </p:cNvPr>
          <p:cNvSpPr>
            <a:spLocks noGrp="1"/>
          </p:cNvSpPr>
          <p:nvPr>
            <p:ph type="sldNum" sz="quarter" idx="15"/>
          </p:nvPr>
        </p:nvSpPr>
        <p:spPr/>
        <p:txBody>
          <a:bodyPr rtlCol="0"/>
          <a:lstStyle>
            <a:lvl1pPr>
              <a:defRPr lang="en-US" sz="788" b="1">
                <a:solidFill>
                  <a:schemeClr val="bg2">
                    <a:lumMod val="50000"/>
                  </a:schemeClr>
                </a:solidFill>
              </a:defRPr>
            </a:lvl1pPr>
          </a:lstStyle>
          <a:p>
            <a:pPr>
              <a:defRPr/>
            </a:pPr>
            <a:fld id="{0F028163-14E7-4EAD-9D12-2B90D7370AA8}" type="slidenum">
              <a:rPr/>
              <a:pPr>
                <a:defRPr/>
              </a:pPr>
              <a:t>‹#›</a:t>
            </a:fld>
            <a:endParaRPr/>
          </a:p>
        </p:txBody>
      </p:sp>
    </p:spTree>
    <p:extLst>
      <p:ext uri="{BB962C8B-B14F-4D97-AF65-F5344CB8AC3E}">
        <p14:creationId xmlns:p14="http://schemas.microsoft.com/office/powerpoint/2010/main" val="2268531605"/>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197274" y="180248"/>
            <a:ext cx="8746228" cy="678596"/>
          </a:xfrm>
        </p:spPr>
        <p:txBody>
          <a:bodyPr>
            <a:noAutofit/>
          </a:bodyPr>
          <a:lstStyle>
            <a:lvl1pPr>
              <a:defRPr sz="2250"/>
            </a:lvl1pPr>
          </a:lstStyle>
          <a:p>
            <a:r>
              <a:rPr lang="en-US"/>
              <a:t>Click to edit Master title style</a:t>
            </a:r>
            <a:endParaRPr lang="en-US" dirty="0"/>
          </a:p>
        </p:txBody>
      </p:sp>
      <p:sp>
        <p:nvSpPr>
          <p:cNvPr id="40" name="Text Placeholder 2"/>
          <p:cNvSpPr>
            <a:spLocks noGrp="1"/>
          </p:cNvSpPr>
          <p:nvPr>
            <p:ph type="body" idx="10"/>
          </p:nvPr>
        </p:nvSpPr>
        <p:spPr bwMode="gray">
          <a:xfrm>
            <a:off x="197274" y="829815"/>
            <a:ext cx="8746228" cy="300082"/>
          </a:xfrm>
        </p:spPr>
        <p:txBody>
          <a:bodyPr>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4" name="Slide Number Placeholder 5">
            <a:extLst>
              <a:ext uri="{FF2B5EF4-FFF2-40B4-BE49-F238E27FC236}">
                <a16:creationId xmlns:a16="http://schemas.microsoft.com/office/drawing/2014/main" id="{9C1BC053-4745-4399-8A0E-F858D36FFAD5}"/>
              </a:ext>
            </a:extLst>
          </p:cNvPr>
          <p:cNvSpPr>
            <a:spLocks noGrp="1"/>
          </p:cNvSpPr>
          <p:nvPr>
            <p:ph type="sldNum" sz="quarter" idx="11"/>
          </p:nvPr>
        </p:nvSpPr>
        <p:spPr/>
        <p:txBody>
          <a:bodyPr rtlCol="0"/>
          <a:lstStyle>
            <a:lvl1pPr>
              <a:defRPr lang="en-US" sz="788" b="1">
                <a:solidFill>
                  <a:srgbClr val="A2A5A2">
                    <a:lumMod val="50000"/>
                  </a:srgbClr>
                </a:solidFill>
              </a:defRPr>
            </a:lvl1pPr>
          </a:lstStyle>
          <a:p>
            <a:pPr>
              <a:defRPr/>
            </a:pPr>
            <a:fld id="{F1A7FDEE-630B-4C14-8622-383618C18C42}" type="slidenum">
              <a:rPr/>
              <a:pPr>
                <a:defRPr/>
              </a:pPr>
              <a:t>‹#›</a:t>
            </a:fld>
            <a:endParaRPr dirty="0"/>
          </a:p>
        </p:txBody>
      </p:sp>
    </p:spTree>
    <p:extLst>
      <p:ext uri="{BB962C8B-B14F-4D97-AF65-F5344CB8AC3E}">
        <p14:creationId xmlns:p14="http://schemas.microsoft.com/office/powerpoint/2010/main" val="66774177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249964"/>
            <a:ext cx="8582751" cy="3266034"/>
          </a:xfrm>
          <a:prstGeom prst="rect">
            <a:avLst/>
          </a:prstGeom>
        </p:spPr>
        <p:txBody>
          <a:bodyPr>
            <a:noAutofit/>
          </a:bodyPr>
          <a:lstStyle>
            <a:lvl1pPr marL="280981" indent="-22383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987" indent="-21589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695" indent="-171446">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02" indent="-171446">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48" indent="-168271">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p:nvPr>
        </p:nvSpPr>
        <p:spPr>
          <a:xfrm>
            <a:off x="259742" y="303064"/>
            <a:ext cx="8659976" cy="728782"/>
          </a:xfrm>
          <a:prstGeom prst="rect">
            <a:avLst/>
          </a:prstGeom>
        </p:spPr>
        <p:txBody>
          <a:bodyPr anchor="t">
            <a:noAutofit/>
          </a:bodyPr>
          <a:lstStyle>
            <a:lvl1pPr algn="l">
              <a:lnSpc>
                <a:spcPct val="90000"/>
              </a:lnSpc>
              <a:defRPr sz="2500" b="0" i="0" spc="0" baseline="0">
                <a:solidFill>
                  <a:srgbClr val="00A2BF"/>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4084380284"/>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REAK SLIDE A">
    <p:spTree>
      <p:nvGrpSpPr>
        <p:cNvPr id="1" name=""/>
        <p:cNvGrpSpPr/>
        <p:nvPr/>
      </p:nvGrpSpPr>
      <p:grpSpPr>
        <a:xfrm>
          <a:off x="0" y="0"/>
          <a:ext cx="0" cy="0"/>
          <a:chOff x="0" y="0"/>
          <a:chExt cx="0" cy="0"/>
        </a:xfrm>
      </p:grpSpPr>
      <p:pic>
        <p:nvPicPr>
          <p:cNvPr id="3" name="Picture 6" descr="Screen Shot 2016-07-14 at 12.49.21 PM.png">
            <a:extLst>
              <a:ext uri="{FF2B5EF4-FFF2-40B4-BE49-F238E27FC236}">
                <a16:creationId xmlns:a16="http://schemas.microsoft.com/office/drawing/2014/main" id="{2A821D6C-E5D1-40DD-913A-789E68382B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9F2E7B68-C7DD-4F78-BAA0-11614A1CA1AE}"/>
              </a:ext>
            </a:extLst>
          </p:cNvPr>
          <p:cNvSpPr txBox="1"/>
          <p:nvPr userDrawn="1"/>
        </p:nvSpPr>
        <p:spPr>
          <a:xfrm>
            <a:off x="5911850" y="4897438"/>
            <a:ext cx="2932113" cy="184150"/>
          </a:xfrm>
          <a:prstGeom prst="rect">
            <a:avLst/>
          </a:prstGeom>
          <a:noFill/>
        </p:spPr>
        <p:txBody>
          <a:bodyPr>
            <a:spAutoFit/>
          </a:bodyPr>
          <a:lstStyle/>
          <a:p>
            <a:pPr algn="r" eaLnBrk="1" hangingPunct="1">
              <a:buClr>
                <a:schemeClr val="accent3"/>
              </a:buClr>
              <a:defRPr/>
            </a:pPr>
            <a:r>
              <a:rPr lang="en-US" sz="600" dirty="0">
                <a:solidFill>
                  <a:schemeClr val="bg1"/>
                </a:solidFill>
              </a:rPr>
              <a:t>© 2017 Cisco and NetApp. All rights reserved.</a:t>
            </a:r>
          </a:p>
        </p:txBody>
      </p:sp>
      <p:pic>
        <p:nvPicPr>
          <p:cNvPr id="5" name="Picture 8" descr="FlexPod_Reg_CMYK-withbubble-white.png">
            <a:extLst>
              <a:ext uri="{FF2B5EF4-FFF2-40B4-BE49-F238E27FC236}">
                <a16:creationId xmlns:a16="http://schemas.microsoft.com/office/drawing/2014/main" id="{822EFD14-14A9-4FBC-BCC5-36667D1632B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57002516"/>
      </p:ext>
    </p:extLst>
  </p:cSld>
  <p:clrMapOvr>
    <a:masterClrMapping/>
  </p:clrMapOvr>
  <p:transition spd="slow">
    <p:circl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0536" y="177286"/>
            <a:ext cx="8574187" cy="678596"/>
          </a:xfrm>
        </p:spPr>
        <p:txBody>
          <a:bodyPr>
            <a:noAutofit/>
          </a:bodyPr>
          <a:lstStyle>
            <a:lvl1pPr>
              <a:defRPr sz="2250"/>
            </a:lvl1pPr>
          </a:lstStyle>
          <a:p>
            <a:r>
              <a:rPr lang="en-US"/>
              <a:t>Click to edit Master title style</a:t>
            </a:r>
          </a:p>
        </p:txBody>
      </p:sp>
      <p:sp>
        <p:nvSpPr>
          <p:cNvPr id="48" name="Content Placeholder 3"/>
          <p:cNvSpPr>
            <a:spLocks noGrp="1"/>
          </p:cNvSpPr>
          <p:nvPr>
            <p:ph sz="quarter" idx="14"/>
          </p:nvPr>
        </p:nvSpPr>
        <p:spPr>
          <a:xfrm>
            <a:off x="201171" y="1300166"/>
            <a:ext cx="8574733" cy="335994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p:nvPr>
        </p:nvSpPr>
        <p:spPr bwMode="gray">
          <a:xfrm>
            <a:off x="206856" y="829832"/>
            <a:ext cx="8548084" cy="300082"/>
          </a:xfrm>
        </p:spPr>
        <p:txBody>
          <a:bodyPr>
            <a:noAutofit/>
          </a:bodyPr>
          <a:lstStyle>
            <a:lvl1pPr marL="0" indent="0">
              <a:spcBef>
                <a:spcPts val="0"/>
              </a:spcBef>
              <a:spcAft>
                <a:spcPts val="0"/>
              </a:spcAft>
              <a:buNone/>
              <a:defRPr sz="1350" b="0">
                <a:solidFill>
                  <a:schemeClr val="accent1"/>
                </a:solidFill>
              </a:defRPr>
            </a:lvl1pPr>
            <a:lvl2pPr marL="343198" indent="0">
              <a:buNone/>
              <a:defRPr sz="1500" b="1"/>
            </a:lvl2pPr>
            <a:lvl3pPr marL="686395" indent="0">
              <a:buNone/>
              <a:defRPr sz="1425" b="1"/>
            </a:lvl3pPr>
            <a:lvl4pPr marL="1029591" indent="0">
              <a:buNone/>
              <a:defRPr sz="1200" b="1"/>
            </a:lvl4pPr>
            <a:lvl5pPr marL="1372789" indent="0">
              <a:buNone/>
              <a:defRPr sz="1200" b="1"/>
            </a:lvl5pPr>
            <a:lvl6pPr marL="1715986" indent="0">
              <a:buNone/>
              <a:defRPr sz="1200" b="1"/>
            </a:lvl6pPr>
            <a:lvl7pPr marL="2059184" indent="0">
              <a:buNone/>
              <a:defRPr sz="1200" b="1"/>
            </a:lvl7pPr>
            <a:lvl8pPr marL="2402380" indent="0">
              <a:buNone/>
              <a:defRPr sz="1200" b="1"/>
            </a:lvl8pPr>
            <a:lvl9pPr marL="2745578" indent="0">
              <a:buNone/>
              <a:defRPr sz="1200" b="1"/>
            </a:lvl9pPr>
          </a:lstStyle>
          <a:p>
            <a:pPr lvl="0"/>
            <a:r>
              <a:rPr lang="en-US"/>
              <a:t>Edit Master text styles</a:t>
            </a:r>
          </a:p>
        </p:txBody>
      </p:sp>
      <p:sp>
        <p:nvSpPr>
          <p:cNvPr id="13" name="Text Placeholder 6"/>
          <p:cNvSpPr>
            <a:spLocks noGrp="1"/>
          </p:cNvSpPr>
          <p:nvPr>
            <p:ph type="body" sz="quarter" idx="16"/>
          </p:nvPr>
        </p:nvSpPr>
        <p:spPr>
          <a:xfrm>
            <a:off x="220867" y="4678985"/>
            <a:ext cx="7783274" cy="161583"/>
          </a:xfrm>
        </p:spPr>
        <p:txBody>
          <a:bodyPr anchor="ctr">
            <a:noAutofit/>
          </a:bodyPr>
          <a:lstStyle>
            <a:lvl1pPr marL="0" indent="0">
              <a:lnSpc>
                <a:spcPct val="100000"/>
              </a:lnSpc>
              <a:spcBef>
                <a:spcPts val="0"/>
              </a:spcBef>
              <a:spcAft>
                <a:spcPts val="0"/>
              </a:spcAft>
              <a:buFontTx/>
              <a:buNone/>
              <a:defRPr sz="600" baseline="0">
                <a:solidFill>
                  <a:schemeClr val="bg2"/>
                </a:solidFill>
              </a:defRPr>
            </a:lvl1pPr>
            <a:lvl2pPr marL="171599" indent="0">
              <a:buFontTx/>
              <a:buNone/>
              <a:defRPr sz="600">
                <a:solidFill>
                  <a:schemeClr val="bg2"/>
                </a:solidFill>
              </a:defRPr>
            </a:lvl2pPr>
            <a:lvl3pPr marL="343198" indent="0">
              <a:buFontTx/>
              <a:buNone/>
              <a:defRPr sz="600">
                <a:solidFill>
                  <a:schemeClr val="bg2"/>
                </a:solidFill>
              </a:defRPr>
            </a:lvl3pPr>
            <a:lvl4pPr marL="514796" indent="0">
              <a:buFontTx/>
              <a:buNone/>
              <a:defRPr sz="600">
                <a:solidFill>
                  <a:schemeClr val="bg2"/>
                </a:solidFill>
              </a:defRPr>
            </a:lvl4pPr>
            <a:lvl5pPr>
              <a:buFontTx/>
              <a:buNone/>
              <a:defRPr sz="600">
                <a:solidFill>
                  <a:schemeClr val="bg2"/>
                </a:solidFill>
              </a:defRPr>
            </a:lvl5pPr>
          </a:lstStyle>
          <a:p>
            <a:pPr lvl="0"/>
            <a:r>
              <a:rPr lang="en-US"/>
              <a:t>Edit Master text styles</a:t>
            </a:r>
          </a:p>
        </p:txBody>
      </p:sp>
      <p:sp>
        <p:nvSpPr>
          <p:cNvPr id="6" name="Footer Placeholder 4">
            <a:extLst>
              <a:ext uri="{FF2B5EF4-FFF2-40B4-BE49-F238E27FC236}">
                <a16:creationId xmlns:a16="http://schemas.microsoft.com/office/drawing/2014/main" id="{E673155D-37EC-42CD-AA48-78DC1AB58D37}"/>
              </a:ext>
            </a:extLst>
          </p:cNvPr>
          <p:cNvSpPr>
            <a:spLocks noGrp="1"/>
          </p:cNvSpPr>
          <p:nvPr>
            <p:ph type="ftr" sz="quarter" idx="17"/>
          </p:nvPr>
        </p:nvSpPr>
        <p:spPr>
          <a:xfrm>
            <a:off x="501650" y="4854575"/>
            <a:ext cx="4905375" cy="180975"/>
          </a:xfrm>
          <a:prstGeom prst="rect">
            <a:avLst/>
          </a:prstGeom>
        </p:spPr>
        <p:txBody>
          <a:bodyPr vert="horz" wrap="square" lIns="91521" tIns="45761" rIns="91521" bIns="45761" rtlCol="0" anchor="b">
            <a:noAutofit/>
          </a:bodyPr>
          <a:lstStyle>
            <a:lvl1pPr>
              <a:defRPr lang="en-US" sz="525">
                <a:solidFill>
                  <a:schemeClr val="bg2"/>
                </a:solidFill>
              </a:defRPr>
            </a:lvl1pPr>
          </a:lstStyle>
          <a:p>
            <a:pPr>
              <a:defRPr/>
            </a:pPr>
            <a:r>
              <a:t>© 2015 NetApp, Inc. All rights reserved. NetApp Highly Confidential Information. Unreleased product plans may change, not for distribution.</a:t>
            </a:r>
          </a:p>
        </p:txBody>
      </p:sp>
      <p:sp>
        <p:nvSpPr>
          <p:cNvPr id="7" name="Slide Number Placeholder 5">
            <a:extLst>
              <a:ext uri="{FF2B5EF4-FFF2-40B4-BE49-F238E27FC236}">
                <a16:creationId xmlns:a16="http://schemas.microsoft.com/office/drawing/2014/main" id="{06D5CFEB-1DFD-4413-8CFF-314AA0F70862}"/>
              </a:ext>
            </a:extLst>
          </p:cNvPr>
          <p:cNvSpPr>
            <a:spLocks noGrp="1"/>
          </p:cNvSpPr>
          <p:nvPr>
            <p:ph type="sldNum" sz="quarter" idx="18"/>
          </p:nvPr>
        </p:nvSpPr>
        <p:spPr/>
        <p:txBody>
          <a:bodyPr rtlCol="0"/>
          <a:lstStyle>
            <a:lvl1pPr>
              <a:defRPr lang="en-US" sz="788" b="1">
                <a:solidFill>
                  <a:schemeClr val="bg2">
                    <a:lumMod val="50000"/>
                  </a:schemeClr>
                </a:solidFill>
              </a:defRPr>
            </a:lvl1pPr>
          </a:lstStyle>
          <a:p>
            <a:pPr>
              <a:defRPr/>
            </a:pPr>
            <a:fld id="{4140CC38-7525-4F80-90A9-0B2F493A0DF6}" type="slidenum">
              <a:rPr/>
              <a:pPr>
                <a:defRPr/>
              </a:pPr>
              <a:t>‹#›</a:t>
            </a:fld>
            <a:endParaRPr/>
          </a:p>
        </p:txBody>
      </p:sp>
    </p:spTree>
    <p:extLst>
      <p:ext uri="{BB962C8B-B14F-4D97-AF65-F5344CB8AC3E}">
        <p14:creationId xmlns:p14="http://schemas.microsoft.com/office/powerpoint/2010/main" val="323256909"/>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AB859894-DF5B-4AE3-AC2C-4B8E21B0E8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1963" y="4870450"/>
            <a:ext cx="7826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7274" y="180248"/>
            <a:ext cx="8746228" cy="678596"/>
          </a:xfrm>
        </p:spPr>
        <p:txBody>
          <a:bodyPr>
            <a:noAutofit/>
          </a:bodyPr>
          <a:lstStyle>
            <a:lvl1pPr>
              <a:defRPr sz="2250"/>
            </a:lvl1pPr>
          </a:lstStyle>
          <a:p>
            <a:r>
              <a:rPr lang="en-US"/>
              <a:t>Click to edit Master title style</a:t>
            </a:r>
            <a:endParaRPr lang="en-US" dirty="0"/>
          </a:p>
        </p:txBody>
      </p:sp>
      <p:sp>
        <p:nvSpPr>
          <p:cNvPr id="48" name="Content Placeholder 3"/>
          <p:cNvSpPr>
            <a:spLocks noGrp="1"/>
          </p:cNvSpPr>
          <p:nvPr>
            <p:ph sz="quarter" idx="14"/>
          </p:nvPr>
        </p:nvSpPr>
        <p:spPr>
          <a:xfrm>
            <a:off x="197274" y="1300164"/>
            <a:ext cx="8746228" cy="3359944"/>
          </a:xfrm>
        </p:spPr>
        <p:txBody>
          <a:bodyPr>
            <a:noAutofit/>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2"/>
          <p:cNvSpPr>
            <a:spLocks noGrp="1"/>
          </p:cNvSpPr>
          <p:nvPr>
            <p:ph type="body" idx="10"/>
          </p:nvPr>
        </p:nvSpPr>
        <p:spPr bwMode="gray">
          <a:xfrm>
            <a:off x="197274" y="829815"/>
            <a:ext cx="8746228" cy="300082"/>
          </a:xfrm>
        </p:spPr>
        <p:txBody>
          <a:bodyPr>
            <a:noAutofit/>
          </a:bodyPr>
          <a:lstStyle>
            <a:lvl1pPr marL="0" indent="0">
              <a:spcBef>
                <a:spcPts val="0"/>
              </a:spcBef>
              <a:spcAft>
                <a:spcPts val="0"/>
              </a:spcAft>
              <a:buNone/>
              <a:defRPr sz="1350" b="0">
                <a:solidFill>
                  <a:schemeClr val="accent1"/>
                </a:solidFill>
              </a:defRPr>
            </a:lvl1pPr>
            <a:lvl2pPr marL="343206" indent="0">
              <a:buNone/>
              <a:defRPr sz="1500" b="1"/>
            </a:lvl2pPr>
            <a:lvl3pPr marL="686412" indent="0">
              <a:buNone/>
              <a:defRPr sz="1425" b="1"/>
            </a:lvl3pPr>
            <a:lvl4pPr marL="1029617" indent="0">
              <a:buNone/>
              <a:defRPr sz="1200" b="1"/>
            </a:lvl4pPr>
            <a:lvl5pPr marL="1372823" indent="0">
              <a:buNone/>
              <a:defRPr sz="1200" b="1"/>
            </a:lvl5pPr>
            <a:lvl6pPr marL="1716029" indent="0">
              <a:buNone/>
              <a:defRPr sz="1200" b="1"/>
            </a:lvl6pPr>
            <a:lvl7pPr marL="2059235" indent="0">
              <a:buNone/>
              <a:defRPr sz="1200" b="1"/>
            </a:lvl7pPr>
            <a:lvl8pPr marL="2402440" indent="0">
              <a:buNone/>
              <a:defRPr sz="1200" b="1"/>
            </a:lvl8pPr>
            <a:lvl9pPr marL="2745646" indent="0">
              <a:buNone/>
              <a:defRPr sz="1200" b="1"/>
            </a:lvl9pPr>
          </a:lstStyle>
          <a:p>
            <a:pPr lvl="0"/>
            <a:r>
              <a:rPr lang="en-US"/>
              <a:t>Edit Master text styles</a:t>
            </a:r>
          </a:p>
        </p:txBody>
      </p:sp>
      <p:sp>
        <p:nvSpPr>
          <p:cNvPr id="6" name="Slide Number Placeholder 5">
            <a:extLst>
              <a:ext uri="{FF2B5EF4-FFF2-40B4-BE49-F238E27FC236}">
                <a16:creationId xmlns:a16="http://schemas.microsoft.com/office/drawing/2014/main" id="{06C6C1CE-29AB-4BAD-946E-415B40F6CDAC}"/>
              </a:ext>
            </a:extLst>
          </p:cNvPr>
          <p:cNvSpPr>
            <a:spLocks noGrp="1"/>
          </p:cNvSpPr>
          <p:nvPr>
            <p:ph type="sldNum" sz="quarter" idx="15"/>
          </p:nvPr>
        </p:nvSpPr>
        <p:spPr/>
        <p:txBody>
          <a:bodyPr rtlCol="0"/>
          <a:lstStyle>
            <a:lvl1pPr>
              <a:defRPr lang="en-US" sz="788" b="1">
                <a:solidFill>
                  <a:srgbClr val="A2A5A2">
                    <a:lumMod val="50000"/>
                  </a:srgbClr>
                </a:solidFill>
              </a:defRPr>
            </a:lvl1pPr>
          </a:lstStyle>
          <a:p>
            <a:pPr>
              <a:defRPr/>
            </a:pPr>
            <a:fld id="{DBA0AC4F-01AC-42DA-9111-BE5AD184D6FC}" type="slidenum">
              <a:rPr/>
              <a:pPr>
                <a:defRPr/>
              </a:pPr>
              <a:t>‹#›</a:t>
            </a:fld>
            <a:endParaRPr dirty="0"/>
          </a:p>
        </p:txBody>
      </p:sp>
      <p:sp>
        <p:nvSpPr>
          <p:cNvPr id="7" name="Footer Placeholder 4">
            <a:extLst>
              <a:ext uri="{FF2B5EF4-FFF2-40B4-BE49-F238E27FC236}">
                <a16:creationId xmlns:a16="http://schemas.microsoft.com/office/drawing/2014/main" id="{6CBEA62E-E48A-4C97-8054-5828E9BA3066}"/>
              </a:ext>
            </a:extLst>
          </p:cNvPr>
          <p:cNvSpPr>
            <a:spLocks noGrp="1"/>
          </p:cNvSpPr>
          <p:nvPr>
            <p:ph type="ftr" sz="quarter" idx="16"/>
          </p:nvPr>
        </p:nvSpPr>
        <p:spPr>
          <a:xfrm>
            <a:off x="557213" y="4854575"/>
            <a:ext cx="4905375" cy="180975"/>
          </a:xfrm>
          <a:prstGeom prst="rect">
            <a:avLst/>
          </a:prstGeom>
        </p:spPr>
        <p:txBody>
          <a:bodyPr vert="horz" wrap="square" lIns="91521" tIns="45761" rIns="91521" bIns="45761" rtlCol="0" anchor="b">
            <a:noAutofit/>
          </a:bodyPr>
          <a:lstStyle>
            <a:lvl1pPr>
              <a:defRPr lang="en-US" sz="600">
                <a:solidFill>
                  <a:srgbClr val="A2A5A2">
                    <a:lumMod val="50000"/>
                  </a:srgbClr>
                </a:solidFill>
              </a:defRPr>
            </a:lvl1pPr>
          </a:lstStyle>
          <a:p>
            <a:pPr>
              <a:defRPr/>
            </a:pPr>
            <a:r>
              <a:t>© 2018 NetApp, Inc. All rights reserved.  </a:t>
            </a:r>
            <a:r>
              <a:rPr>
                <a:cs typeface="Arial" panose="020B0604020202020204" pitchFamily="34" charset="0"/>
              </a:rPr>
              <a:t>— </a:t>
            </a:r>
            <a:r>
              <a:t>NETAPP CONFIDENTIAL </a:t>
            </a:r>
            <a:r>
              <a:rPr>
                <a:cs typeface="Arial" panose="020B0604020202020204" pitchFamily="34" charset="0"/>
              </a:rPr>
              <a:t>— </a:t>
            </a:r>
            <a:endParaRPr/>
          </a:p>
        </p:txBody>
      </p:sp>
    </p:spTree>
    <p:extLst>
      <p:ext uri="{BB962C8B-B14F-4D97-AF65-F5344CB8AC3E}">
        <p14:creationId xmlns:p14="http://schemas.microsoft.com/office/powerpoint/2010/main" val="1558377163"/>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6" descr="FlexPod-LA-orange.jpg">
            <a:extLst>
              <a:ext uri="{FF2B5EF4-FFF2-40B4-BE49-F238E27FC236}">
                <a16:creationId xmlns:a16="http://schemas.microsoft.com/office/drawing/2014/main" id="{7E7E4581-64DC-4292-80D8-567C3D39A4D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FlexPod_Reg_CMYK-withbubble-white.png">
            <a:extLst>
              <a:ext uri="{FF2B5EF4-FFF2-40B4-BE49-F238E27FC236}">
                <a16:creationId xmlns:a16="http://schemas.microsoft.com/office/drawing/2014/main" id="{3020C3CC-443C-42C6-9745-F7C3EB5758D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2485397"/>
            <a:ext cx="7062257" cy="633663"/>
          </a:xfrm>
          <a:prstGeom prst="rect">
            <a:avLst/>
          </a:prstGeom>
        </p:spPr>
        <p:txBody>
          <a:bodyPr anchor="b"/>
          <a:lstStyle>
            <a:lvl1pPr>
              <a:defRPr sz="4500" b="1"/>
            </a:lvl1pPr>
          </a:lstStyle>
          <a:p>
            <a:r>
              <a:rPr lang="en-US"/>
              <a:t>Click to edit Master title style</a:t>
            </a:r>
            <a:endParaRPr lang="en-US" dirty="0"/>
          </a:p>
        </p:txBody>
      </p:sp>
      <p:sp>
        <p:nvSpPr>
          <p:cNvPr id="12" name="Subtitle 2"/>
          <p:cNvSpPr>
            <a:spLocks noGrp="1"/>
          </p:cNvSpPr>
          <p:nvPr>
            <p:ph type="subTitle" idx="1"/>
          </p:nvPr>
        </p:nvSpPr>
        <p:spPr>
          <a:xfrm>
            <a:off x="634712" y="3175215"/>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63137250"/>
      </p:ext>
    </p:extLst>
  </p:cSld>
  <p:clrMapOvr>
    <a:masterClrMapping/>
  </p:clrMapOvr>
  <p:transition spd="slow">
    <p:circl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6" descr="Screen Shot 2016-07-13 at 2.49.37 PM.png">
            <a:extLst>
              <a:ext uri="{FF2B5EF4-FFF2-40B4-BE49-F238E27FC236}">
                <a16:creationId xmlns:a16="http://schemas.microsoft.com/office/drawing/2014/main" id="{13FB74B4-5A2F-4F21-B192-29C1C8ECFD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581F55BC-96A9-496A-B2E3-60AD930FE3EA}"/>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8 NetApp, Inc. Cisco, Inc. All rights reserved. </a:t>
            </a:r>
          </a:p>
        </p:txBody>
      </p:sp>
      <p:pic>
        <p:nvPicPr>
          <p:cNvPr id="5" name="Picture 8" descr="FlexPod_Reg_CMYK-withbubble-white.png">
            <a:extLst>
              <a:ext uri="{FF2B5EF4-FFF2-40B4-BE49-F238E27FC236}">
                <a16:creationId xmlns:a16="http://schemas.microsoft.com/office/drawing/2014/main" id="{34360595-9567-4385-B225-276B8C7A4B8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59335483"/>
      </p:ext>
    </p:extLst>
  </p:cSld>
  <p:clrMapOvr>
    <a:masterClrMapping/>
  </p:clrMapOvr>
  <p:transition spd="slow">
    <p:circl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6" descr="Screen Shot 2016-07-13 at 2.54.46 PM.png">
            <a:extLst>
              <a:ext uri="{FF2B5EF4-FFF2-40B4-BE49-F238E27FC236}">
                <a16:creationId xmlns:a16="http://schemas.microsoft.com/office/drawing/2014/main" id="{43E502CB-485D-46F2-85E6-61708012E54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3AA77595-511E-4AE2-98EF-A727CF4BC0D1}"/>
              </a:ext>
            </a:extLst>
          </p:cNvPr>
          <p:cNvSpPr>
            <a:spLocks noChangeArrowheads="1"/>
          </p:cNvSpPr>
          <p:nvPr userDrawn="1"/>
        </p:nvSpPr>
        <p:spPr bwMode="auto">
          <a:xfrm>
            <a:off x="754063" y="0"/>
            <a:ext cx="4021137" cy="5143500"/>
          </a:xfrm>
          <a:prstGeom prst="rect">
            <a:avLst/>
          </a:prstGeom>
          <a:solidFill>
            <a:srgbClr val="000000">
              <a:alpha val="65881"/>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EE920197-1E10-49D2-A901-6049833F33AF}"/>
              </a:ext>
            </a:extLst>
          </p:cNvPr>
          <p:cNvSpPr txBox="1"/>
          <p:nvPr userDrawn="1"/>
        </p:nvSpPr>
        <p:spPr>
          <a:xfrm>
            <a:off x="5911850" y="4897438"/>
            <a:ext cx="2932113" cy="184150"/>
          </a:xfrm>
          <a:prstGeom prst="rect">
            <a:avLst/>
          </a:prstGeom>
          <a:noFill/>
        </p:spPr>
        <p:txBody>
          <a:bodyPr>
            <a:spAutoFit/>
          </a:bodyPr>
          <a:lstStyle/>
          <a:p>
            <a:pPr algn="r" eaLnBrk="1" hangingPunct="1">
              <a:buClr>
                <a:schemeClr val="accent3"/>
              </a:buClr>
              <a:defRPr/>
            </a:pPr>
            <a:r>
              <a:rPr lang="en-US" sz="600" dirty="0"/>
              <a:t>© 2018 Cisco and NetApp. All rights reserved.</a:t>
            </a:r>
          </a:p>
        </p:txBody>
      </p:sp>
      <p:pic>
        <p:nvPicPr>
          <p:cNvPr id="6" name="Picture 8" descr="FlexPod_Reg_CMYK-withbubble.png">
            <a:extLst>
              <a:ext uri="{FF2B5EF4-FFF2-40B4-BE49-F238E27FC236}">
                <a16:creationId xmlns:a16="http://schemas.microsoft.com/office/drawing/2014/main" id="{D2D62DDA-EB03-4A0C-89B0-6278BCC1E8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7913" y="250825"/>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77141362"/>
      </p:ext>
    </p:extLst>
  </p:cSld>
  <p:clrMapOvr>
    <a:masterClrMapping/>
  </p:clrMapOvr>
  <p:transition spd="slow">
    <p:circl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REAK SLIDE A">
    <p:spTree>
      <p:nvGrpSpPr>
        <p:cNvPr id="1" name=""/>
        <p:cNvGrpSpPr/>
        <p:nvPr/>
      </p:nvGrpSpPr>
      <p:grpSpPr>
        <a:xfrm>
          <a:off x="0" y="0"/>
          <a:ext cx="0" cy="0"/>
          <a:chOff x="0" y="0"/>
          <a:chExt cx="0" cy="0"/>
        </a:xfrm>
      </p:grpSpPr>
      <p:pic>
        <p:nvPicPr>
          <p:cNvPr id="3" name="Picture 7" descr="Screen Shot 2016-07-14 at 12.49.21 PM.png">
            <a:extLst>
              <a:ext uri="{FF2B5EF4-FFF2-40B4-BE49-F238E27FC236}">
                <a16:creationId xmlns:a16="http://schemas.microsoft.com/office/drawing/2014/main" id="{5BF46BB5-703C-4FB6-8B93-199003C26E80}"/>
              </a:ext>
            </a:extLst>
          </p:cNvPr>
          <p:cNvPicPr>
            <a:picLocks noChangeAspect="1"/>
          </p:cNvPicPr>
          <p:nvPr userDrawn="1"/>
        </p:nvPicPr>
        <p:blipFill>
          <a:blip r:embed="rId2">
            <a:extLst>
              <a:ext uri="{28A0092B-C50C-407E-A947-70E740481C1C}">
                <a14:useLocalDpi xmlns:a14="http://schemas.microsoft.com/office/drawing/2010/main" val="0"/>
              </a:ext>
            </a:extLst>
          </a:blip>
          <a:srcRect l="7857" r="15912" b="143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lexPod_Reg_CMYK-withbubble-white.png">
            <a:extLst>
              <a:ext uri="{FF2B5EF4-FFF2-40B4-BE49-F238E27FC236}">
                <a16:creationId xmlns:a16="http://schemas.microsoft.com/office/drawing/2014/main" id="{5CB952AE-1FB3-40EF-8183-8DFBEB5DDCB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258763"/>
            <a:ext cx="137795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5EBCB192-CC3E-4626-959B-C9AE949C3E8A}"/>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69D53D31-46F9-424C-AA13-25630DFFC749}" type="slidenum">
              <a:rPr lang="en-US" sz="600" smtClean="0">
                <a:solidFill>
                  <a:schemeClr val="bg1"/>
                </a:solidFill>
                <a:latin typeface="+mn-lt"/>
              </a:rPr>
              <a:pPr>
                <a:defRPr/>
              </a:pPr>
              <a:t>‹#›</a:t>
            </a:fld>
            <a:endParaRPr lang="en-US" sz="600">
              <a:solidFill>
                <a:schemeClr val="bg1"/>
              </a:solidFill>
              <a:latin typeface="+mn-lt"/>
            </a:endParaRPr>
          </a:p>
        </p:txBody>
      </p:sp>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p>
        </p:txBody>
      </p:sp>
    </p:spTree>
    <p:extLst>
      <p:ext uri="{BB962C8B-B14F-4D97-AF65-F5344CB8AC3E}">
        <p14:creationId xmlns:p14="http://schemas.microsoft.com/office/powerpoint/2010/main" val="37869423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6" descr="Screen Shot 2016-07-14 at 9.32.51 AM.png">
            <a:extLst>
              <a:ext uri="{FF2B5EF4-FFF2-40B4-BE49-F238E27FC236}">
                <a16:creationId xmlns:a16="http://schemas.microsoft.com/office/drawing/2014/main" id="{63EF5127-E226-4881-BD44-2749998BAC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0D681969-74D6-48C2-BA7B-07400F769DCA}"/>
              </a:ext>
            </a:extLst>
          </p:cNvPr>
          <p:cNvSpPr>
            <a:spLocks noChangeArrowheads="1"/>
          </p:cNvSpPr>
          <p:nvPr userDrawn="1"/>
        </p:nvSpPr>
        <p:spPr bwMode="auto">
          <a:xfrm>
            <a:off x="0" y="0"/>
            <a:ext cx="9144000" cy="5143500"/>
          </a:xfrm>
          <a:prstGeom prst="rect">
            <a:avLst/>
          </a:prstGeom>
          <a:solidFill>
            <a:srgbClr val="000000">
              <a:alpha val="76862"/>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chemeClr val="accent2"/>
              </a:buClr>
              <a:buFont typeface="Wingdings 2" panose="05020102010507070707" pitchFamily="18" charset="2"/>
              <a:buNone/>
              <a:defRPr/>
            </a:pPr>
            <a:endParaRPr lang="en-US" altLang="en-US" dirty="0"/>
          </a:p>
        </p:txBody>
      </p:sp>
      <p:sp>
        <p:nvSpPr>
          <p:cNvPr id="5" name="TextBox 4">
            <a:extLst>
              <a:ext uri="{FF2B5EF4-FFF2-40B4-BE49-F238E27FC236}">
                <a16:creationId xmlns:a16="http://schemas.microsoft.com/office/drawing/2014/main" id="{4C51DE3B-E880-4F80-B64C-F96DAAF6DE74}"/>
              </a:ext>
            </a:extLst>
          </p:cNvPr>
          <p:cNvSpPr txBox="1"/>
          <p:nvPr userDrawn="1"/>
        </p:nvSpPr>
        <p:spPr>
          <a:xfrm>
            <a:off x="5911850" y="4897438"/>
            <a:ext cx="2932113" cy="184150"/>
          </a:xfrm>
          <a:prstGeom prst="rect">
            <a:avLst/>
          </a:prstGeom>
          <a:noFill/>
        </p:spPr>
        <p:txBody>
          <a:bodyPr>
            <a:spAutoFit/>
          </a:bodyPr>
          <a:lstStyle/>
          <a:p>
            <a:pPr algn="r" eaLnBrk="1" hangingPunct="1">
              <a:buClr>
                <a:schemeClr val="accent3"/>
              </a:buClr>
              <a:defRPr/>
            </a:pPr>
            <a:r>
              <a:rPr lang="en-US" sz="600" dirty="0">
                <a:solidFill>
                  <a:schemeClr val="bg1"/>
                </a:solidFill>
              </a:rPr>
              <a:t>© 2018 Cisco and NetApp. All rights reserved.</a:t>
            </a:r>
          </a:p>
        </p:txBody>
      </p:sp>
      <p:pic>
        <p:nvPicPr>
          <p:cNvPr id="6" name="Picture 8" descr="FlexPod_Reg_CMYK-withbubble-white.png">
            <a:extLst>
              <a:ext uri="{FF2B5EF4-FFF2-40B4-BE49-F238E27FC236}">
                <a16:creationId xmlns:a16="http://schemas.microsoft.com/office/drawing/2014/main" id="{74040FE9-BFB8-4223-B1BD-B3C9E25608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2675" y="252413"/>
            <a:ext cx="13747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20793129"/>
      </p:ext>
    </p:extLst>
  </p:cSld>
  <p:clrMapOvr>
    <a:masterClrMapping/>
  </p:clrMapOvr>
  <p:transition spd="slow">
    <p:circl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190827"/>
            <a:ext cx="8787870"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233605035"/>
      </p:ext>
    </p:extLst>
  </p:cSld>
  <p:clrMapOvr>
    <a:masterClrMapping/>
  </p:clrMapOvr>
  <p:transition spd="slow">
    <p:circl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3245" y="190827"/>
            <a:ext cx="8617693" cy="638906"/>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678641"/>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Click to edit Master text styles</a:t>
            </a:r>
          </a:p>
        </p:txBody>
      </p:sp>
    </p:spTree>
    <p:extLst>
      <p:ext uri="{BB962C8B-B14F-4D97-AF65-F5344CB8AC3E}">
        <p14:creationId xmlns:p14="http://schemas.microsoft.com/office/powerpoint/2010/main" val="3306787624"/>
      </p:ext>
    </p:extLst>
  </p:cSld>
  <p:clrMapOvr>
    <a:masterClrMapping/>
  </p:clrMapOvr>
  <p:transition spd="slow">
    <p:circl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295869"/>
            <a:ext cx="8696960" cy="3474252"/>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6"/>
          <p:cNvSpPr>
            <a:spLocks noGrp="1"/>
          </p:cNvSpPr>
          <p:nvPr>
            <p:ph type="title"/>
          </p:nvPr>
        </p:nvSpPr>
        <p:spPr>
          <a:xfrm>
            <a:off x="152930" y="190827"/>
            <a:ext cx="8618008" cy="92410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1966150205"/>
      </p:ext>
    </p:extLst>
  </p:cSld>
  <p:clrMapOvr>
    <a:masterClrMapping/>
  </p:clrMapOvr>
  <p:transition spd="slow">
    <p:circl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4" name="Picture 6" descr="FlexPod-Flash-3.jpg">
            <a:extLst>
              <a:ext uri="{FF2B5EF4-FFF2-40B4-BE49-F238E27FC236}">
                <a16:creationId xmlns:a16="http://schemas.microsoft.com/office/drawing/2014/main" id="{3768384F-B0E2-4B2B-9F85-DD4CBBC9FE6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16733" r="7880" b="5812"/>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exPod_Reg_CMYK-withbubble-white.png">
            <a:extLst>
              <a:ext uri="{FF2B5EF4-FFF2-40B4-BE49-F238E27FC236}">
                <a16:creationId xmlns:a16="http://schemas.microsoft.com/office/drawing/2014/main" id="{2E912ACD-34F2-4698-A4D2-63B5367D997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3624162"/>
            <a:ext cx="6400579" cy="633663"/>
          </a:xfrm>
          <a:prstGeom prst="rect">
            <a:avLst/>
          </a:prstGeom>
        </p:spPr>
        <p:txBody>
          <a:bodyPr anchor="b"/>
          <a:lstStyle>
            <a:lvl1pPr>
              <a:defRPr sz="4500" b="1">
                <a:solidFill>
                  <a:schemeClr val="bg1"/>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641872508"/>
      </p:ext>
    </p:extLst>
  </p:cSld>
  <p:clrMapOvr>
    <a:masterClrMapping/>
  </p:clrMapOvr>
  <p:transition spd="slow">
    <p:circl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pic>
        <p:nvPicPr>
          <p:cNvPr id="4" name="Picture 6" descr="FlexPod-shipping-containers-2.jpg">
            <a:extLst>
              <a:ext uri="{FF2B5EF4-FFF2-40B4-BE49-F238E27FC236}">
                <a16:creationId xmlns:a16="http://schemas.microsoft.com/office/drawing/2014/main" id="{5AEE3F8F-F811-430D-8177-A8EFE13C0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10516" r="10075" b="13304"/>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exPod_Reg_CMYK-withbubble-white.png">
            <a:extLst>
              <a:ext uri="{FF2B5EF4-FFF2-40B4-BE49-F238E27FC236}">
                <a16:creationId xmlns:a16="http://schemas.microsoft.com/office/drawing/2014/main" id="{AD89D13F-7BD9-4EC8-A2DE-E4612913713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3624162"/>
            <a:ext cx="5740498" cy="633663"/>
          </a:xfrm>
          <a:prstGeom prst="rect">
            <a:avLst/>
          </a:prstGeom>
        </p:spPr>
        <p:txBody>
          <a:bodyPr anchor="b"/>
          <a:lstStyle>
            <a:lvl1pPr>
              <a:defRPr sz="4500" b="1">
                <a:solidFill>
                  <a:schemeClr val="tx2"/>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2" y="4313980"/>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853544656"/>
      </p:ext>
    </p:extLst>
  </p:cSld>
  <p:clrMapOvr>
    <a:masterClrMapping/>
  </p:clrMapOvr>
  <p:transition spd="slow">
    <p:circl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pic>
        <p:nvPicPr>
          <p:cNvPr id="4" name="Picture 6" descr="FlexPod-LA-2.jpg">
            <a:extLst>
              <a:ext uri="{FF2B5EF4-FFF2-40B4-BE49-F238E27FC236}">
                <a16:creationId xmlns:a16="http://schemas.microsoft.com/office/drawing/2014/main" id="{30D307F1-6776-4900-8A46-27395D7317B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5482" b="1014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exPod_Reg_CMYK-withbubble-white.png">
            <a:extLst>
              <a:ext uri="{FF2B5EF4-FFF2-40B4-BE49-F238E27FC236}">
                <a16:creationId xmlns:a16="http://schemas.microsoft.com/office/drawing/2014/main" id="{6F6695C0-53E2-4B84-8889-C6BE5958E33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3" y="1382545"/>
            <a:ext cx="5707077" cy="633663"/>
          </a:xfrm>
          <a:prstGeom prst="rect">
            <a:avLst/>
          </a:prstGeom>
        </p:spPr>
        <p:txBody>
          <a:bodyPr anchor="b"/>
          <a:lstStyle>
            <a:lvl1pPr>
              <a:defRPr sz="4500" b="1">
                <a:solidFill>
                  <a:schemeClr val="bg1"/>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2" y="2072363"/>
            <a:ext cx="5529263" cy="829520"/>
          </a:xfrm>
          <a:prstGeom prst="rect">
            <a:avLst/>
          </a:prstGeom>
        </p:spPr>
        <p:txBody>
          <a:bodyPr/>
          <a:lstStyle>
            <a:lvl1pPr marL="0" indent="0" algn="l">
              <a:buNone/>
              <a:defRPr sz="1800">
                <a:solidFill>
                  <a:schemeClr val="bg1"/>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17546890"/>
      </p:ext>
    </p:extLst>
  </p:cSld>
  <p:clrMapOvr>
    <a:masterClrMapping/>
  </p:clrMapOvr>
  <p:transition spd="slow">
    <p:circl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D">
    <p:spTree>
      <p:nvGrpSpPr>
        <p:cNvPr id="1" name=""/>
        <p:cNvGrpSpPr/>
        <p:nvPr/>
      </p:nvGrpSpPr>
      <p:grpSpPr>
        <a:xfrm>
          <a:off x="0" y="0"/>
          <a:ext cx="0" cy="0"/>
          <a:chOff x="0" y="0"/>
          <a:chExt cx="0" cy="0"/>
        </a:xfrm>
      </p:grpSpPr>
      <p:pic>
        <p:nvPicPr>
          <p:cNvPr id="4" name="Picture 6" descr="FSA-Image-2.jpg">
            <a:extLst>
              <a:ext uri="{FF2B5EF4-FFF2-40B4-BE49-F238E27FC236}">
                <a16:creationId xmlns:a16="http://schemas.microsoft.com/office/drawing/2014/main" id="{8999B1E9-4F5E-4FA9-A89A-C71E15439F1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b="1428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exPod_Reg_CMYK-withbubble-white.png">
            <a:extLst>
              <a:ext uri="{FF2B5EF4-FFF2-40B4-BE49-F238E27FC236}">
                <a16:creationId xmlns:a16="http://schemas.microsoft.com/office/drawing/2014/main" id="{436C9B6F-177F-403E-8E6E-54F5BF5FC5A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634714" y="1382959"/>
            <a:ext cx="5840764" cy="633663"/>
          </a:xfrm>
          <a:prstGeom prst="rect">
            <a:avLst/>
          </a:prstGeom>
        </p:spPr>
        <p:txBody>
          <a:bodyPr anchor="b"/>
          <a:lstStyle>
            <a:lvl1pPr>
              <a:defRPr sz="4500" b="1">
                <a:solidFill>
                  <a:schemeClr val="tx2"/>
                </a:solidFill>
              </a:defRPr>
            </a:lvl1pPr>
          </a:lstStyle>
          <a:p>
            <a:r>
              <a:rPr lang="en-US"/>
              <a:t>Click to edit Master title style</a:t>
            </a:r>
            <a:endParaRPr lang="en-US" dirty="0"/>
          </a:p>
        </p:txBody>
      </p:sp>
      <p:sp>
        <p:nvSpPr>
          <p:cNvPr id="12" name="Subtitle 2"/>
          <p:cNvSpPr>
            <a:spLocks noGrp="1"/>
          </p:cNvSpPr>
          <p:nvPr>
            <p:ph type="subTitle" idx="1"/>
          </p:nvPr>
        </p:nvSpPr>
        <p:spPr>
          <a:xfrm>
            <a:off x="634712" y="2072777"/>
            <a:ext cx="5529263" cy="829520"/>
          </a:xfrm>
          <a:prstGeom prst="rect">
            <a:avLst/>
          </a:prstGeom>
        </p:spPr>
        <p:txBody>
          <a:bodyPr/>
          <a:lstStyle>
            <a:lvl1pPr marL="0" indent="0" algn="l">
              <a:buNone/>
              <a:defRPr sz="1800">
                <a:solidFill>
                  <a:schemeClr val="tx2"/>
                </a:solidFill>
              </a:defRPr>
            </a:lvl1pPr>
            <a:lvl2pPr marL="457118" indent="0" algn="ctr">
              <a:buNone/>
              <a:defRPr>
                <a:solidFill>
                  <a:schemeClr val="tx1">
                    <a:tint val="75000"/>
                  </a:schemeClr>
                </a:solidFill>
              </a:defRPr>
            </a:lvl2pPr>
            <a:lvl3pPr marL="914243" indent="0" algn="ctr">
              <a:buNone/>
              <a:defRPr>
                <a:solidFill>
                  <a:schemeClr val="tx1">
                    <a:tint val="75000"/>
                  </a:schemeClr>
                </a:solidFill>
              </a:defRPr>
            </a:lvl3pPr>
            <a:lvl4pPr marL="1371362" indent="0" algn="ctr">
              <a:buNone/>
              <a:defRPr>
                <a:solidFill>
                  <a:schemeClr val="tx1">
                    <a:tint val="75000"/>
                  </a:schemeClr>
                </a:solidFill>
              </a:defRPr>
            </a:lvl4pPr>
            <a:lvl5pPr marL="1828484" indent="0" algn="ctr">
              <a:buNone/>
              <a:defRPr>
                <a:solidFill>
                  <a:schemeClr val="tx1">
                    <a:tint val="75000"/>
                  </a:schemeClr>
                </a:solidFill>
              </a:defRPr>
            </a:lvl5pPr>
            <a:lvl6pPr marL="2285601"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62622291"/>
      </p:ext>
    </p:extLst>
  </p:cSld>
  <p:clrMapOvr>
    <a:masterClrMapping/>
  </p:clrMapOvr>
  <p:transition spd="slow">
    <p:circl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REAK SLIDE A">
    <p:spTree>
      <p:nvGrpSpPr>
        <p:cNvPr id="1" name=""/>
        <p:cNvGrpSpPr/>
        <p:nvPr/>
      </p:nvGrpSpPr>
      <p:grpSpPr>
        <a:xfrm>
          <a:off x="0" y="0"/>
          <a:ext cx="0" cy="0"/>
          <a:chOff x="0" y="0"/>
          <a:chExt cx="0" cy="0"/>
        </a:xfrm>
      </p:grpSpPr>
      <p:pic>
        <p:nvPicPr>
          <p:cNvPr id="3" name="Picture 6" descr="Screen Shot 2016-07-14 at 12.49.21 PM.png">
            <a:extLst>
              <a:ext uri="{FF2B5EF4-FFF2-40B4-BE49-F238E27FC236}">
                <a16:creationId xmlns:a16="http://schemas.microsoft.com/office/drawing/2014/main" id="{D2C21F39-4E03-4E6F-BC97-8B2DF4FEA9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7857" r="15912" b="143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DF946B69-D012-4380-A61F-239E883BC98C}"/>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20 NetApp, Inc. Cisco, Inc. All rights reserved. </a:t>
            </a:r>
          </a:p>
        </p:txBody>
      </p:sp>
      <p:pic>
        <p:nvPicPr>
          <p:cNvPr id="5" name="Picture 8" descr="FlexPod_Reg_CMYK-withbubble-white.png">
            <a:extLst>
              <a:ext uri="{FF2B5EF4-FFF2-40B4-BE49-F238E27FC236}">
                <a16:creationId xmlns:a16="http://schemas.microsoft.com/office/drawing/2014/main" id="{4364833C-BB30-4357-8459-C2976B6E230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87151951"/>
      </p:ext>
    </p:extLst>
  </p:cSld>
  <p:clrMapOvr>
    <a:masterClrMapping/>
  </p:clrMapOvr>
  <p:transition spd="slow">
    <p:circl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REAK SLIDE B">
    <p:spTree>
      <p:nvGrpSpPr>
        <p:cNvPr id="1" name=""/>
        <p:cNvGrpSpPr/>
        <p:nvPr/>
      </p:nvGrpSpPr>
      <p:grpSpPr>
        <a:xfrm>
          <a:off x="0" y="0"/>
          <a:ext cx="0" cy="0"/>
          <a:chOff x="0" y="0"/>
          <a:chExt cx="0" cy="0"/>
        </a:xfrm>
      </p:grpSpPr>
      <p:pic>
        <p:nvPicPr>
          <p:cNvPr id="3" name="Picture 6" descr="Screen Shot 2016-07-13 at 2.49.37 PM.png">
            <a:extLst>
              <a:ext uri="{FF2B5EF4-FFF2-40B4-BE49-F238E27FC236}">
                <a16:creationId xmlns:a16="http://schemas.microsoft.com/office/drawing/2014/main" id="{1FEB85F7-E2C7-441A-8B92-7EC1672B913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65" t="1654" r="893" b="4549"/>
          <a:stretch>
            <a:fillRect/>
          </a:stretch>
        </p:blipFill>
        <p:spPr bwMode="auto">
          <a:xfrm>
            <a:off x="0" y="0"/>
            <a:ext cx="9144000" cy="516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725122D1-15F3-48CE-9730-4395F1E661F8}"/>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5" name="Picture 8" descr="FlexPod_Reg_CMYK-withbubble-white.png">
            <a:extLst>
              <a:ext uri="{FF2B5EF4-FFF2-40B4-BE49-F238E27FC236}">
                <a16:creationId xmlns:a16="http://schemas.microsoft.com/office/drawing/2014/main" id="{53B65EDD-BA9D-4757-98CE-9AEB189ECB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45655430"/>
      </p:ext>
    </p:extLst>
  </p:cSld>
  <p:clrMapOvr>
    <a:masterClrMapping/>
  </p:clrMapOvr>
  <p:transition spd="slow">
    <p:circl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No Subtitle, No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274" y="180248"/>
            <a:ext cx="8746228" cy="678596"/>
          </a:xfrm>
        </p:spPr>
        <p:txBody>
          <a:bodyPr wrap="square" lIns="91521">
            <a:noAutofit/>
          </a:bodyPr>
          <a:lstStyle>
            <a:lvl1pPr>
              <a:defRPr sz="2250"/>
            </a:lvl1pPr>
          </a:lstStyle>
          <a:p>
            <a:r>
              <a:rPr lang="en-US" dirty="0"/>
              <a:t>Click to Edit Master Title Style</a:t>
            </a:r>
          </a:p>
        </p:txBody>
      </p:sp>
      <p:sp>
        <p:nvSpPr>
          <p:cNvPr id="48" name="Content Placeholder 3"/>
          <p:cNvSpPr>
            <a:spLocks noGrp="1"/>
          </p:cNvSpPr>
          <p:nvPr>
            <p:ph sz="quarter" idx="14" hasCustomPrompt="1"/>
          </p:nvPr>
        </p:nvSpPr>
        <p:spPr>
          <a:xfrm>
            <a:off x="197274" y="1301782"/>
            <a:ext cx="8746228" cy="3359923"/>
          </a:xfrm>
        </p:spPr>
        <p:txBody>
          <a:bodyPr wrap="square" lIns="91521">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a:solidFill>
                  <a:srgbClr val="A2A5A2">
                    <a:lumMod val="50000"/>
                  </a:srgbClr>
                </a:solidFill>
              </a:rPr>
              <a:pPr/>
              <a:t>‹#›</a:t>
            </a:fld>
            <a:endParaRPr dirty="0">
              <a:solidFill>
                <a:srgbClr val="A2A5A2">
                  <a:lumMod val="50000"/>
                </a:srgbClr>
              </a:solidFill>
            </a:endParaRPr>
          </a:p>
        </p:txBody>
      </p:sp>
      <p:pic>
        <p:nvPicPr>
          <p:cNvPr id="7" name="Picture 6"/>
          <p:cNvPicPr>
            <a:picLocks noChangeAspect="1"/>
          </p:cNvPicPr>
          <p:nvPr userDrawn="1"/>
        </p:nvPicPr>
        <p:blipFill>
          <a:blip r:embed="rId2"/>
          <a:stretch>
            <a:fillRect/>
          </a:stretch>
        </p:blipFill>
        <p:spPr>
          <a:xfrm>
            <a:off x="8081801" y="4870915"/>
            <a:ext cx="782016" cy="143333"/>
          </a:xfrm>
          <a:prstGeom prst="rect">
            <a:avLst/>
          </a:prstGeom>
        </p:spPr>
      </p:pic>
      <p:sp>
        <p:nvSpPr>
          <p:cNvPr id="8"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r>
              <a:rPr lang="en-US">
                <a:solidFill>
                  <a:srgbClr val="A2A5A2">
                    <a:lumMod val="50000"/>
                  </a:srgbClr>
                </a:solidFill>
              </a:rPr>
              <a:t>© 2019 NetApp, Inc. All rights reserved.  — NETAPP CONFIDENTIAL — </a:t>
            </a:r>
            <a:endParaRPr dirty="0">
              <a:solidFill>
                <a:srgbClr val="A2A5A2">
                  <a:lumMod val="50000"/>
                </a:srgbClr>
              </a:solidFill>
            </a:endParaRPr>
          </a:p>
        </p:txBody>
      </p:sp>
    </p:spTree>
    <p:extLst>
      <p:ext uri="{BB962C8B-B14F-4D97-AF65-F5344CB8AC3E}">
        <p14:creationId xmlns:p14="http://schemas.microsoft.com/office/powerpoint/2010/main" val="868921274"/>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REAK SLIDE C">
    <p:spTree>
      <p:nvGrpSpPr>
        <p:cNvPr id="1" name=""/>
        <p:cNvGrpSpPr/>
        <p:nvPr/>
      </p:nvGrpSpPr>
      <p:grpSpPr>
        <a:xfrm>
          <a:off x="0" y="0"/>
          <a:ext cx="0" cy="0"/>
          <a:chOff x="0" y="0"/>
          <a:chExt cx="0" cy="0"/>
        </a:xfrm>
      </p:grpSpPr>
      <p:pic>
        <p:nvPicPr>
          <p:cNvPr id="3" name="Picture 6" descr="Screen Shot 2016-07-14 at 4.26.16 PM.png">
            <a:extLst>
              <a:ext uri="{FF2B5EF4-FFF2-40B4-BE49-F238E27FC236}">
                <a16:creationId xmlns:a16="http://schemas.microsoft.com/office/drawing/2014/main" id="{81F96DCF-9C38-410C-9D00-5A15F0C875B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2107" b="665"/>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E4AAA715-ADBA-4B98-A08B-1F6C1F850B5A}"/>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5" name="Picture 8" descr="FlexPod_Reg_CMYK-withbubble-white.png">
            <a:extLst>
              <a:ext uri="{FF2B5EF4-FFF2-40B4-BE49-F238E27FC236}">
                <a16:creationId xmlns:a16="http://schemas.microsoft.com/office/drawing/2014/main" id="{C3111CA9-53C7-434A-BAAA-BE1887F08E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40192918"/>
      </p:ext>
    </p:extLst>
  </p:cSld>
  <p:clrMapOvr>
    <a:masterClrMapping/>
  </p:clrMapOvr>
  <p:transition spd="slow">
    <p:circl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REAK SLIDE D">
    <p:spTree>
      <p:nvGrpSpPr>
        <p:cNvPr id="1" name=""/>
        <p:cNvGrpSpPr/>
        <p:nvPr/>
      </p:nvGrpSpPr>
      <p:grpSpPr>
        <a:xfrm>
          <a:off x="0" y="0"/>
          <a:ext cx="0" cy="0"/>
          <a:chOff x="0" y="0"/>
          <a:chExt cx="0" cy="0"/>
        </a:xfrm>
      </p:grpSpPr>
      <p:pic>
        <p:nvPicPr>
          <p:cNvPr id="3" name="Picture 6" descr="Screen Shot 2016-07-14 at 2.40.14 PM.png">
            <a:extLst>
              <a:ext uri="{FF2B5EF4-FFF2-40B4-BE49-F238E27FC236}">
                <a16:creationId xmlns:a16="http://schemas.microsoft.com/office/drawing/2014/main" id="{026E80F3-EEDE-4661-A986-59BF091B36B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1494" r="7607"/>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CFA52CA-3A42-4F23-B1B6-856E9FE45585}"/>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5" name="Picture 8" descr="FlexPod_Reg_CMYK-withbubble-white.png">
            <a:extLst>
              <a:ext uri="{FF2B5EF4-FFF2-40B4-BE49-F238E27FC236}">
                <a16:creationId xmlns:a16="http://schemas.microsoft.com/office/drawing/2014/main" id="{8BC439C3-6EA7-48E9-AD0B-24E096C5C97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803275" y="2046288"/>
            <a:ext cx="7772400" cy="1298045"/>
          </a:xfrm>
          <a:prstGeom prst="rect">
            <a:avLst/>
          </a:prstGeom>
        </p:spPr>
        <p:txBody>
          <a:bodyPr/>
          <a:lstStyle>
            <a:lvl1pPr>
              <a:defRPr sz="55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38190035"/>
      </p:ext>
    </p:extLst>
  </p:cSld>
  <p:clrMapOvr>
    <a:masterClrMapping/>
  </p:clrMapOvr>
  <p:transition spd="slow">
    <p:circl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6" descr="offset_379195.jpg">
            <a:extLst>
              <a:ext uri="{FF2B5EF4-FFF2-40B4-BE49-F238E27FC236}">
                <a16:creationId xmlns:a16="http://schemas.microsoft.com/office/drawing/2014/main" id="{441CFFA5-F33D-42B0-B8C6-2D69B3D6194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11598" r="12871" b="14888"/>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a:extLst>
              <a:ext uri="{FF2B5EF4-FFF2-40B4-BE49-F238E27FC236}">
                <a16:creationId xmlns:a16="http://schemas.microsoft.com/office/drawing/2014/main" id="{62E229C1-D487-477B-9608-C4226CA3FB86}"/>
              </a:ext>
            </a:extLst>
          </p:cNvPr>
          <p:cNvSpPr>
            <a:spLocks noChangeArrowheads="1"/>
          </p:cNvSpPr>
          <p:nvPr userDrawn="1"/>
        </p:nvSpPr>
        <p:spPr bwMode="auto">
          <a:xfrm>
            <a:off x="201613" y="0"/>
            <a:ext cx="4573587" cy="5143500"/>
          </a:xfrm>
          <a:prstGeom prst="rect">
            <a:avLst/>
          </a:prstGeom>
          <a:solidFill>
            <a:srgbClr val="000000">
              <a:alpha val="65881"/>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hangingPunct="1">
              <a:buClr>
                <a:schemeClr val="accent2"/>
              </a:buClr>
              <a:buFont typeface="Wingdings 2" panose="05020102010507070707" pitchFamily="18" charset="2"/>
              <a:buNone/>
            </a:pPr>
            <a:endParaRPr lang="en-US" altLang="en-US"/>
          </a:p>
        </p:txBody>
      </p:sp>
      <p:sp>
        <p:nvSpPr>
          <p:cNvPr id="5" name="TextBox 4">
            <a:extLst>
              <a:ext uri="{FF2B5EF4-FFF2-40B4-BE49-F238E27FC236}">
                <a16:creationId xmlns:a16="http://schemas.microsoft.com/office/drawing/2014/main" id="{22132188-93E5-48FA-8815-A8BE57454231}"/>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rPr>
              <a:t>© 2019 NetApp, Inc. Cisco, Inc. All rights reserved. </a:t>
            </a:r>
          </a:p>
        </p:txBody>
      </p:sp>
      <p:pic>
        <p:nvPicPr>
          <p:cNvPr id="6" name="Picture 9" descr="FlexPod_Reg_CMYK-withbubble.png">
            <a:extLst>
              <a:ext uri="{FF2B5EF4-FFF2-40B4-BE49-F238E27FC236}">
                <a16:creationId xmlns:a16="http://schemas.microsoft.com/office/drawing/2014/main" id="{F3A892F0-6BFF-468E-9D7A-9656B65683D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1713" y="230188"/>
            <a:ext cx="138112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211619" y="800100"/>
            <a:ext cx="3725381" cy="1980785"/>
          </a:xfrm>
          <a:prstGeom prst="rect">
            <a:avLst/>
          </a:prstGeom>
        </p:spPr>
        <p:txBody>
          <a:bodyPr anchor="t"/>
          <a:lstStyle>
            <a:lvl1pPr>
              <a:defRPr sz="28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83817142"/>
      </p:ext>
    </p:extLst>
  </p:cSld>
  <p:clrMapOvr>
    <a:masterClrMapping/>
  </p:clrMapOvr>
  <p:transition spd="slow">
    <p:circl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EC1B75B0-3CF2-416F-9378-5B2007FDC70A}"/>
              </a:ext>
            </a:extLst>
          </p:cNvPr>
          <p:cNvSpPr>
            <a:spLocks noChangeArrowheads="1"/>
          </p:cNvSpPr>
          <p:nvPr userDrawn="1"/>
        </p:nvSpPr>
        <p:spPr bwMode="auto">
          <a:xfrm>
            <a:off x="5195888" y="0"/>
            <a:ext cx="3948112" cy="5143500"/>
          </a:xfrm>
          <a:prstGeom prst="rect">
            <a:avLst/>
          </a:prstGeom>
          <a:solidFill>
            <a:srgbClr val="6FB533"/>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hangingPunct="1">
              <a:buClr>
                <a:schemeClr val="accent2"/>
              </a:buClr>
              <a:buFont typeface="Wingdings 2" panose="05020102010507070707" pitchFamily="18" charset="2"/>
              <a:buNone/>
            </a:pPr>
            <a:endParaRPr lang="en-US" altLang="en-US"/>
          </a:p>
        </p:txBody>
      </p:sp>
      <p:sp>
        <p:nvSpPr>
          <p:cNvPr id="5" name="TextBox 4">
            <a:extLst>
              <a:ext uri="{FF2B5EF4-FFF2-40B4-BE49-F238E27FC236}">
                <a16:creationId xmlns:a16="http://schemas.microsoft.com/office/drawing/2014/main" id="{3DC4E742-B954-43D5-BAA5-8880930EACC3}"/>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6" name="Picture 8" descr="FlexPod_Reg_CMYK-withbubble-white.png">
            <a:extLst>
              <a:ext uri="{FF2B5EF4-FFF2-40B4-BE49-F238E27FC236}">
                <a16:creationId xmlns:a16="http://schemas.microsoft.com/office/drawing/2014/main" id="{0C0BE41F-ADAC-4D9C-A271-D704676145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2480816284"/>
      </p:ext>
    </p:extLst>
  </p:cSld>
  <p:clrMapOvr>
    <a:masterClrMapping/>
  </p:clrMapOvr>
  <p:transition spd="slow">
    <p:circl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6" descr="Screen Shot 2016-07-13 at 2.54.46 PM.png">
            <a:extLst>
              <a:ext uri="{FF2B5EF4-FFF2-40B4-BE49-F238E27FC236}">
                <a16:creationId xmlns:a16="http://schemas.microsoft.com/office/drawing/2014/main" id="{2686BA72-E01B-410B-A344-BF08AA4D414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22597" r="31123" b="17479"/>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a:extLst>
              <a:ext uri="{FF2B5EF4-FFF2-40B4-BE49-F238E27FC236}">
                <a16:creationId xmlns:a16="http://schemas.microsoft.com/office/drawing/2014/main" id="{B586DA27-1347-470E-9B26-122556D593A4}"/>
              </a:ext>
            </a:extLst>
          </p:cNvPr>
          <p:cNvSpPr>
            <a:spLocks noChangeArrowheads="1"/>
          </p:cNvSpPr>
          <p:nvPr userDrawn="1"/>
        </p:nvSpPr>
        <p:spPr bwMode="auto">
          <a:xfrm>
            <a:off x="0" y="0"/>
            <a:ext cx="6985000" cy="5143500"/>
          </a:xfrm>
          <a:prstGeom prst="rect">
            <a:avLst/>
          </a:prstGeom>
          <a:solidFill>
            <a:srgbClr val="000000">
              <a:alpha val="7686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hangingPunct="1">
              <a:buClr>
                <a:schemeClr val="accent2"/>
              </a:buClr>
              <a:buFont typeface="Wingdings 2" panose="05020102010507070707" pitchFamily="18" charset="2"/>
              <a:buNone/>
            </a:pPr>
            <a:endParaRPr lang="en-US" altLang="en-US"/>
          </a:p>
        </p:txBody>
      </p:sp>
      <p:sp>
        <p:nvSpPr>
          <p:cNvPr id="5" name="TextBox 4">
            <a:extLst>
              <a:ext uri="{FF2B5EF4-FFF2-40B4-BE49-F238E27FC236}">
                <a16:creationId xmlns:a16="http://schemas.microsoft.com/office/drawing/2014/main" id="{E79F9DE5-1A0E-40FB-B990-3171E35F1EFF}"/>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rPr>
              <a:t>© 2019 NetApp, Inc. Cisco, Inc. All rights reserved. </a:t>
            </a:r>
          </a:p>
        </p:txBody>
      </p:sp>
      <p:pic>
        <p:nvPicPr>
          <p:cNvPr id="6" name="Picture 9" descr="FlexPod_Reg_CMYK-withbubble.png">
            <a:extLst>
              <a:ext uri="{FF2B5EF4-FFF2-40B4-BE49-F238E27FC236}">
                <a16:creationId xmlns:a16="http://schemas.microsoft.com/office/drawing/2014/main" id="{B19F4F69-773E-4B83-8FC7-FD0A7BF9614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1713" y="230188"/>
            <a:ext cx="138112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219074" y="800100"/>
            <a:ext cx="6415155" cy="1221792"/>
          </a:xfrm>
          <a:prstGeom prst="rect">
            <a:avLst/>
          </a:prstGeom>
        </p:spPr>
        <p:txBody>
          <a:bodyPr anchor="t"/>
          <a:lstStyle>
            <a:lvl1pPr>
              <a:defRPr sz="28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64125138"/>
      </p:ext>
    </p:extLst>
  </p:cSld>
  <p:clrMapOvr>
    <a:masterClrMapping/>
  </p:clrMapOvr>
  <p:transition spd="slow">
    <p:circl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627A2C0D-8C4F-43D2-A245-2C85D13906E5}"/>
              </a:ext>
            </a:extLst>
          </p:cNvPr>
          <p:cNvSpPr>
            <a:spLocks noChangeArrowheads="1"/>
          </p:cNvSpPr>
          <p:nvPr userDrawn="1"/>
        </p:nvSpPr>
        <p:spPr bwMode="auto">
          <a:xfrm>
            <a:off x="5195888" y="0"/>
            <a:ext cx="3948112" cy="5143500"/>
          </a:xfrm>
          <a:prstGeom prst="rect">
            <a:avLst/>
          </a:prstGeom>
          <a:solidFill>
            <a:srgbClr val="3C39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hangingPunct="1">
              <a:buClr>
                <a:schemeClr val="accent2"/>
              </a:buClr>
              <a:buFont typeface="Wingdings 2" panose="05020102010507070707" pitchFamily="18" charset="2"/>
              <a:buNone/>
            </a:pPr>
            <a:endParaRPr lang="en-US" altLang="en-US"/>
          </a:p>
        </p:txBody>
      </p:sp>
      <p:sp>
        <p:nvSpPr>
          <p:cNvPr id="5" name="TextBox 4">
            <a:extLst>
              <a:ext uri="{FF2B5EF4-FFF2-40B4-BE49-F238E27FC236}">
                <a16:creationId xmlns:a16="http://schemas.microsoft.com/office/drawing/2014/main" id="{D121CCB8-1124-4DA0-8CF9-4E5B4E1E89C9}"/>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6" name="Picture 8" descr="FlexPod_Reg_CMYK-withbubble-white.png">
            <a:extLst>
              <a:ext uri="{FF2B5EF4-FFF2-40B4-BE49-F238E27FC236}">
                <a16:creationId xmlns:a16="http://schemas.microsoft.com/office/drawing/2014/main" id="{7E5E6130-E2D6-451C-8CC0-769D9225B72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1979104703"/>
      </p:ext>
    </p:extLst>
  </p:cSld>
  <p:clrMapOvr>
    <a:masterClrMapping/>
  </p:clrMapOvr>
  <p:transition spd="slow">
    <p:circl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A21EA4C6-1239-4259-8AFC-86AC80326FE7}"/>
              </a:ext>
            </a:extLst>
          </p:cNvPr>
          <p:cNvSpPr>
            <a:spLocks noChangeArrowheads="1"/>
          </p:cNvSpPr>
          <p:nvPr userDrawn="1"/>
        </p:nvSpPr>
        <p:spPr bwMode="auto">
          <a:xfrm>
            <a:off x="5195888" y="0"/>
            <a:ext cx="3948112" cy="5143500"/>
          </a:xfrm>
          <a:prstGeom prst="rect">
            <a:avLst/>
          </a:prstGeom>
          <a:solidFill>
            <a:srgbClr val="0B5687"/>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hangingPunct="1">
              <a:buClr>
                <a:schemeClr val="accent2"/>
              </a:buClr>
              <a:buFont typeface="Wingdings 2" panose="05020102010507070707" pitchFamily="18" charset="2"/>
              <a:buNone/>
            </a:pPr>
            <a:endParaRPr lang="en-US" altLang="en-US"/>
          </a:p>
        </p:txBody>
      </p:sp>
      <p:sp>
        <p:nvSpPr>
          <p:cNvPr id="5" name="TextBox 4">
            <a:extLst>
              <a:ext uri="{FF2B5EF4-FFF2-40B4-BE49-F238E27FC236}">
                <a16:creationId xmlns:a16="http://schemas.microsoft.com/office/drawing/2014/main" id="{5A64B3C2-2180-4197-BE7D-2826A3817C72}"/>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solidFill>
              </a:rPr>
              <a:t>© 2019 NetApp, Inc. Cisco, Inc. All rights reserved. </a:t>
            </a:r>
          </a:p>
        </p:txBody>
      </p:sp>
      <p:pic>
        <p:nvPicPr>
          <p:cNvPr id="6" name="Picture 8" descr="FlexPod_Reg_CMYK-withbubble-white.png">
            <a:extLst>
              <a:ext uri="{FF2B5EF4-FFF2-40B4-BE49-F238E27FC236}">
                <a16:creationId xmlns:a16="http://schemas.microsoft.com/office/drawing/2014/main" id="{8F21EE50-107C-4E2C-9A33-1658D99E1D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54888" y="228600"/>
            <a:ext cx="13779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4"/>
          <p:cNvSpPr>
            <a:spLocks noGrp="1"/>
          </p:cNvSpPr>
          <p:nvPr>
            <p:ph sz="quarter" idx="10"/>
          </p:nvPr>
        </p:nvSpPr>
        <p:spPr>
          <a:xfrm>
            <a:off x="228755" y="1835150"/>
            <a:ext cx="4458656" cy="3157305"/>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2930" y="758325"/>
            <a:ext cx="4526124" cy="1035050"/>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556686505"/>
      </p:ext>
    </p:extLst>
  </p:cSld>
  <p:clrMapOvr>
    <a:masterClrMapping/>
  </p:clrMapOvr>
  <p:transition spd="slow">
    <p:circl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19591" y="1846515"/>
            <a:ext cx="8696960" cy="2372961"/>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3245" y="758325"/>
            <a:ext cx="8617693" cy="419719"/>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
        <p:nvSpPr>
          <p:cNvPr id="10" name="Text Placeholder 2"/>
          <p:cNvSpPr>
            <a:spLocks noGrp="1"/>
          </p:cNvSpPr>
          <p:nvPr>
            <p:ph type="body" idx="11"/>
          </p:nvPr>
        </p:nvSpPr>
        <p:spPr bwMode="gray">
          <a:xfrm>
            <a:off x="153245" y="1196009"/>
            <a:ext cx="7078323" cy="301756"/>
          </a:xfrm>
          <a:prstGeom prst="rect">
            <a:avLst/>
          </a:prstGeom>
        </p:spPr>
        <p:txBody>
          <a:bodyPr lIns="68630" tIns="34319" rIns="68630" bIns="34319">
            <a:noAutofit/>
          </a:bodyPr>
          <a:lstStyle>
            <a:lvl1pPr marL="0" indent="0">
              <a:spcBef>
                <a:spcPts val="0"/>
              </a:spcBef>
              <a:spcAft>
                <a:spcPts val="0"/>
              </a:spcAft>
              <a:buNone/>
              <a:defRPr sz="1800" b="0">
                <a:solidFill>
                  <a:srgbClr val="95918F"/>
                </a:solidFill>
              </a:defRPr>
            </a:lvl1pPr>
            <a:lvl2pPr marL="343145" indent="0">
              <a:buNone/>
              <a:defRPr sz="1500" b="1"/>
            </a:lvl2pPr>
            <a:lvl3pPr marL="686293" indent="0">
              <a:buNone/>
              <a:defRPr sz="1400" b="1"/>
            </a:lvl3pPr>
            <a:lvl4pPr marL="1029438" indent="0">
              <a:buNone/>
              <a:defRPr sz="1200" b="1"/>
            </a:lvl4pPr>
            <a:lvl5pPr marL="1372585" indent="0">
              <a:buNone/>
              <a:defRPr sz="1200" b="1"/>
            </a:lvl5pPr>
            <a:lvl6pPr marL="1715728" indent="0">
              <a:buNone/>
              <a:defRPr sz="1200" b="1"/>
            </a:lvl6pPr>
            <a:lvl7pPr marL="2058878" indent="0">
              <a:buNone/>
              <a:defRPr sz="1200" b="1"/>
            </a:lvl7pPr>
            <a:lvl8pPr marL="2402020" indent="0">
              <a:buNone/>
              <a:defRPr sz="1200" b="1"/>
            </a:lvl8pPr>
            <a:lvl9pPr marL="2745164" indent="0">
              <a:buNone/>
              <a:defRPr sz="1200" b="1"/>
            </a:lvl9pPr>
          </a:lstStyle>
          <a:p>
            <a:pPr lvl="0"/>
            <a:r>
              <a:rPr lang="en-US"/>
              <a:t>Edit Master text styles</a:t>
            </a:r>
          </a:p>
        </p:txBody>
      </p:sp>
    </p:spTree>
    <p:extLst>
      <p:ext uri="{BB962C8B-B14F-4D97-AF65-F5344CB8AC3E}">
        <p14:creationId xmlns:p14="http://schemas.microsoft.com/office/powerpoint/2010/main" val="710137349"/>
      </p:ext>
    </p:extLst>
  </p:cSld>
  <p:clrMapOvr>
    <a:masterClrMapping/>
  </p:clrMapOvr>
  <p:transition spd="slow">
    <p:circl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4"/>
          <p:cNvSpPr>
            <a:spLocks noGrp="1"/>
          </p:cNvSpPr>
          <p:nvPr>
            <p:ph sz="quarter" idx="10"/>
          </p:nvPr>
        </p:nvSpPr>
        <p:spPr>
          <a:xfrm>
            <a:off x="228754" y="1597354"/>
            <a:ext cx="8696960" cy="2871283"/>
          </a:xfrm>
          <a:prstGeom prst="rect">
            <a:avLst/>
          </a:prstGeom>
        </p:spPr>
        <p:txBody>
          <a:bodyPr>
            <a:noAutofit/>
          </a:bodyPr>
          <a:lstStyle>
            <a:lvl1pPr marL="233321" indent="-233321">
              <a:spcBef>
                <a:spcPts val="600"/>
              </a:spcBef>
              <a:defRPr>
                <a:solidFill>
                  <a:srgbClr val="000000"/>
                </a:solidFill>
              </a:defRPr>
            </a:lvl1pPr>
            <a:lvl2pPr marL="457118" indent="-233321">
              <a:spcBef>
                <a:spcPts val="400"/>
              </a:spcBef>
              <a:defRPr>
                <a:solidFill>
                  <a:srgbClr val="000000"/>
                </a:solidFill>
              </a:defRPr>
            </a:lvl2pPr>
            <a:lvl3pPr marL="693619" indent="-228558">
              <a:spcBef>
                <a:spcPts val="400"/>
              </a:spcBef>
              <a:defRPr sz="1800">
                <a:solidFill>
                  <a:srgbClr val="000000"/>
                </a:solidFill>
              </a:defRPr>
            </a:lvl3pPr>
            <a:lvl4pPr marL="917414" indent="-228558">
              <a:spcBef>
                <a:spcPts val="400"/>
              </a:spcBef>
              <a:defRPr sz="1600">
                <a:solidFill>
                  <a:srgbClr val="000000"/>
                </a:solidFill>
              </a:defRPr>
            </a:lvl4pPr>
            <a:lvl5pPr marL="1150739" indent="-228558">
              <a:spcBef>
                <a:spcPts val="400"/>
              </a:spcBef>
              <a:defRPr sz="16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6"/>
          <p:cNvSpPr>
            <a:spLocks noGrp="1"/>
          </p:cNvSpPr>
          <p:nvPr>
            <p:ph type="title"/>
          </p:nvPr>
        </p:nvSpPr>
        <p:spPr>
          <a:xfrm>
            <a:off x="152930" y="758324"/>
            <a:ext cx="8618008" cy="482601"/>
          </a:xfrm>
          <a:prstGeom prst="rect">
            <a:avLst/>
          </a:prstGeom>
        </p:spPr>
        <p:txBody>
          <a:bodyPr lIns="68630" tIns="34319" rIns="68630" bIns="34319" rtlCol="0" anchor="t">
            <a:noAutofit/>
          </a:bodyPr>
          <a:lstStyle>
            <a:lvl1pPr>
              <a:lnSpc>
                <a:spcPct val="100000"/>
              </a:lnSpc>
              <a:defRPr lang="en-US" sz="2800" b="1" baseline="0"/>
            </a:lvl1pPr>
          </a:lstStyle>
          <a:p>
            <a:pPr lvl="0"/>
            <a:r>
              <a:rPr lang="en-US"/>
              <a:t>Click to edit Master title style</a:t>
            </a:r>
            <a:endParaRPr lang="en-US" dirty="0"/>
          </a:p>
        </p:txBody>
      </p:sp>
    </p:spTree>
    <p:extLst>
      <p:ext uri="{BB962C8B-B14F-4D97-AF65-F5344CB8AC3E}">
        <p14:creationId xmlns:p14="http://schemas.microsoft.com/office/powerpoint/2010/main" val="3226957888"/>
      </p:ext>
    </p:extLst>
  </p:cSld>
  <p:clrMapOvr>
    <a:masterClrMapping/>
  </p:clrMapOvr>
  <p:transition spd="slow">
    <p:circl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4174978"/>
      </p:ext>
    </p:extLst>
  </p:cSld>
  <p:clrMapOvr>
    <a:masterClrMapping/>
  </p:clrMapOvr>
  <p:transition spd="slow">
    <p:circl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image" Target="../media/image3.png"/><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theme" Target="../theme/theme10.xml"/><Relationship Id="rId8" Type="http://schemas.openxmlformats.org/officeDocument/2006/relationships/slideLayout" Target="../slideLayouts/slideLayout15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1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theme" Target="../theme/theme1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image" Target="../media/image14.png"/><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image" Target="../media/image3.png"/><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theme" Target="../theme/theme14.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3" Type="http://schemas.openxmlformats.org/officeDocument/2006/relationships/slideLayout" Target="../slideLayouts/slideLayout264.xml"/><Relationship Id="rId21" Type="http://schemas.openxmlformats.org/officeDocument/2006/relationships/theme" Target="../theme/theme15.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image" Target="../media/image53.png"/><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image" Target="../media/image5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theme" Target="../theme/theme16.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3" Type="http://schemas.openxmlformats.org/officeDocument/2006/relationships/slideLayout" Target="../slideLayouts/slideLayout307.xml"/><Relationship Id="rId21" Type="http://schemas.openxmlformats.org/officeDocument/2006/relationships/theme" Target="../theme/theme17.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image" Target="../media/image53.png"/><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image" Target="../media/image5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2" Type="http://schemas.openxmlformats.org/officeDocument/2006/relationships/slideLayout" Target="../slideLayouts/slideLayout326.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5" Type="http://schemas.openxmlformats.org/officeDocument/2006/relationships/image" Target="../media/image94.png"/><Relationship Id="rId10" Type="http://schemas.openxmlformats.org/officeDocument/2006/relationships/slideLayout" Target="../slideLayouts/slideLayout334.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image" Target="../media/image3.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9" Type="http://schemas.openxmlformats.org/officeDocument/2006/relationships/image" Target="../media/image1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39.pn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theme" Target="../theme/theme7.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theme" Target="../theme/theme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21" Type="http://schemas.openxmlformats.org/officeDocument/2006/relationships/theme" Target="../theme/theme9.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image" Target="../media/image53.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image" Target="../media/image5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13AB3A-8AE5-49B3-873F-75D1511F3A83}"/>
              </a:ext>
            </a:extLst>
          </p:cNvPr>
          <p:cNvSpPr>
            <a:spLocks noGrp="1" noChangeArrowheads="1"/>
          </p:cNvSpPr>
          <p:nvPr>
            <p:ph type="title"/>
          </p:nvPr>
        </p:nvSpPr>
        <p:spPr bwMode="auto">
          <a:xfrm>
            <a:off x="196850" y="180975"/>
            <a:ext cx="8747125"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b"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393E716D-8F20-4AF2-9C08-415CD58788CD}"/>
              </a:ext>
            </a:extLst>
          </p:cNvPr>
          <p:cNvSpPr>
            <a:spLocks noGrp="1" noChangeArrowheads="1"/>
          </p:cNvSpPr>
          <p:nvPr>
            <p:ph type="body" idx="1"/>
          </p:nvPr>
        </p:nvSpPr>
        <p:spPr bwMode="auto">
          <a:xfrm>
            <a:off x="196850" y="1265238"/>
            <a:ext cx="874712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3" name="Slide Number Placeholder 5">
            <a:extLst>
              <a:ext uri="{FF2B5EF4-FFF2-40B4-BE49-F238E27FC236}">
                <a16:creationId xmlns:a16="http://schemas.microsoft.com/office/drawing/2014/main" id="{1D7C9CC4-82A5-4C0A-AB05-31BEFF8F2D99}"/>
              </a:ext>
            </a:extLst>
          </p:cNvPr>
          <p:cNvSpPr>
            <a:spLocks noGrp="1"/>
          </p:cNvSpPr>
          <p:nvPr>
            <p:ph type="sldNum" sz="quarter" idx="4"/>
          </p:nvPr>
        </p:nvSpPr>
        <p:spPr>
          <a:xfrm>
            <a:off x="220663" y="4846638"/>
            <a:ext cx="336550" cy="195262"/>
          </a:xfrm>
          <a:prstGeom prst="rect">
            <a:avLst/>
          </a:prstGeom>
        </p:spPr>
        <p:txBody>
          <a:bodyPr vert="horz" wrap="square" lIns="91521" tIns="45761" rIns="91521" bIns="45761" numCol="1" anchor="b" anchorCtr="0" compatLnSpc="1">
            <a:prstTxWarp prst="textNoShape">
              <a:avLst/>
            </a:prstTxWarp>
            <a:noAutofit/>
          </a:bodyPr>
          <a:lstStyle>
            <a:lvl1pPr>
              <a:defRPr sz="700" b="1">
                <a:solidFill>
                  <a:srgbClr val="4E5252"/>
                </a:solidFill>
                <a:latin typeface="Arial" panose="020B0604020202020204" pitchFamily="34" charset="0"/>
              </a:defRPr>
            </a:lvl1pPr>
          </a:lstStyle>
          <a:p>
            <a:pPr>
              <a:defRPr/>
            </a:pPr>
            <a:fld id="{8133312F-22D9-448F-B8DA-8FEE56798A50}" type="slidenum">
              <a:rPr lang="en-US" altLang="en-US"/>
              <a:pPr>
                <a:defRPr/>
              </a:pPr>
              <a:t>‹#›</a:t>
            </a:fld>
            <a:endParaRPr lang="en-US" altLang="en-US"/>
          </a:p>
        </p:txBody>
      </p:sp>
      <p:sp>
        <p:nvSpPr>
          <p:cNvPr id="6" name="TextBox 5">
            <a:extLst>
              <a:ext uri="{FF2B5EF4-FFF2-40B4-BE49-F238E27FC236}">
                <a16:creationId xmlns:a16="http://schemas.microsoft.com/office/drawing/2014/main" id="{4F782351-291A-3C44-8568-00708C020FA5}"/>
              </a:ext>
            </a:extLst>
          </p:cNvPr>
          <p:cNvSpPr txBox="1"/>
          <p:nvPr userDrawn="1"/>
        </p:nvSpPr>
        <p:spPr>
          <a:xfrm>
            <a:off x="5562600" y="4897438"/>
            <a:ext cx="3281363" cy="184150"/>
          </a:xfrm>
          <a:prstGeom prst="rect">
            <a:avLst/>
          </a:prstGeom>
          <a:noFill/>
        </p:spPr>
        <p:txBody>
          <a:bodyPr>
            <a:spAutoFit/>
          </a:bodyPr>
          <a:lstStyle/>
          <a:p>
            <a:pPr algn="r" eaLnBrk="1" hangingPunct="1">
              <a:buClr>
                <a:schemeClr val="accent3"/>
              </a:buClr>
              <a:defRPr/>
            </a:pPr>
            <a:r>
              <a:rPr lang="en-US" sz="600" dirty="0">
                <a:latin typeface="Arial" charset="0"/>
              </a:rPr>
              <a:t>© 2020 Cisco and NetApp. All rights reserved.</a:t>
            </a:r>
          </a:p>
        </p:txBody>
      </p:sp>
    </p:spTree>
  </p:cSld>
  <p:clrMap bg1="lt1" tx1="dk1" bg2="lt2" tx2="dk2" accent1="accent1" accent2="accent2" accent3="accent3" accent4="accent4" accent5="accent5" accent6="accent6" hlink="hlink" folHlink="folHlink"/>
  <p:sldLayoutIdLst>
    <p:sldLayoutId id="2147489468" r:id="rId1"/>
    <p:sldLayoutId id="2147489470" r:id="rId2"/>
    <p:sldLayoutId id="2147489473" r:id="rId3"/>
    <p:sldLayoutId id="2147489475" r:id="rId4"/>
    <p:sldLayoutId id="2147489602" r:id="rId5"/>
    <p:sldLayoutId id="2147489603" r:id="rId6"/>
    <p:sldLayoutId id="2147489609" r:id="rId7"/>
    <p:sldLayoutId id="2147489635" r:id="rId8"/>
    <p:sldLayoutId id="2147489782" r:id="rId9"/>
  </p:sldLayoutIdLst>
  <p:transition spd="med">
    <p:fade/>
  </p:transition>
  <p:hf hdr="0" dt="0"/>
  <p:txStyles>
    <p:titleStyle>
      <a:lvl1pPr algn="l" defTabSz="685800" rtl="0" eaLnBrk="0" fontAlgn="base" hangingPunct="0">
        <a:lnSpc>
          <a:spcPct val="80000"/>
        </a:lnSpc>
        <a:spcBef>
          <a:spcPct val="0"/>
        </a:spcBef>
        <a:spcAft>
          <a:spcPct val="0"/>
        </a:spcAft>
        <a:defRPr sz="2200"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p:titleStyle>
    <p:bodyStyle>
      <a:lvl1pPr marL="176213" indent="-176213" algn="l" defTabSz="685800" rtl="0" eaLnBrk="0" fontAlgn="base" hangingPunct="0">
        <a:lnSpc>
          <a:spcPct val="95000"/>
        </a:lnSpc>
        <a:spcBef>
          <a:spcPts val="90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1pPr>
      <a:lvl2pPr marL="342900" indent="-171450" algn="l" defTabSz="685800" rtl="0" eaLnBrk="0" fontAlgn="base" hangingPunct="0">
        <a:lnSpc>
          <a:spcPct val="90000"/>
        </a:lnSpc>
        <a:spcBef>
          <a:spcPts val="150"/>
        </a:spcBef>
        <a:spcAft>
          <a:spcPts val="300"/>
        </a:spcAft>
        <a:buClr>
          <a:srgbClr val="595959"/>
        </a:buClr>
        <a:buFont typeface="Wingdings" panose="05000000000000000000" pitchFamily="2" charset="2"/>
        <a:buChar char="§"/>
        <a:defRPr sz="1300" kern="1200">
          <a:solidFill>
            <a:schemeClr val="tx1"/>
          </a:solidFill>
          <a:latin typeface="+mn-lt"/>
          <a:ea typeface="+mn-ea"/>
          <a:cs typeface="+mn-cs"/>
        </a:defRPr>
      </a:lvl2pPr>
      <a:lvl3pPr marL="51435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200" kern="1200">
          <a:solidFill>
            <a:schemeClr val="tx1"/>
          </a:solidFill>
          <a:latin typeface="+mn-lt"/>
          <a:ea typeface="+mn-ea"/>
          <a:cs typeface="+mn-cs"/>
        </a:defRPr>
      </a:lvl3pPr>
      <a:lvl4pPr marL="68580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000" kern="1200">
          <a:solidFill>
            <a:schemeClr val="tx1"/>
          </a:solidFill>
          <a:latin typeface="+mn-lt"/>
          <a:ea typeface="+mn-ea"/>
          <a:cs typeface="+mn-cs"/>
        </a:defRPr>
      </a:lvl4pPr>
      <a:lvl5pPr marL="814388" indent="-128588"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6" name="Rectangle 12"/>
          <p:cNvSpPr>
            <a:spLocks noGrp="1" noChangeArrowheads="1"/>
          </p:cNvSpPr>
          <p:nvPr>
            <p:ph type="body" idx="1"/>
          </p:nvPr>
        </p:nvSpPr>
        <p:spPr bwMode="auto">
          <a:xfrm>
            <a:off x="219075" y="1835150"/>
            <a:ext cx="8337550"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ext</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27" name="Rectangle 11"/>
          <p:cNvSpPr>
            <a:spLocks noGrp="1" noChangeArrowheads="1"/>
          </p:cNvSpPr>
          <p:nvPr>
            <p:ph type="title"/>
          </p:nvPr>
        </p:nvSpPr>
        <p:spPr bwMode="auto">
          <a:xfrm>
            <a:off x="219075" y="655638"/>
            <a:ext cx="8337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pic>
        <p:nvPicPr>
          <p:cNvPr id="1029" name="Picture 6" descr="FlexPod_Reg_CMYK-withbubble.png"/>
          <p:cNvPicPr>
            <a:picLocks noChangeAspect="1"/>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E3B8AF89-4D3F-4FD0-9D93-BA3EAE3C9D78}"/>
              </a:ext>
            </a:extLst>
          </p:cNvPr>
          <p:cNvSpPr/>
          <p:nvPr userDrawn="1"/>
        </p:nvSpPr>
        <p:spPr>
          <a:xfrm>
            <a:off x="5105400" y="4937125"/>
            <a:ext cx="3932211" cy="184666"/>
          </a:xfrm>
          <a:prstGeom prst="rect">
            <a:avLst/>
          </a:prstGeom>
        </p:spPr>
        <p:txBody>
          <a:bodyPr wrap="square">
            <a:spAutoFit/>
          </a:bodyPr>
          <a:lstStyle/>
          <a:p>
            <a:pPr marL="0" marR="0" algn="r">
              <a:spcBef>
                <a:spcPts val="0"/>
              </a:spcBef>
              <a:spcAft>
                <a:spcPts val="0"/>
              </a:spcAft>
            </a:pPr>
            <a:r>
              <a:rPr lang="en-US" sz="600" dirty="0">
                <a:solidFill>
                  <a:schemeClr val="tx1"/>
                </a:solidFill>
                <a:latin typeface="+mn-lt"/>
                <a:ea typeface="Calibri" panose="020F0502020204030204" pitchFamily="34" charset="0"/>
                <a:cs typeface="Calibri" panose="020F0502020204030204" pitchFamily="34" charset="0"/>
              </a:rPr>
              <a:t>© 2020 NetApp, Inc. Cisco, Inc. All rights reserved.</a:t>
            </a:r>
          </a:p>
        </p:txBody>
      </p:sp>
      <p:sp>
        <p:nvSpPr>
          <p:cNvPr id="10" name="Slide Number Placeholder 4">
            <a:extLst>
              <a:ext uri="{FF2B5EF4-FFF2-40B4-BE49-F238E27FC236}">
                <a16:creationId xmlns:a16="http://schemas.microsoft.com/office/drawing/2014/main" id="{737582AB-9F4B-48B8-AAC8-B0FCE20C4F30}"/>
              </a:ext>
            </a:extLst>
          </p:cNvPr>
          <p:cNvSpPr txBox="1">
            <a:spLocks/>
          </p:cNvSpPr>
          <p:nvPr userDrawn="1"/>
        </p:nvSpPr>
        <p:spPr>
          <a:xfrm>
            <a:off x="211911" y="4937757"/>
            <a:ext cx="448537" cy="260809"/>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fld id="{B071A5F3-A4FF-4CEE-8215-C08835B585C1}" type="slidenum">
              <a:rPr lang="en-US" sz="600" smtClean="0">
                <a:solidFill>
                  <a:schemeClr val="tx1"/>
                </a:solidFill>
                <a:latin typeface="+mn-lt"/>
              </a:rPr>
              <a:pPr/>
              <a:t>‹#›</a:t>
            </a:fld>
            <a:endParaRPr lang="en-US" sz="600">
              <a:solidFill>
                <a:schemeClr val="tx1"/>
              </a:solidFill>
              <a:latin typeface="+mn-lt"/>
            </a:endParaRPr>
          </a:p>
        </p:txBody>
      </p:sp>
    </p:spTree>
    <p:extLst>
      <p:ext uri="{BB962C8B-B14F-4D97-AF65-F5344CB8AC3E}">
        <p14:creationId xmlns:p14="http://schemas.microsoft.com/office/powerpoint/2010/main" val="2262713740"/>
      </p:ext>
    </p:extLst>
  </p:cSld>
  <p:clrMap bg1="lt1" tx1="dk1" bg2="lt2" tx2="dk2" accent1="accent1" accent2="accent2" accent3="accent3" accent4="accent4" accent5="accent5" accent6="accent6" hlink="hlink" folHlink="folHlink"/>
  <p:sldLayoutIdLst>
    <p:sldLayoutId id="2147489637" r:id="rId1"/>
    <p:sldLayoutId id="2147489638" r:id="rId2"/>
    <p:sldLayoutId id="2147489639" r:id="rId3"/>
    <p:sldLayoutId id="2147489640" r:id="rId4"/>
    <p:sldLayoutId id="2147489641" r:id="rId5"/>
    <p:sldLayoutId id="2147489642" r:id="rId6"/>
    <p:sldLayoutId id="2147489643" r:id="rId7"/>
    <p:sldLayoutId id="2147489644" r:id="rId8"/>
    <p:sldLayoutId id="2147489645" r:id="rId9"/>
    <p:sldLayoutId id="2147489646" r:id="rId10"/>
    <p:sldLayoutId id="2147489647" r:id="rId11"/>
    <p:sldLayoutId id="2147489648" r:id="rId12"/>
    <p:sldLayoutId id="2147489649" r:id="rId13"/>
    <p:sldLayoutId id="2147489650" r:id="rId14"/>
    <p:sldLayoutId id="2147489651" r:id="rId15"/>
    <p:sldLayoutId id="2147489652" r:id="rId16"/>
    <p:sldLayoutId id="2147489653" r:id="rId17"/>
    <p:sldLayoutId id="2147489654" r:id="rId18"/>
    <p:sldLayoutId id="2147489655" r:id="rId19"/>
    <p:sldLayoutId id="2147489656" r:id="rId20"/>
    <p:sldLayoutId id="2147489657" r:id="rId21"/>
    <p:sldLayoutId id="2147489658" r:id="rId22"/>
    <p:sldLayoutId id="2147489659" r:id="rId23"/>
    <p:sldLayoutId id="2147489660" r:id="rId24"/>
    <p:sldLayoutId id="2147489661" r:id="rId25"/>
    <p:sldLayoutId id="2147489662" r:id="rId26"/>
    <p:sldLayoutId id="2147489663" r:id="rId27"/>
    <p:sldLayoutId id="2147489664" r:id="rId28"/>
    <p:sldLayoutId id="2147489665" r:id="rId29"/>
    <p:sldLayoutId id="2147489667" r:id="rId30"/>
    <p:sldLayoutId id="2147489669" r:id="rId31"/>
    <p:sldLayoutId id="2147489670" r:id="rId32"/>
    <p:sldLayoutId id="2147489671" r:id="rId33"/>
    <p:sldLayoutId id="2147489672" r:id="rId34"/>
  </p:sldLayoutIdLst>
  <p:transition spd="slow">
    <p:circle/>
  </p:transition>
  <p:hf sldNum="0" hdr="0" dt="0"/>
  <p:txStyles>
    <p:titleStyle>
      <a:lvl1pPr algn="l" rtl="0" eaLnBrk="1" fontAlgn="base" hangingPunct="1">
        <a:spcBef>
          <a:spcPct val="0"/>
        </a:spcBef>
        <a:spcAft>
          <a:spcPct val="0"/>
        </a:spcAft>
        <a:defRPr sz="2800" b="1">
          <a:solidFill>
            <a:srgbClr val="000000"/>
          </a:solidFill>
          <a:latin typeface="+mj-lt"/>
          <a:ea typeface="+mj-ea"/>
          <a:cs typeface="+mj-cs"/>
        </a:defRPr>
      </a:lvl1pPr>
      <a:lvl2pPr algn="l" rtl="0" eaLnBrk="1" fontAlgn="base" hangingPunct="1">
        <a:spcBef>
          <a:spcPct val="0"/>
        </a:spcBef>
        <a:spcAft>
          <a:spcPct val="0"/>
        </a:spcAft>
        <a:defRPr sz="2800" b="1">
          <a:solidFill>
            <a:srgbClr val="000000"/>
          </a:solidFill>
          <a:latin typeface="Arial" charset="0"/>
        </a:defRPr>
      </a:lvl2pPr>
      <a:lvl3pPr algn="l" rtl="0" eaLnBrk="1" fontAlgn="base" hangingPunct="1">
        <a:spcBef>
          <a:spcPct val="0"/>
        </a:spcBef>
        <a:spcAft>
          <a:spcPct val="0"/>
        </a:spcAft>
        <a:defRPr sz="2800" b="1">
          <a:solidFill>
            <a:srgbClr val="000000"/>
          </a:solidFill>
          <a:latin typeface="Arial" charset="0"/>
        </a:defRPr>
      </a:lvl3pPr>
      <a:lvl4pPr algn="l" rtl="0" eaLnBrk="1" fontAlgn="base" hangingPunct="1">
        <a:spcBef>
          <a:spcPct val="0"/>
        </a:spcBef>
        <a:spcAft>
          <a:spcPct val="0"/>
        </a:spcAft>
        <a:defRPr sz="2800" b="1">
          <a:solidFill>
            <a:srgbClr val="000000"/>
          </a:solidFill>
          <a:latin typeface="Arial" charset="0"/>
        </a:defRPr>
      </a:lvl4pPr>
      <a:lvl5pPr algn="l" rtl="0" eaLnBrk="1" fontAlgn="base" hangingPunct="1">
        <a:spcBef>
          <a:spcPct val="0"/>
        </a:spcBef>
        <a:spcAft>
          <a:spcPct val="0"/>
        </a:spcAft>
        <a:defRPr sz="2800" b="1">
          <a:solidFill>
            <a:srgbClr val="000000"/>
          </a:solidFill>
          <a:latin typeface="Arial" charset="0"/>
        </a:defRPr>
      </a:lvl5pPr>
      <a:lvl6pPr marL="457118" algn="l" rtl="0" eaLnBrk="1" fontAlgn="base" hangingPunct="1">
        <a:spcBef>
          <a:spcPct val="0"/>
        </a:spcBef>
        <a:spcAft>
          <a:spcPct val="0"/>
        </a:spcAft>
        <a:defRPr sz="3000" b="1">
          <a:solidFill>
            <a:schemeClr val="tx1"/>
          </a:solidFill>
          <a:latin typeface="Arial" charset="0"/>
        </a:defRPr>
      </a:lvl6pPr>
      <a:lvl7pPr marL="914243" algn="l" rtl="0" eaLnBrk="1" fontAlgn="base" hangingPunct="1">
        <a:spcBef>
          <a:spcPct val="0"/>
        </a:spcBef>
        <a:spcAft>
          <a:spcPct val="0"/>
        </a:spcAft>
        <a:defRPr sz="3000" b="1">
          <a:solidFill>
            <a:schemeClr val="tx1"/>
          </a:solidFill>
          <a:latin typeface="Arial" charset="0"/>
        </a:defRPr>
      </a:lvl7pPr>
      <a:lvl8pPr marL="1371362" algn="l" rtl="0" eaLnBrk="1" fontAlgn="base" hangingPunct="1">
        <a:spcBef>
          <a:spcPct val="0"/>
        </a:spcBef>
        <a:spcAft>
          <a:spcPct val="0"/>
        </a:spcAft>
        <a:defRPr sz="3000" b="1">
          <a:solidFill>
            <a:schemeClr val="tx1"/>
          </a:solidFill>
          <a:latin typeface="Arial" charset="0"/>
        </a:defRPr>
      </a:lvl8pPr>
      <a:lvl9pPr marL="1828484" algn="l" rtl="0" eaLnBrk="1" fontAlgn="base" hangingPunct="1">
        <a:spcBef>
          <a:spcPct val="0"/>
        </a:spcBef>
        <a:spcAft>
          <a:spcPct val="0"/>
        </a:spcAft>
        <a:defRPr sz="3000" b="1">
          <a:solidFill>
            <a:schemeClr val="tx1"/>
          </a:solidFill>
          <a:latin typeface="Arial" charset="0"/>
        </a:defRPr>
      </a:lvl9pPr>
    </p:titleStyle>
    <p:bodyStyle>
      <a:lvl1pPr marL="296863" indent="-296863" algn="l" rtl="0" eaLnBrk="1" fontAlgn="base" hangingPunct="1">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5000" indent="-334963" algn="l" rtl="0" eaLnBrk="1" fontAlgn="base" hangingPunct="1">
        <a:spcBef>
          <a:spcPts val="625"/>
        </a:spcBef>
        <a:spcAft>
          <a:spcPct val="0"/>
        </a:spcAft>
        <a:buClr>
          <a:schemeClr val="tx1"/>
        </a:buClr>
        <a:buFont typeface="Lucida Grande"/>
        <a:buChar char="-"/>
        <a:defRPr sz="1600">
          <a:solidFill>
            <a:srgbClr val="000000"/>
          </a:solidFill>
          <a:latin typeface="+mn-lt"/>
        </a:defRPr>
      </a:lvl2pPr>
      <a:lvl3pPr marL="925513" indent="-287338" algn="l" rtl="0" eaLnBrk="1" fontAlgn="base" hangingPunct="1">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5075" indent="-306388" algn="l" rtl="0" eaLnBrk="1" fontAlgn="base" hangingPunct="1">
        <a:spcBef>
          <a:spcPts val="475"/>
        </a:spcBef>
        <a:spcAft>
          <a:spcPct val="0"/>
        </a:spcAft>
        <a:buClr>
          <a:schemeClr val="tx1"/>
        </a:buClr>
        <a:buFont typeface="Lucida Grande"/>
        <a:buChar char="-"/>
        <a:defRPr sz="1600">
          <a:solidFill>
            <a:srgbClr val="000000"/>
          </a:solidFill>
          <a:latin typeface="+mn-lt"/>
        </a:defRPr>
      </a:lvl4pPr>
      <a:lvl5pPr marL="1503363" indent="-265113" algn="l" rtl="0" eaLnBrk="1" fontAlgn="base" hangingPunct="1">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7274" y="180248"/>
            <a:ext cx="8574187" cy="678596"/>
          </a:xfrm>
          <a:prstGeom prst="rect">
            <a:avLst/>
          </a:prstGeom>
        </p:spPr>
        <p:txBody>
          <a:bodyPr vert="horz" wrap="square" lIns="91521" tIns="45761" rIns="91521" bIns="45761" rtlCol="0" anchor="b">
            <a:noAutofit/>
          </a:bodyPr>
          <a:lstStyle/>
          <a:p>
            <a:r>
              <a:rPr lang="en-US" dirty="0"/>
              <a:t>Click to edit Master title style</a:t>
            </a:r>
          </a:p>
        </p:txBody>
      </p:sp>
      <p:sp>
        <p:nvSpPr>
          <p:cNvPr id="3" name="Text Placeholder 2"/>
          <p:cNvSpPr>
            <a:spLocks noGrp="1"/>
          </p:cNvSpPr>
          <p:nvPr>
            <p:ph type="body" idx="1"/>
          </p:nvPr>
        </p:nvSpPr>
        <p:spPr>
          <a:xfrm>
            <a:off x="197274" y="1265076"/>
            <a:ext cx="8574187" cy="3360040"/>
          </a:xfrm>
          <a:prstGeom prst="rect">
            <a:avLst/>
          </a:prstGeom>
        </p:spPr>
        <p:txBody>
          <a:bodyPr vert="horz" wrap="square" lIns="91521" tIns="45761" rIns="91521" bIns="45761"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p:cNvSpPr/>
          <p:nvPr/>
        </p:nvSpPr>
        <p:spPr bwMode="gray">
          <a:xfrm rot="5400000">
            <a:off x="4537712" y="544916"/>
            <a:ext cx="6858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641" tIns="34321" rIns="68641" bIns="34321" rtlCol="0" anchor="ctr">
            <a:noAutofit/>
          </a:bodyPr>
          <a:lstStyle/>
          <a:p>
            <a:pPr algn="ctr"/>
            <a:endParaRPr lang="en-US" sz="1350" dirty="0"/>
          </a:p>
        </p:txBody>
      </p:sp>
      <p:sp>
        <p:nvSpPr>
          <p:cNvPr id="12" name="Footer Placeholder 4"/>
          <p:cNvSpPr>
            <a:spLocks noGrp="1"/>
          </p:cNvSpPr>
          <p:nvPr>
            <p:ph type="ftr" sz="quarter" idx="3"/>
          </p:nvPr>
        </p:nvSpPr>
        <p:spPr>
          <a:xfrm>
            <a:off x="501698" y="4854551"/>
            <a:ext cx="4905348" cy="180367"/>
          </a:xfrm>
          <a:prstGeom prst="rect">
            <a:avLst/>
          </a:prstGeom>
        </p:spPr>
        <p:txBody>
          <a:bodyPr vert="horz" wrap="square" lIns="91521" tIns="45761" rIns="91521" bIns="45761" rtlCol="0" anchor="b">
            <a:noAutofit/>
          </a:bodyPr>
          <a:lstStyle>
            <a:lvl1pPr>
              <a:defRPr lang="en-US" sz="525" smtClean="0">
                <a:solidFill>
                  <a:schemeClr val="bg2"/>
                </a:solidFill>
              </a:defRPr>
            </a:lvl1pPr>
          </a:lstStyle>
          <a:p>
            <a:r>
              <a:rPr lang="en-US" dirty="0"/>
              <a:t>© 2016 NetApp, Inc. All rights reserved. NetApp Confidential – Limited Use </a:t>
            </a: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fld id="{B071A5F3-A4FF-4CEE-8215-C08835B585C1}" type="slidenum">
              <a:rPr lang="en-US" smtClean="0"/>
              <a:pPr/>
              <a:t>‹#›</a:t>
            </a:fld>
            <a:endParaRPr lang="en-US" dirty="0"/>
          </a:p>
        </p:txBody>
      </p:sp>
    </p:spTree>
    <p:extLst>
      <p:ext uri="{BB962C8B-B14F-4D97-AF65-F5344CB8AC3E}">
        <p14:creationId xmlns:p14="http://schemas.microsoft.com/office/powerpoint/2010/main" val="201712279"/>
      </p:ext>
    </p:extLst>
  </p:cSld>
  <p:clrMap bg1="lt1" tx1="dk1" bg2="lt2" tx2="dk2" accent1="accent1" accent2="accent2" accent3="accent3" accent4="accent4" accent5="accent5" accent6="accent6" hlink="hlink" folHlink="folHlink"/>
  <p:sldLayoutIdLst>
    <p:sldLayoutId id="2147489674" r:id="rId1"/>
    <p:sldLayoutId id="2147489675" r:id="rId2"/>
    <p:sldLayoutId id="2147489676" r:id="rId3"/>
    <p:sldLayoutId id="2147489677" r:id="rId4"/>
    <p:sldLayoutId id="2147489678" r:id="rId5"/>
    <p:sldLayoutId id="2147489679" r:id="rId6"/>
    <p:sldLayoutId id="2147489680" r:id="rId7"/>
    <p:sldLayoutId id="2147489681" r:id="rId8"/>
    <p:sldLayoutId id="2147489682" r:id="rId9"/>
    <p:sldLayoutId id="2147489683" r:id="rId10"/>
    <p:sldLayoutId id="2147489684" r:id="rId11"/>
    <p:sldLayoutId id="2147489685" r:id="rId12"/>
    <p:sldLayoutId id="2147489686" r:id="rId13"/>
    <p:sldLayoutId id="2147489687" r:id="rId14"/>
    <p:sldLayoutId id="2147489688" r:id="rId15"/>
    <p:sldLayoutId id="2147489689" r:id="rId16"/>
    <p:sldLayoutId id="2147489690" r:id="rId17"/>
    <p:sldLayoutId id="2147489692" r:id="rId18"/>
  </p:sldLayoutIdLst>
  <p:transition spd="med">
    <p:fade/>
  </p:transition>
  <p:hf hdr="0" dt="0"/>
  <p:txStyles>
    <p:titleStyle>
      <a:lvl1pPr algn="l" defTabSz="686412" rtl="0" eaLnBrk="1" latinLnBrk="0" hangingPunct="1">
        <a:lnSpc>
          <a:spcPct val="80000"/>
        </a:lnSpc>
        <a:spcBef>
          <a:spcPct val="0"/>
        </a:spcBef>
        <a:buNone/>
        <a:defRPr sz="2250" b="0" kern="1200" baseline="0">
          <a:solidFill>
            <a:schemeClr val="tx1"/>
          </a:solidFill>
          <a:latin typeface="+mj-lt"/>
          <a:ea typeface="+mj-ea"/>
          <a:cs typeface="+mj-cs"/>
        </a:defRPr>
      </a:lvl1pPr>
    </p:titleStyle>
    <p:bodyStyle>
      <a:lvl1pPr marL="176369" indent="-176369" algn="l" defTabSz="686412" rtl="0" eaLnBrk="1" latinLnBrk="0" hangingPunct="1">
        <a:lnSpc>
          <a:spcPct val="95000"/>
        </a:lnSpc>
        <a:spcBef>
          <a:spcPts val="901"/>
        </a:spcBef>
        <a:spcAft>
          <a:spcPts val="300"/>
        </a:spcAft>
        <a:buClr>
          <a:schemeClr val="accent1"/>
        </a:buClr>
        <a:buFont typeface="Wingdings" panose="05000000000000000000" pitchFamily="2" charset="2"/>
        <a:buChar char="§"/>
        <a:defRPr sz="1650" kern="1200">
          <a:solidFill>
            <a:schemeClr val="tx1"/>
          </a:solidFill>
          <a:latin typeface="+mn-lt"/>
          <a:ea typeface="+mn-ea"/>
          <a:cs typeface="+mn-cs"/>
        </a:defRPr>
      </a:lvl1pPr>
      <a:lvl2pPr marL="343206" indent="-171603"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Char char="§"/>
        <a:defRPr sz="1350" kern="1200">
          <a:solidFill>
            <a:schemeClr val="tx1"/>
          </a:solidFill>
          <a:latin typeface="+mn-lt"/>
          <a:ea typeface="+mn-ea"/>
          <a:cs typeface="+mn-cs"/>
        </a:defRPr>
      </a:lvl2pPr>
      <a:lvl3pPr marL="514809"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200" kern="1200">
          <a:solidFill>
            <a:schemeClr val="tx1"/>
          </a:solidFill>
          <a:latin typeface="+mn-lt"/>
          <a:ea typeface="+mn-ea"/>
          <a:cs typeface="+mn-cs"/>
        </a:defRPr>
      </a:lvl3pPr>
      <a:lvl4pPr marL="686412"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050" kern="1200">
          <a:solidFill>
            <a:schemeClr val="tx1"/>
          </a:solidFill>
          <a:latin typeface="+mn-lt"/>
          <a:ea typeface="+mn-ea"/>
          <a:cs typeface="+mn-cs"/>
        </a:defRPr>
      </a:lvl4pPr>
      <a:lvl5pPr marL="815114" marR="0" indent="-128702"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Char char="§"/>
        <a:tabLst/>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7274" y="180248"/>
            <a:ext cx="8746228" cy="678596"/>
          </a:xfrm>
          <a:prstGeom prst="rect">
            <a:avLst/>
          </a:prstGeom>
        </p:spPr>
        <p:txBody>
          <a:bodyPr vert="horz" wrap="square" lIns="91521" tIns="45761" rIns="91521" bIns="45761" rtlCol="0" anchor="b">
            <a:noAutofit/>
          </a:bodyPr>
          <a:lstStyle/>
          <a:p>
            <a:r>
              <a:rPr lang="en-US" dirty="0"/>
              <a:t>Click to Edit Master Title Style</a:t>
            </a:r>
          </a:p>
        </p:txBody>
      </p:sp>
      <p:sp>
        <p:nvSpPr>
          <p:cNvPr id="3" name="Text Placeholder 2"/>
          <p:cNvSpPr>
            <a:spLocks noGrp="1"/>
          </p:cNvSpPr>
          <p:nvPr>
            <p:ph type="body" idx="1"/>
          </p:nvPr>
        </p:nvSpPr>
        <p:spPr>
          <a:xfrm>
            <a:off x="197274" y="1299801"/>
            <a:ext cx="8746228" cy="3360040"/>
          </a:xfrm>
          <a:prstGeom prst="rect">
            <a:avLst/>
          </a:prstGeom>
        </p:spPr>
        <p:txBody>
          <a:bodyPr vert="horz" wrap="square" lIns="91521" tIns="45761" rIns="91521" bIns="45761"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pPr defTabSz="686412"/>
            <a:r>
              <a:rPr lang="en-US">
                <a:solidFill>
                  <a:srgbClr val="A2A5A2">
                    <a:lumMod val="50000"/>
                  </a:srgbClr>
                </a:solidFill>
              </a:rPr>
              <a:t>© 2018 NetApp, Inc. All rights reserved.  </a:t>
            </a:r>
            <a:r>
              <a:rPr lang="en-US">
                <a:solidFill>
                  <a:srgbClr val="A2A5A2">
                    <a:lumMod val="50000"/>
                  </a:srgbClr>
                </a:solidFill>
                <a:cs typeface="Arial" panose="020B0604020202020204" pitchFamily="34" charset="0"/>
              </a:rPr>
              <a:t>— </a:t>
            </a:r>
            <a:r>
              <a:rPr lang="en-US">
                <a:solidFill>
                  <a:srgbClr val="A2A5A2">
                    <a:lumMod val="50000"/>
                  </a:srgbClr>
                </a:solidFill>
              </a:rPr>
              <a:t>NETAPP CONFIDENTIAL </a:t>
            </a:r>
            <a:r>
              <a:rPr lang="en-US">
                <a:solidFill>
                  <a:srgbClr val="A2A5A2">
                    <a:lumMod val="50000"/>
                  </a:srgbClr>
                </a:solidFill>
                <a:cs typeface="Arial" panose="020B0604020202020204" pitchFamily="34" charset="0"/>
              </a:rPr>
              <a:t>— </a:t>
            </a:r>
            <a:endParaRPr lang="en-US" dirty="0">
              <a:solidFill>
                <a:srgbClr val="A2A5A2">
                  <a:lumMod val="50000"/>
                </a:srgbClr>
              </a:solidFill>
            </a:endParaRP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pPr defTabSz="686412"/>
            <a:fld id="{B071A5F3-A4FF-4CEE-8215-C08835B585C1}" type="slidenum">
              <a:rPr lang="en-US" smtClean="0">
                <a:solidFill>
                  <a:srgbClr val="A2A5A2">
                    <a:lumMod val="50000"/>
                  </a:srgbClr>
                </a:solidFill>
              </a:rPr>
              <a:pPr defTabSz="686412"/>
              <a:t>‹#›</a:t>
            </a:fld>
            <a:endParaRPr lang="en-US" dirty="0">
              <a:solidFill>
                <a:srgbClr val="A2A5A2">
                  <a:lumMod val="50000"/>
                </a:srgbClr>
              </a:solidFill>
            </a:endParaRPr>
          </a:p>
        </p:txBody>
      </p:sp>
    </p:spTree>
    <p:extLst>
      <p:ext uri="{BB962C8B-B14F-4D97-AF65-F5344CB8AC3E}">
        <p14:creationId xmlns:p14="http://schemas.microsoft.com/office/powerpoint/2010/main" val="3243747988"/>
      </p:ext>
    </p:extLst>
  </p:cSld>
  <p:clrMap bg1="lt1" tx1="dk1" bg2="lt2" tx2="dk2" accent1="accent1" accent2="accent2" accent3="accent3" accent4="accent4" accent5="accent5" accent6="accent6" hlink="hlink" folHlink="folHlink"/>
  <p:sldLayoutIdLst>
    <p:sldLayoutId id="2147489696" r:id="rId1"/>
    <p:sldLayoutId id="2147489697" r:id="rId2"/>
    <p:sldLayoutId id="2147489698" r:id="rId3"/>
    <p:sldLayoutId id="2147489699" r:id="rId4"/>
    <p:sldLayoutId id="2147489700" r:id="rId5"/>
    <p:sldLayoutId id="2147489701" r:id="rId6"/>
    <p:sldLayoutId id="2147489702" r:id="rId7"/>
    <p:sldLayoutId id="2147489703" r:id="rId8"/>
    <p:sldLayoutId id="2147489704" r:id="rId9"/>
    <p:sldLayoutId id="2147489705" r:id="rId10"/>
    <p:sldLayoutId id="2147489706" r:id="rId11"/>
    <p:sldLayoutId id="2147489707" r:id="rId12"/>
    <p:sldLayoutId id="2147489708" r:id="rId13"/>
    <p:sldLayoutId id="2147489709" r:id="rId14"/>
    <p:sldLayoutId id="2147489710" r:id="rId15"/>
    <p:sldLayoutId id="2147489711" r:id="rId16"/>
    <p:sldLayoutId id="2147489712" r:id="rId17"/>
    <p:sldLayoutId id="2147489713" r:id="rId18"/>
    <p:sldLayoutId id="2147489714" r:id="rId19"/>
    <p:sldLayoutId id="2147489715" r:id="rId20"/>
    <p:sldLayoutId id="2147489716" r:id="rId21"/>
    <p:sldLayoutId id="2147489717" r:id="rId22"/>
  </p:sldLayoutIdLst>
  <p:transition spd="med">
    <p:fade/>
  </p:transition>
  <p:hf hdr="0" dt="0"/>
  <p:txStyles>
    <p:titleStyle>
      <a:lvl1pPr algn="l" defTabSz="686412" rtl="0" eaLnBrk="1" latinLnBrk="0" hangingPunct="1">
        <a:lnSpc>
          <a:spcPct val="80000"/>
        </a:lnSpc>
        <a:spcBef>
          <a:spcPct val="0"/>
        </a:spcBef>
        <a:buNone/>
        <a:defRPr sz="2250" b="0" kern="1200" baseline="0">
          <a:solidFill>
            <a:schemeClr val="tx1"/>
          </a:solidFill>
          <a:latin typeface="+mj-lt"/>
          <a:ea typeface="+mj-ea"/>
          <a:cs typeface="+mj-cs"/>
        </a:defRPr>
      </a:lvl1pPr>
    </p:titleStyle>
    <p:bodyStyle>
      <a:lvl1pPr marL="176369" indent="-176369" algn="l" defTabSz="686412" rtl="0" eaLnBrk="1" latinLnBrk="0" hangingPunct="1">
        <a:lnSpc>
          <a:spcPct val="95000"/>
        </a:lnSpc>
        <a:spcBef>
          <a:spcPts val="900"/>
        </a:spcBef>
        <a:spcAft>
          <a:spcPts val="300"/>
        </a:spcAft>
        <a:buClr>
          <a:schemeClr val="accent1"/>
        </a:buClr>
        <a:buFont typeface="Wingdings" panose="05000000000000000000" pitchFamily="2" charset="2"/>
        <a:buChar char="§"/>
        <a:defRPr sz="1650" kern="1200">
          <a:solidFill>
            <a:schemeClr val="tx1"/>
          </a:solidFill>
          <a:latin typeface="+mn-lt"/>
          <a:ea typeface="+mn-ea"/>
          <a:cs typeface="+mn-cs"/>
        </a:defRPr>
      </a:lvl1pPr>
      <a:lvl2pPr marL="343206" indent="-171603"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Char char="§"/>
        <a:defRPr sz="1350" kern="1200">
          <a:solidFill>
            <a:schemeClr val="tx1"/>
          </a:solidFill>
          <a:latin typeface="+mn-lt"/>
          <a:ea typeface="+mn-ea"/>
          <a:cs typeface="+mn-cs"/>
        </a:defRPr>
      </a:lvl2pPr>
      <a:lvl3pPr marL="514809"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200" kern="1200">
          <a:solidFill>
            <a:schemeClr val="tx1"/>
          </a:solidFill>
          <a:latin typeface="+mn-lt"/>
          <a:ea typeface="+mn-ea"/>
          <a:cs typeface="+mn-cs"/>
        </a:defRPr>
      </a:lvl3pPr>
      <a:lvl4pPr marL="686412"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050" kern="1200">
          <a:solidFill>
            <a:schemeClr val="tx1"/>
          </a:solidFill>
          <a:latin typeface="+mn-lt"/>
          <a:ea typeface="+mn-ea"/>
          <a:cs typeface="+mn-cs"/>
        </a:defRPr>
      </a:lvl4pPr>
      <a:lvl5pPr marL="815114" marR="0" indent="-128702"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Char char="§"/>
        <a:tabLst/>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39">
          <p15:clr>
            <a:srgbClr val="F26B43"/>
          </p15:clr>
        </p15:guide>
        <p15:guide id="3" orient="horz" pos="1283">
          <p15:clr>
            <a:srgbClr val="F26B43"/>
          </p15:clr>
        </p15:guide>
        <p15:guide id="4" pos="7439">
          <p15:clr>
            <a:srgbClr val="F26B43"/>
          </p15:clr>
        </p15:guide>
        <p15:guide id="5" pos="52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6" name="Rectangle 12"/>
          <p:cNvSpPr>
            <a:spLocks noGrp="1" noChangeArrowheads="1"/>
          </p:cNvSpPr>
          <p:nvPr>
            <p:ph type="body" idx="1"/>
          </p:nvPr>
        </p:nvSpPr>
        <p:spPr bwMode="auto">
          <a:xfrm>
            <a:off x="444501" y="1000125"/>
            <a:ext cx="8337550" cy="353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Rectangle 11"/>
          <p:cNvSpPr>
            <a:spLocks noGrp="1" noChangeArrowheads="1"/>
          </p:cNvSpPr>
          <p:nvPr>
            <p:ph type="title"/>
          </p:nvPr>
        </p:nvSpPr>
        <p:spPr bwMode="auto">
          <a:xfrm>
            <a:off x="457200" y="219076"/>
            <a:ext cx="833755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6" name="TextBox 5"/>
          <p:cNvSpPr txBox="1"/>
          <p:nvPr userDrawn="1"/>
        </p:nvSpPr>
        <p:spPr>
          <a:xfrm>
            <a:off x="6307139" y="4897438"/>
            <a:ext cx="2536825" cy="184666"/>
          </a:xfrm>
          <a:prstGeom prst="rect">
            <a:avLst/>
          </a:prstGeom>
          <a:noFill/>
        </p:spPr>
        <p:txBody>
          <a:bodyPr>
            <a:spAutoFit/>
          </a:bodyPr>
          <a:lstStyle/>
          <a:p>
            <a:pPr algn="r" eaLnBrk="1" hangingPunct="1">
              <a:buClr>
                <a:schemeClr val="accent3"/>
              </a:buClr>
              <a:defRPr/>
            </a:pPr>
            <a:r>
              <a:rPr lang="en-US" sz="600">
                <a:solidFill>
                  <a:schemeClr val="bg1">
                    <a:lumMod val="50000"/>
                  </a:schemeClr>
                </a:solidFill>
              </a:rPr>
              <a:t>© 2019 NetApp, Inc. Cisco, Inc. All rights reserved. </a:t>
            </a:r>
          </a:p>
        </p:txBody>
      </p:sp>
      <p:pic>
        <p:nvPicPr>
          <p:cNvPr id="1029" name="Picture 1" descr="FlexPod_Reg_CMYK-withbubble-lockup.png"/>
          <p:cNvPicPr>
            <a:picLocks noChangeAspect="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7432676" y="252413"/>
            <a:ext cx="1373188"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8581009"/>
      </p:ext>
    </p:extLst>
  </p:cSld>
  <p:clrMap bg1="lt1" tx1="dk1" bg2="lt2" tx2="dk2" accent1="accent1" accent2="accent2" accent3="accent3" accent4="accent4" accent5="accent5" accent6="accent6" hlink="hlink" folHlink="folHlink"/>
  <p:sldLayoutIdLst>
    <p:sldLayoutId id="2147489720" r:id="rId1"/>
    <p:sldLayoutId id="2147489721" r:id="rId2"/>
    <p:sldLayoutId id="2147489722" r:id="rId3"/>
    <p:sldLayoutId id="2147489723" r:id="rId4"/>
    <p:sldLayoutId id="2147489724" r:id="rId5"/>
    <p:sldLayoutId id="2147489725" r:id="rId6"/>
    <p:sldLayoutId id="2147489726" r:id="rId7"/>
    <p:sldLayoutId id="2147489727" r:id="rId8"/>
    <p:sldLayoutId id="2147489728" r:id="rId9"/>
    <p:sldLayoutId id="2147489729" r:id="rId10"/>
    <p:sldLayoutId id="2147489730" r:id="rId11"/>
    <p:sldLayoutId id="2147489732" r:id="rId12"/>
    <p:sldLayoutId id="2147489733" r:id="rId13"/>
  </p:sldLayoutIdLst>
  <p:transition spd="slow">
    <p:circle/>
  </p:transition>
  <p:hf sldNum="0" hdr="0" dt="0"/>
  <p:txStyles>
    <p:titleStyle>
      <a:lvl1pPr algn="l" rtl="0" eaLnBrk="1" fontAlgn="base" hangingPunct="1">
        <a:spcBef>
          <a:spcPct val="0"/>
        </a:spcBef>
        <a:spcAft>
          <a:spcPct val="0"/>
        </a:spcAft>
        <a:defRPr sz="2800" b="1">
          <a:solidFill>
            <a:srgbClr val="000000"/>
          </a:solidFill>
          <a:latin typeface="+mj-lt"/>
          <a:ea typeface="+mj-ea"/>
          <a:cs typeface="+mj-cs"/>
        </a:defRPr>
      </a:lvl1pPr>
      <a:lvl2pPr algn="l" rtl="0" eaLnBrk="1" fontAlgn="base" hangingPunct="1">
        <a:spcBef>
          <a:spcPct val="0"/>
        </a:spcBef>
        <a:spcAft>
          <a:spcPct val="0"/>
        </a:spcAft>
        <a:defRPr sz="2800" b="1">
          <a:solidFill>
            <a:srgbClr val="000000"/>
          </a:solidFill>
          <a:latin typeface="Arial" charset="0"/>
        </a:defRPr>
      </a:lvl2pPr>
      <a:lvl3pPr algn="l" rtl="0" eaLnBrk="1" fontAlgn="base" hangingPunct="1">
        <a:spcBef>
          <a:spcPct val="0"/>
        </a:spcBef>
        <a:spcAft>
          <a:spcPct val="0"/>
        </a:spcAft>
        <a:defRPr sz="2800" b="1">
          <a:solidFill>
            <a:srgbClr val="000000"/>
          </a:solidFill>
          <a:latin typeface="Arial" charset="0"/>
        </a:defRPr>
      </a:lvl3pPr>
      <a:lvl4pPr algn="l" rtl="0" eaLnBrk="1" fontAlgn="base" hangingPunct="1">
        <a:spcBef>
          <a:spcPct val="0"/>
        </a:spcBef>
        <a:spcAft>
          <a:spcPct val="0"/>
        </a:spcAft>
        <a:defRPr sz="2800" b="1">
          <a:solidFill>
            <a:srgbClr val="000000"/>
          </a:solidFill>
          <a:latin typeface="Arial" charset="0"/>
        </a:defRPr>
      </a:lvl4pPr>
      <a:lvl5pPr algn="l" rtl="0" eaLnBrk="1" fontAlgn="base" hangingPunct="1">
        <a:spcBef>
          <a:spcPct val="0"/>
        </a:spcBef>
        <a:spcAft>
          <a:spcPct val="0"/>
        </a:spcAft>
        <a:defRPr sz="2800" b="1">
          <a:solidFill>
            <a:srgbClr val="000000"/>
          </a:solidFill>
          <a:latin typeface="Arial" charset="0"/>
        </a:defRPr>
      </a:lvl5pPr>
      <a:lvl6pPr marL="457106" algn="l" rtl="0" eaLnBrk="1" fontAlgn="base" hangingPunct="1">
        <a:spcBef>
          <a:spcPct val="0"/>
        </a:spcBef>
        <a:spcAft>
          <a:spcPct val="0"/>
        </a:spcAft>
        <a:defRPr sz="3000" b="1">
          <a:solidFill>
            <a:schemeClr val="tx1"/>
          </a:solidFill>
          <a:latin typeface="Arial" charset="0"/>
        </a:defRPr>
      </a:lvl6pPr>
      <a:lvl7pPr marL="914220" algn="l" rtl="0" eaLnBrk="1" fontAlgn="base" hangingPunct="1">
        <a:spcBef>
          <a:spcPct val="0"/>
        </a:spcBef>
        <a:spcAft>
          <a:spcPct val="0"/>
        </a:spcAft>
        <a:defRPr sz="3000" b="1">
          <a:solidFill>
            <a:schemeClr val="tx1"/>
          </a:solidFill>
          <a:latin typeface="Arial" charset="0"/>
        </a:defRPr>
      </a:lvl7pPr>
      <a:lvl8pPr marL="1371328" algn="l" rtl="0" eaLnBrk="1" fontAlgn="base" hangingPunct="1">
        <a:spcBef>
          <a:spcPct val="0"/>
        </a:spcBef>
        <a:spcAft>
          <a:spcPct val="0"/>
        </a:spcAft>
        <a:defRPr sz="3000" b="1">
          <a:solidFill>
            <a:schemeClr val="tx1"/>
          </a:solidFill>
          <a:latin typeface="Arial" charset="0"/>
        </a:defRPr>
      </a:lvl8pPr>
      <a:lvl9pPr marL="1828439" algn="l" rtl="0" eaLnBrk="1" fontAlgn="base" hangingPunct="1">
        <a:spcBef>
          <a:spcPct val="0"/>
        </a:spcBef>
        <a:spcAft>
          <a:spcPct val="0"/>
        </a:spcAft>
        <a:defRPr sz="3000" b="1">
          <a:solidFill>
            <a:schemeClr val="tx1"/>
          </a:solidFill>
          <a:latin typeface="Arial" charset="0"/>
        </a:defRPr>
      </a:lvl9pPr>
    </p:titleStyle>
    <p:bodyStyle>
      <a:lvl1pPr marL="296855" indent="-296855" algn="l" rtl="0" eaLnBrk="1" fontAlgn="base" hangingPunct="1">
        <a:spcBef>
          <a:spcPts val="675"/>
        </a:spcBef>
        <a:spcAft>
          <a:spcPct val="0"/>
        </a:spcAft>
        <a:buClr>
          <a:srgbClr val="83AC3E"/>
        </a:buClr>
        <a:buFont typeface="Arial" charset="0"/>
        <a:buChar char="•"/>
        <a:defRPr>
          <a:solidFill>
            <a:srgbClr val="000000"/>
          </a:solidFill>
          <a:latin typeface="+mn-lt"/>
          <a:ea typeface="+mn-ea"/>
          <a:cs typeface="+mn-cs"/>
        </a:defRPr>
      </a:lvl1pPr>
      <a:lvl2pPr marL="634985" indent="-334955" algn="l" rtl="0" eaLnBrk="1" fontAlgn="base" hangingPunct="1">
        <a:spcBef>
          <a:spcPts val="625"/>
        </a:spcBef>
        <a:spcAft>
          <a:spcPct val="0"/>
        </a:spcAft>
        <a:buClr>
          <a:schemeClr val="tx1"/>
        </a:buClr>
        <a:buFont typeface="Lucida Grande" charset="0"/>
        <a:buChar char="-"/>
        <a:defRPr sz="1600">
          <a:solidFill>
            <a:srgbClr val="000000"/>
          </a:solidFill>
          <a:latin typeface="+mn-lt"/>
        </a:defRPr>
      </a:lvl2pPr>
      <a:lvl3pPr marL="925490" indent="-287331" algn="l" rtl="0" eaLnBrk="1" fontAlgn="base" hangingPunct="1">
        <a:spcBef>
          <a:spcPts val="575"/>
        </a:spcBef>
        <a:spcAft>
          <a:spcPct val="0"/>
        </a:spcAft>
        <a:buClr>
          <a:srgbClr val="83AC3E"/>
        </a:buClr>
        <a:buFont typeface="Arial" charset="0"/>
        <a:buChar char="•"/>
        <a:defRPr sz="1600">
          <a:solidFill>
            <a:srgbClr val="000000"/>
          </a:solidFill>
          <a:latin typeface="+mn-lt"/>
        </a:defRPr>
      </a:lvl3pPr>
      <a:lvl4pPr marL="1235044" indent="-306380" algn="l" rtl="0" eaLnBrk="1" fontAlgn="base" hangingPunct="1">
        <a:spcBef>
          <a:spcPts val="475"/>
        </a:spcBef>
        <a:spcAft>
          <a:spcPct val="0"/>
        </a:spcAft>
        <a:buClr>
          <a:schemeClr val="tx1"/>
        </a:buClr>
        <a:buFont typeface="Lucida Grande" charset="0"/>
        <a:buChar char="-"/>
        <a:defRPr sz="1600">
          <a:solidFill>
            <a:srgbClr val="000000"/>
          </a:solidFill>
          <a:latin typeface="+mn-lt"/>
        </a:defRPr>
      </a:lvl4pPr>
      <a:lvl5pPr marL="1503326" indent="-265106" algn="l" rtl="0" eaLnBrk="1" fontAlgn="base" hangingPunct="1">
        <a:spcBef>
          <a:spcPts val="475"/>
        </a:spcBef>
        <a:spcAft>
          <a:spcPct val="0"/>
        </a:spcAft>
        <a:buClr>
          <a:srgbClr val="83AC3E"/>
        </a:buClr>
        <a:buFont typeface="Arial" charset="0"/>
        <a:buChar char="•"/>
        <a:defRPr sz="1600">
          <a:solidFill>
            <a:srgbClr val="000000"/>
          </a:solidFill>
          <a:latin typeface="+mn-lt"/>
        </a:defRPr>
      </a:lvl5pPr>
      <a:lvl6pPr marL="1961758" indent="-266651"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869" indent="-266651"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5974" indent="-266651"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086" indent="-266651"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20" rtl="0" eaLnBrk="1" latinLnBrk="0" hangingPunct="1">
        <a:defRPr sz="1800" kern="1200">
          <a:solidFill>
            <a:schemeClr val="tx1"/>
          </a:solidFill>
          <a:latin typeface="+mn-lt"/>
          <a:ea typeface="+mn-ea"/>
          <a:cs typeface="+mn-cs"/>
        </a:defRPr>
      </a:lvl1pPr>
      <a:lvl2pPr marL="457106" algn="l" defTabSz="914220" rtl="0" eaLnBrk="1" latinLnBrk="0" hangingPunct="1">
        <a:defRPr sz="1800" kern="1200">
          <a:solidFill>
            <a:schemeClr val="tx1"/>
          </a:solidFill>
          <a:latin typeface="+mn-lt"/>
          <a:ea typeface="+mn-ea"/>
          <a:cs typeface="+mn-cs"/>
        </a:defRPr>
      </a:lvl2pPr>
      <a:lvl3pPr marL="914220" algn="l" defTabSz="914220" rtl="0" eaLnBrk="1" latinLnBrk="0" hangingPunct="1">
        <a:defRPr sz="1800" kern="1200">
          <a:solidFill>
            <a:schemeClr val="tx1"/>
          </a:solidFill>
          <a:latin typeface="+mn-lt"/>
          <a:ea typeface="+mn-ea"/>
          <a:cs typeface="+mn-cs"/>
        </a:defRPr>
      </a:lvl3pPr>
      <a:lvl4pPr marL="1371328" algn="l" defTabSz="914220" rtl="0" eaLnBrk="1" latinLnBrk="0" hangingPunct="1">
        <a:defRPr sz="1800" kern="1200">
          <a:solidFill>
            <a:schemeClr val="tx1"/>
          </a:solidFill>
          <a:latin typeface="+mn-lt"/>
          <a:ea typeface="+mn-ea"/>
          <a:cs typeface="+mn-cs"/>
        </a:defRPr>
      </a:lvl4pPr>
      <a:lvl5pPr marL="1828439" algn="l" defTabSz="914220" rtl="0" eaLnBrk="1" latinLnBrk="0" hangingPunct="1">
        <a:defRPr sz="1800" kern="1200">
          <a:solidFill>
            <a:schemeClr val="tx1"/>
          </a:solidFill>
          <a:latin typeface="+mn-lt"/>
          <a:ea typeface="+mn-ea"/>
          <a:cs typeface="+mn-cs"/>
        </a:defRPr>
      </a:lvl5pPr>
      <a:lvl6pPr marL="2285544" algn="l" defTabSz="914220" rtl="0" eaLnBrk="1" latinLnBrk="0" hangingPunct="1">
        <a:defRPr sz="1800" kern="1200">
          <a:solidFill>
            <a:schemeClr val="tx1"/>
          </a:solidFill>
          <a:latin typeface="+mn-lt"/>
          <a:ea typeface="+mn-ea"/>
          <a:cs typeface="+mn-cs"/>
        </a:defRPr>
      </a:lvl6pPr>
      <a:lvl7pPr marL="2742650" algn="l" defTabSz="914220" rtl="0" eaLnBrk="1" latinLnBrk="0" hangingPunct="1">
        <a:defRPr sz="1800" kern="1200">
          <a:solidFill>
            <a:schemeClr val="tx1"/>
          </a:solidFill>
          <a:latin typeface="+mn-lt"/>
          <a:ea typeface="+mn-ea"/>
          <a:cs typeface="+mn-cs"/>
        </a:defRPr>
      </a:lvl7pPr>
      <a:lvl8pPr marL="3199760" algn="l" defTabSz="914220" rtl="0" eaLnBrk="1" latinLnBrk="0" hangingPunct="1">
        <a:defRPr sz="1800" kern="1200">
          <a:solidFill>
            <a:schemeClr val="tx1"/>
          </a:solidFill>
          <a:latin typeface="+mn-lt"/>
          <a:ea typeface="+mn-ea"/>
          <a:cs typeface="+mn-cs"/>
        </a:defRPr>
      </a:lvl8pPr>
      <a:lvl9pPr marL="3656869" algn="l" defTabSz="91422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2050" name="Rectangle 12">
            <a:extLst>
              <a:ext uri="{FF2B5EF4-FFF2-40B4-BE49-F238E27FC236}">
                <a16:creationId xmlns:a16="http://schemas.microsoft.com/office/drawing/2014/main" id="{1DB5ADF4-5E21-4219-B15A-39FB758B2E03}"/>
              </a:ext>
            </a:extLst>
          </p:cNvPr>
          <p:cNvSpPr>
            <a:spLocks noGrp="1" noChangeArrowheads="1"/>
          </p:cNvSpPr>
          <p:nvPr>
            <p:ph type="body" idx="1"/>
          </p:nvPr>
        </p:nvSpPr>
        <p:spPr bwMode="auto">
          <a:xfrm>
            <a:off x="219075" y="1835150"/>
            <a:ext cx="8337550"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1" name="Rectangle 11">
            <a:extLst>
              <a:ext uri="{FF2B5EF4-FFF2-40B4-BE49-F238E27FC236}">
                <a16:creationId xmlns:a16="http://schemas.microsoft.com/office/drawing/2014/main" id="{98880C85-23AA-40BE-A872-23A1DC51B74E}"/>
              </a:ext>
            </a:extLst>
          </p:cNvPr>
          <p:cNvSpPr>
            <a:spLocks noGrp="1" noChangeArrowheads="1"/>
          </p:cNvSpPr>
          <p:nvPr>
            <p:ph type="title"/>
          </p:nvPr>
        </p:nvSpPr>
        <p:spPr bwMode="auto">
          <a:xfrm>
            <a:off x="219075" y="655638"/>
            <a:ext cx="8337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pic>
        <p:nvPicPr>
          <p:cNvPr id="2052" name="Picture 6" descr="FlexPod_Reg_CMYK-withbubble.png">
            <a:extLst>
              <a:ext uri="{FF2B5EF4-FFF2-40B4-BE49-F238E27FC236}">
                <a16:creationId xmlns:a16="http://schemas.microsoft.com/office/drawing/2014/main" id="{9D0D1790-7B42-43C6-95C7-FB417BD4EFFF}"/>
              </a:ext>
            </a:extLst>
          </p:cNvPr>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4">
            <a:extLst>
              <a:ext uri="{FF2B5EF4-FFF2-40B4-BE49-F238E27FC236}">
                <a16:creationId xmlns:a16="http://schemas.microsoft.com/office/drawing/2014/main" id="{737582AB-9F4B-48B8-AAC8-B0FCE20C4F30}"/>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585E0D1C-CE06-4C1B-B390-E52D36A1815F}" type="slidenum">
              <a:rPr lang="en-US" sz="600" smtClean="0">
                <a:latin typeface="+mn-lt"/>
              </a:rPr>
              <a:pPr>
                <a:defRPr/>
              </a:pPr>
              <a:t>‹#›</a:t>
            </a:fld>
            <a:endParaRPr lang="en-US" sz="600">
              <a:latin typeface="+mn-lt"/>
            </a:endParaRPr>
          </a:p>
        </p:txBody>
      </p:sp>
      <p:sp>
        <p:nvSpPr>
          <p:cNvPr id="2054" name="Rectangle 6">
            <a:extLst>
              <a:ext uri="{FF2B5EF4-FFF2-40B4-BE49-F238E27FC236}">
                <a16:creationId xmlns:a16="http://schemas.microsoft.com/office/drawing/2014/main" id="{BC5B8FFF-7219-4C6B-9813-AD0F3F91E4DF}"/>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a:cs typeface="Calibri" panose="020F0502020204030204" pitchFamily="34" charset="0"/>
              </a:rPr>
              <a:t>© 2019 NetApp, Inc. Cisco, Inc. All rights reserved. – CONFIDENTIAL –    </a:t>
            </a:r>
          </a:p>
        </p:txBody>
      </p:sp>
    </p:spTree>
    <p:extLst>
      <p:ext uri="{BB962C8B-B14F-4D97-AF65-F5344CB8AC3E}">
        <p14:creationId xmlns:p14="http://schemas.microsoft.com/office/powerpoint/2010/main" val="3502301998"/>
      </p:ext>
    </p:extLst>
  </p:cSld>
  <p:clrMap bg1="lt1" tx1="dk1" bg2="lt2" tx2="dk2" accent1="accent1" accent2="accent2" accent3="accent3" accent4="accent4" accent5="accent5" accent6="accent6" hlink="hlink" folHlink="folHlink"/>
  <p:sldLayoutIdLst>
    <p:sldLayoutId id="2147489737" r:id="rId1"/>
    <p:sldLayoutId id="2147489738" r:id="rId2"/>
    <p:sldLayoutId id="2147489739" r:id="rId3"/>
    <p:sldLayoutId id="2147489740" r:id="rId4"/>
    <p:sldLayoutId id="2147489741" r:id="rId5"/>
    <p:sldLayoutId id="2147489742" r:id="rId6"/>
    <p:sldLayoutId id="2147489743" r:id="rId7"/>
    <p:sldLayoutId id="2147489744" r:id="rId8"/>
    <p:sldLayoutId id="2147489745" r:id="rId9"/>
    <p:sldLayoutId id="2147489746" r:id="rId10"/>
    <p:sldLayoutId id="2147489747" r:id="rId11"/>
    <p:sldLayoutId id="2147489748" r:id="rId12"/>
    <p:sldLayoutId id="2147489749" r:id="rId13"/>
    <p:sldLayoutId id="2147489750" r:id="rId14"/>
    <p:sldLayoutId id="2147489751" r:id="rId15"/>
    <p:sldLayoutId id="2147489752" r:id="rId16"/>
    <p:sldLayoutId id="2147489753" r:id="rId17"/>
    <p:sldLayoutId id="2147489754" r:id="rId18"/>
    <p:sldLayoutId id="2147489755" r:id="rId19"/>
    <p:sldLayoutId id="2147489756" r:id="rId20"/>
    <p:sldLayoutId id="2147489758" r:id="rId21"/>
    <p:sldLayoutId id="2147489759" r:id="rId22"/>
    <p:sldLayoutId id="2147489760" r:id="rId23"/>
    <p:sldLayoutId id="2147489761" r:id="rId24"/>
    <p:sldLayoutId id="2147489762" r:id="rId25"/>
    <p:sldLayoutId id="2147489763" r:id="rId26"/>
    <p:sldLayoutId id="2147489764" r:id="rId27"/>
  </p:sldLayoutIdLst>
  <p:transition spd="slow">
    <p:circle/>
  </p:transition>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Arial" charset="0"/>
        </a:defRPr>
      </a:lvl2pPr>
      <a:lvl3pPr algn="l" rtl="0" eaLnBrk="0" fontAlgn="base" hangingPunct="0">
        <a:spcBef>
          <a:spcPct val="0"/>
        </a:spcBef>
        <a:spcAft>
          <a:spcPct val="0"/>
        </a:spcAft>
        <a:defRPr sz="2800" b="1">
          <a:solidFill>
            <a:srgbClr val="000000"/>
          </a:solidFill>
          <a:latin typeface="Arial" charset="0"/>
        </a:defRPr>
      </a:lvl3pPr>
      <a:lvl4pPr algn="l" rtl="0" eaLnBrk="0" fontAlgn="base" hangingPunct="0">
        <a:spcBef>
          <a:spcPct val="0"/>
        </a:spcBef>
        <a:spcAft>
          <a:spcPct val="0"/>
        </a:spcAft>
        <a:defRPr sz="2800" b="1">
          <a:solidFill>
            <a:srgbClr val="000000"/>
          </a:solidFill>
          <a:latin typeface="Arial" charset="0"/>
        </a:defRPr>
      </a:lvl4pPr>
      <a:lvl5pPr algn="l" rtl="0" eaLnBrk="0" fontAlgn="base" hangingPunct="0">
        <a:spcBef>
          <a:spcPct val="0"/>
        </a:spcBef>
        <a:spcAft>
          <a:spcPct val="0"/>
        </a:spcAft>
        <a:defRPr sz="2800" b="1">
          <a:solidFill>
            <a:srgbClr val="000000"/>
          </a:solidFill>
          <a:latin typeface="Arial" charset="0"/>
        </a:defRPr>
      </a:lvl5pPr>
      <a:lvl6pPr marL="457118" algn="l" rtl="0" eaLnBrk="1" fontAlgn="base" hangingPunct="1">
        <a:spcBef>
          <a:spcPct val="0"/>
        </a:spcBef>
        <a:spcAft>
          <a:spcPct val="0"/>
        </a:spcAft>
        <a:defRPr sz="3000" b="1">
          <a:solidFill>
            <a:schemeClr val="tx1"/>
          </a:solidFill>
          <a:latin typeface="Arial" charset="0"/>
        </a:defRPr>
      </a:lvl6pPr>
      <a:lvl7pPr marL="914243" algn="l" rtl="0" eaLnBrk="1" fontAlgn="base" hangingPunct="1">
        <a:spcBef>
          <a:spcPct val="0"/>
        </a:spcBef>
        <a:spcAft>
          <a:spcPct val="0"/>
        </a:spcAft>
        <a:defRPr sz="3000" b="1">
          <a:solidFill>
            <a:schemeClr val="tx1"/>
          </a:solidFill>
          <a:latin typeface="Arial" charset="0"/>
        </a:defRPr>
      </a:lvl7pPr>
      <a:lvl8pPr marL="1371362" algn="l" rtl="0" eaLnBrk="1" fontAlgn="base" hangingPunct="1">
        <a:spcBef>
          <a:spcPct val="0"/>
        </a:spcBef>
        <a:spcAft>
          <a:spcPct val="0"/>
        </a:spcAft>
        <a:defRPr sz="3000" b="1">
          <a:solidFill>
            <a:schemeClr val="tx1"/>
          </a:solidFill>
          <a:latin typeface="Arial" charset="0"/>
        </a:defRPr>
      </a:lvl8pPr>
      <a:lvl9pPr marL="1828484" algn="l" rtl="0" eaLnBrk="1" fontAlgn="base" hangingPunct="1">
        <a:spcBef>
          <a:spcPct val="0"/>
        </a:spcBef>
        <a:spcAft>
          <a:spcPct val="0"/>
        </a:spcAft>
        <a:defRPr sz="3000" b="1">
          <a:solidFill>
            <a:schemeClr val="tx1"/>
          </a:solidFill>
          <a:latin typeface="Arial" charset="0"/>
        </a:defRPr>
      </a:lvl9pPr>
    </p:titleStyle>
    <p:bodyStyle>
      <a:lvl1pPr marL="296863" indent="-296863" algn="l" rtl="0" eaLnBrk="0" fontAlgn="base" hangingPunct="0">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5000" indent="-334963" algn="l" rtl="0" eaLnBrk="0" fontAlgn="base" hangingPunct="0">
        <a:spcBef>
          <a:spcPts val="625"/>
        </a:spcBef>
        <a:spcAft>
          <a:spcPct val="0"/>
        </a:spcAft>
        <a:buClr>
          <a:schemeClr val="tx1"/>
        </a:buClr>
        <a:buFont typeface="Lucida Grande" pitchFamily="34" charset="0"/>
        <a:buChar char="-"/>
        <a:defRPr sz="1600">
          <a:solidFill>
            <a:srgbClr val="000000"/>
          </a:solidFill>
          <a:latin typeface="+mn-lt"/>
        </a:defRPr>
      </a:lvl2pPr>
      <a:lvl3pPr marL="925513" indent="-287338" algn="l" rtl="0" eaLnBrk="0" fontAlgn="base" hangingPunct="0">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5075" indent="-306388" algn="l" rtl="0" eaLnBrk="0" fontAlgn="base" hangingPunct="0">
        <a:spcBef>
          <a:spcPts val="475"/>
        </a:spcBef>
        <a:spcAft>
          <a:spcPct val="0"/>
        </a:spcAft>
        <a:buClr>
          <a:schemeClr val="tx1"/>
        </a:buClr>
        <a:buFont typeface="Lucida Grande" pitchFamily="34" charset="0"/>
        <a:buChar char="-"/>
        <a:defRPr sz="1600">
          <a:solidFill>
            <a:srgbClr val="000000"/>
          </a:solidFill>
          <a:latin typeface="+mn-lt"/>
        </a:defRPr>
      </a:lvl4pPr>
      <a:lvl5pPr marL="1503363" indent="-265113" algn="l" rtl="0" eaLnBrk="0" fontAlgn="base" hangingPunct="0">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9" name="Rectangle 12"/>
          <p:cNvSpPr>
            <a:spLocks noGrp="1" noChangeArrowheads="1"/>
          </p:cNvSpPr>
          <p:nvPr>
            <p:ph type="body" idx="1"/>
          </p:nvPr>
        </p:nvSpPr>
        <p:spPr bwMode="auto">
          <a:xfrm>
            <a:off x="228600" y="1264357"/>
            <a:ext cx="8534400" cy="334715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7" name="Rectangle 11"/>
          <p:cNvSpPr>
            <a:spLocks noGrp="1" noChangeArrowheads="1"/>
          </p:cNvSpPr>
          <p:nvPr>
            <p:ph type="title"/>
          </p:nvPr>
        </p:nvSpPr>
        <p:spPr bwMode="auto">
          <a:xfrm>
            <a:off x="228601" y="476894"/>
            <a:ext cx="8534399" cy="5357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6" name="TextBox 5"/>
          <p:cNvSpPr txBox="1"/>
          <p:nvPr userDrawn="1"/>
        </p:nvSpPr>
        <p:spPr>
          <a:xfrm>
            <a:off x="5710459" y="4897261"/>
            <a:ext cx="3133910" cy="276999"/>
          </a:xfrm>
          <a:prstGeom prst="rect">
            <a:avLst/>
          </a:prstGeom>
          <a:noFill/>
        </p:spPr>
        <p:txBody>
          <a:bodyPr wrap="square" rtlCol="0">
            <a:spAutoFit/>
          </a:bodyPr>
          <a:lstStyle/>
          <a:p>
            <a:pPr marL="0" marR="0" indent="0" algn="r" defTabSz="914378"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9 Cisco and NetApp. All rights reserved. NetApp Confidential - Limited Use Only</a:t>
            </a:r>
          </a:p>
          <a:p>
            <a:pPr marL="0" marR="0" indent="0" algn="r" defTabSz="914378" rtl="0" eaLnBrk="1" fontAlgn="base" latinLnBrk="0" hangingPunct="1">
              <a:lnSpc>
                <a:spcPct val="100000"/>
              </a:lnSpc>
              <a:spcBef>
                <a:spcPct val="0"/>
              </a:spcBef>
              <a:spcAft>
                <a:spcPct val="0"/>
              </a:spcAft>
              <a:buClr>
                <a:schemeClr val="accent3"/>
              </a:buClr>
              <a:buSzTx/>
              <a:buFontTx/>
              <a:buNone/>
              <a:tabLst/>
              <a:defRPr/>
            </a:pPr>
            <a:endParaRPr lang="en-US" sz="600">
              <a:solidFill>
                <a:schemeClr val="bg1">
                  <a:lumMod val="50000"/>
                </a:schemeClr>
              </a:solidFill>
            </a:endParaRPr>
          </a:p>
        </p:txBody>
      </p:sp>
      <p:pic>
        <p:nvPicPr>
          <p:cNvPr id="7" name="Picture 6" descr="FlexPod_Reg_CMYK-withbubble.png"/>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7403072" y="259488"/>
            <a:ext cx="1380393" cy="199549"/>
          </a:xfrm>
          <a:prstGeom prst="rect">
            <a:avLst/>
          </a:prstGeom>
        </p:spPr>
      </p:pic>
      <p:pic>
        <p:nvPicPr>
          <p:cNvPr id="3" name="Picture 2">
            <a:extLst>
              <a:ext uri="{FF2B5EF4-FFF2-40B4-BE49-F238E27FC236}">
                <a16:creationId xmlns:a16="http://schemas.microsoft.com/office/drawing/2014/main" id="{F70FC0E8-E9CF-834F-BF20-4B30E3F8A5ED}"/>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219076" y="4829718"/>
            <a:ext cx="1304925" cy="206041"/>
          </a:xfrm>
          <a:prstGeom prst="rect">
            <a:avLst/>
          </a:prstGeom>
        </p:spPr>
      </p:pic>
    </p:spTree>
    <p:extLst>
      <p:ext uri="{BB962C8B-B14F-4D97-AF65-F5344CB8AC3E}">
        <p14:creationId xmlns:p14="http://schemas.microsoft.com/office/powerpoint/2010/main" val="1683867192"/>
      </p:ext>
    </p:extLst>
  </p:cSld>
  <p:clrMap bg1="lt1" tx1="dk1" bg2="lt2" tx2="dk2" accent1="accent1" accent2="accent2" accent3="accent3" accent4="accent4" accent5="accent5" accent6="accent6" hlink="hlink" folHlink="folHlink"/>
  <p:sldLayoutIdLst>
    <p:sldLayoutId id="2147489787" r:id="rId1"/>
    <p:sldLayoutId id="2147489788" r:id="rId2"/>
    <p:sldLayoutId id="2147489789" r:id="rId3"/>
    <p:sldLayoutId id="2147489790" r:id="rId4"/>
    <p:sldLayoutId id="2147489791" r:id="rId5"/>
    <p:sldLayoutId id="2147489792" r:id="rId6"/>
    <p:sldLayoutId id="2147489793" r:id="rId7"/>
    <p:sldLayoutId id="2147489794" r:id="rId8"/>
    <p:sldLayoutId id="2147489795" r:id="rId9"/>
    <p:sldLayoutId id="2147489796" r:id="rId10"/>
    <p:sldLayoutId id="2147489797" r:id="rId11"/>
    <p:sldLayoutId id="2147489798" r:id="rId12"/>
    <p:sldLayoutId id="2147489799" r:id="rId13"/>
    <p:sldLayoutId id="2147489800" r:id="rId14"/>
    <p:sldLayoutId id="2147489801" r:id="rId15"/>
    <p:sldLayoutId id="2147489802" r:id="rId16"/>
    <p:sldLayoutId id="2147489803" r:id="rId17"/>
    <p:sldLayoutId id="2147489804" r:id="rId18"/>
    <p:sldLayoutId id="2147489805" r:id="rId19"/>
    <p:sldLayoutId id="2147489806" r:id="rId20"/>
  </p:sldLayoutIdLst>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06" algn="l" rtl="0" fontAlgn="base">
        <a:spcBef>
          <a:spcPct val="0"/>
        </a:spcBef>
        <a:spcAft>
          <a:spcPct val="0"/>
        </a:spcAft>
        <a:defRPr sz="3000" b="1">
          <a:solidFill>
            <a:schemeClr val="tx1"/>
          </a:solidFill>
          <a:latin typeface="Arial" charset="0"/>
        </a:defRPr>
      </a:lvl6pPr>
      <a:lvl7pPr marL="914220" algn="l" rtl="0" fontAlgn="base">
        <a:spcBef>
          <a:spcPct val="0"/>
        </a:spcBef>
        <a:spcAft>
          <a:spcPct val="0"/>
        </a:spcAft>
        <a:defRPr sz="3000" b="1">
          <a:solidFill>
            <a:schemeClr val="tx1"/>
          </a:solidFill>
          <a:latin typeface="Arial" charset="0"/>
        </a:defRPr>
      </a:lvl7pPr>
      <a:lvl8pPr marL="1371328" algn="l" rtl="0" fontAlgn="base">
        <a:spcBef>
          <a:spcPct val="0"/>
        </a:spcBef>
        <a:spcAft>
          <a:spcPct val="0"/>
        </a:spcAft>
        <a:defRPr sz="3000" b="1">
          <a:solidFill>
            <a:schemeClr val="tx1"/>
          </a:solidFill>
          <a:latin typeface="Arial" charset="0"/>
        </a:defRPr>
      </a:lvl8pPr>
      <a:lvl9pPr marL="1828439" algn="l" rtl="0" fontAlgn="base">
        <a:spcBef>
          <a:spcPct val="0"/>
        </a:spcBef>
        <a:spcAft>
          <a:spcPct val="0"/>
        </a:spcAft>
        <a:defRPr sz="3000" b="1">
          <a:solidFill>
            <a:schemeClr val="tx1"/>
          </a:solidFill>
          <a:latin typeface="Arial" charset="0"/>
        </a:defRPr>
      </a:lvl9pPr>
    </p:titleStyle>
    <p:bodyStyle>
      <a:lvl1pPr marL="206952" indent="-206952"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22" indent="-245042" algn="l" rtl="0" eaLnBrk="0" fontAlgn="base" hangingPunct="0">
        <a:spcBef>
          <a:spcPts val="624"/>
        </a:spcBef>
        <a:spcAft>
          <a:spcPct val="0"/>
        </a:spcAft>
        <a:buClrTx/>
        <a:buFont typeface="Arial"/>
        <a:buChar char="•"/>
        <a:defRPr sz="1600">
          <a:solidFill>
            <a:srgbClr val="000000"/>
          </a:solidFill>
          <a:latin typeface="+mn-lt"/>
        </a:defRPr>
      </a:lvl2pPr>
      <a:lvl3pPr marL="835478" indent="-197431" algn="l" rtl="0" eaLnBrk="0" fontAlgn="base" hangingPunct="0">
        <a:spcBef>
          <a:spcPts val="576"/>
        </a:spcBef>
        <a:spcAft>
          <a:spcPct val="0"/>
        </a:spcAft>
        <a:buClrTx/>
        <a:buFont typeface="Arial"/>
        <a:buChar char="•"/>
        <a:defRPr sz="1600">
          <a:solidFill>
            <a:srgbClr val="000000"/>
          </a:solidFill>
          <a:latin typeface="+mn-lt"/>
        </a:defRPr>
      </a:lvl3pPr>
      <a:lvl4pPr marL="1144977" indent="-216476" algn="l" rtl="0" eaLnBrk="0" fontAlgn="base" hangingPunct="0">
        <a:spcBef>
          <a:spcPts val="480"/>
        </a:spcBef>
        <a:spcAft>
          <a:spcPct val="0"/>
        </a:spcAft>
        <a:buClrTx/>
        <a:buFont typeface="Arial"/>
        <a:buChar char="•"/>
        <a:defRPr sz="1600">
          <a:solidFill>
            <a:srgbClr val="000000"/>
          </a:solidFill>
          <a:latin typeface="+mn-lt"/>
        </a:defRPr>
      </a:lvl4pPr>
      <a:lvl5pPr marL="1413213" indent="-175213" algn="l" rtl="0" eaLnBrk="0" fontAlgn="base" hangingPunct="0">
        <a:spcBef>
          <a:spcPts val="480"/>
        </a:spcBef>
        <a:spcAft>
          <a:spcPct val="0"/>
        </a:spcAft>
        <a:buClrTx/>
        <a:buFont typeface="Arial"/>
        <a:buChar char="•"/>
        <a:defRPr sz="1600">
          <a:solidFill>
            <a:srgbClr val="000000"/>
          </a:solidFill>
          <a:latin typeface="+mn-lt"/>
        </a:defRPr>
      </a:lvl5pPr>
      <a:lvl6pPr marL="1961758" indent="-266651" algn="l" rtl="0" fontAlgn="base">
        <a:spcBef>
          <a:spcPct val="20000"/>
        </a:spcBef>
        <a:spcAft>
          <a:spcPct val="0"/>
        </a:spcAft>
        <a:buFont typeface="Wingdings 2" pitchFamily="18" charset="2"/>
        <a:buChar char="¡"/>
        <a:defRPr sz="2000">
          <a:solidFill>
            <a:schemeClr val="tx1"/>
          </a:solidFill>
          <a:latin typeface="+mn-lt"/>
        </a:defRPr>
      </a:lvl6pPr>
      <a:lvl7pPr marL="2418869" indent="-266651" algn="l" rtl="0" fontAlgn="base">
        <a:spcBef>
          <a:spcPct val="20000"/>
        </a:spcBef>
        <a:spcAft>
          <a:spcPct val="0"/>
        </a:spcAft>
        <a:buFont typeface="Wingdings 2" pitchFamily="18" charset="2"/>
        <a:buChar char="¡"/>
        <a:defRPr sz="2000">
          <a:solidFill>
            <a:schemeClr val="tx1"/>
          </a:solidFill>
          <a:latin typeface="+mn-lt"/>
        </a:defRPr>
      </a:lvl7pPr>
      <a:lvl8pPr marL="2875974" indent="-266651" algn="l" rtl="0" fontAlgn="base">
        <a:spcBef>
          <a:spcPct val="20000"/>
        </a:spcBef>
        <a:spcAft>
          <a:spcPct val="0"/>
        </a:spcAft>
        <a:buFont typeface="Wingdings 2" pitchFamily="18" charset="2"/>
        <a:buChar char="¡"/>
        <a:defRPr sz="2000">
          <a:solidFill>
            <a:schemeClr val="tx1"/>
          </a:solidFill>
          <a:latin typeface="+mn-lt"/>
        </a:defRPr>
      </a:lvl8pPr>
      <a:lvl9pPr marL="3333086" indent="-266651" algn="l" rtl="0" fontAlgn="base">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20" rtl="0" eaLnBrk="1" latinLnBrk="0" hangingPunct="1">
        <a:defRPr sz="1800" kern="1200">
          <a:solidFill>
            <a:schemeClr val="tx1"/>
          </a:solidFill>
          <a:latin typeface="+mn-lt"/>
          <a:ea typeface="+mn-ea"/>
          <a:cs typeface="+mn-cs"/>
        </a:defRPr>
      </a:lvl1pPr>
      <a:lvl2pPr marL="457106" algn="l" defTabSz="914220" rtl="0" eaLnBrk="1" latinLnBrk="0" hangingPunct="1">
        <a:defRPr sz="1800" kern="1200">
          <a:solidFill>
            <a:schemeClr val="tx1"/>
          </a:solidFill>
          <a:latin typeface="+mn-lt"/>
          <a:ea typeface="+mn-ea"/>
          <a:cs typeface="+mn-cs"/>
        </a:defRPr>
      </a:lvl2pPr>
      <a:lvl3pPr marL="914220" algn="l" defTabSz="914220" rtl="0" eaLnBrk="1" latinLnBrk="0" hangingPunct="1">
        <a:defRPr sz="1800" kern="1200">
          <a:solidFill>
            <a:schemeClr val="tx1"/>
          </a:solidFill>
          <a:latin typeface="+mn-lt"/>
          <a:ea typeface="+mn-ea"/>
          <a:cs typeface="+mn-cs"/>
        </a:defRPr>
      </a:lvl3pPr>
      <a:lvl4pPr marL="1371328" algn="l" defTabSz="914220" rtl="0" eaLnBrk="1" latinLnBrk="0" hangingPunct="1">
        <a:defRPr sz="1800" kern="1200">
          <a:solidFill>
            <a:schemeClr val="tx1"/>
          </a:solidFill>
          <a:latin typeface="+mn-lt"/>
          <a:ea typeface="+mn-ea"/>
          <a:cs typeface="+mn-cs"/>
        </a:defRPr>
      </a:lvl4pPr>
      <a:lvl5pPr marL="1828439" algn="l" defTabSz="914220" rtl="0" eaLnBrk="1" latinLnBrk="0" hangingPunct="1">
        <a:defRPr sz="1800" kern="1200">
          <a:solidFill>
            <a:schemeClr val="tx1"/>
          </a:solidFill>
          <a:latin typeface="+mn-lt"/>
          <a:ea typeface="+mn-ea"/>
          <a:cs typeface="+mn-cs"/>
        </a:defRPr>
      </a:lvl5pPr>
      <a:lvl6pPr marL="2285544" algn="l" defTabSz="914220" rtl="0" eaLnBrk="1" latinLnBrk="0" hangingPunct="1">
        <a:defRPr sz="1800" kern="1200">
          <a:solidFill>
            <a:schemeClr val="tx1"/>
          </a:solidFill>
          <a:latin typeface="+mn-lt"/>
          <a:ea typeface="+mn-ea"/>
          <a:cs typeface="+mn-cs"/>
        </a:defRPr>
      </a:lvl6pPr>
      <a:lvl7pPr marL="2742650" algn="l" defTabSz="914220" rtl="0" eaLnBrk="1" latinLnBrk="0" hangingPunct="1">
        <a:defRPr sz="1800" kern="1200">
          <a:solidFill>
            <a:schemeClr val="tx1"/>
          </a:solidFill>
          <a:latin typeface="+mn-lt"/>
          <a:ea typeface="+mn-ea"/>
          <a:cs typeface="+mn-cs"/>
        </a:defRPr>
      </a:lvl7pPr>
      <a:lvl8pPr marL="3199760" algn="l" defTabSz="914220" rtl="0" eaLnBrk="1" latinLnBrk="0" hangingPunct="1">
        <a:defRPr sz="1800" kern="1200">
          <a:solidFill>
            <a:schemeClr val="tx1"/>
          </a:solidFill>
          <a:latin typeface="+mn-lt"/>
          <a:ea typeface="+mn-ea"/>
          <a:cs typeface="+mn-cs"/>
        </a:defRPr>
      </a:lvl8pPr>
      <a:lvl9pPr marL="3656869" algn="l" defTabSz="9142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300">
          <p15:clr>
            <a:srgbClr val="F26B43"/>
          </p15:clr>
        </p15:guide>
        <p15:guide id="4" pos="5520">
          <p15:clr>
            <a:srgbClr val="F26B43"/>
          </p15:clr>
        </p15:guide>
        <p15:guide id="5" pos="14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7274" y="180248"/>
            <a:ext cx="8746228" cy="678596"/>
          </a:xfrm>
          <a:prstGeom prst="rect">
            <a:avLst/>
          </a:prstGeom>
        </p:spPr>
        <p:txBody>
          <a:bodyPr vert="horz" wrap="square" lIns="91521" tIns="45761" rIns="91521" bIns="45761"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197274" y="1299801"/>
            <a:ext cx="8746228" cy="3360040"/>
          </a:xfrm>
          <a:prstGeom prst="rect">
            <a:avLst/>
          </a:prstGeom>
        </p:spPr>
        <p:txBody>
          <a:bodyPr vert="horz" wrap="square" lIns="91521" tIns="45761" rIns="91521" bIns="45761"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4"/>
          <p:cNvSpPr>
            <a:spLocks noGrp="1"/>
          </p:cNvSpPr>
          <p:nvPr>
            <p:ph type="ftr" sz="quarter" idx="3"/>
          </p:nvPr>
        </p:nvSpPr>
        <p:spPr>
          <a:xfrm>
            <a:off x="557358" y="4854551"/>
            <a:ext cx="4905348" cy="180367"/>
          </a:xfrm>
          <a:prstGeom prst="rect">
            <a:avLst/>
          </a:prstGeom>
        </p:spPr>
        <p:txBody>
          <a:bodyPr vert="horz" wrap="square" lIns="91521" tIns="45761" rIns="91521" bIns="45761" rtlCol="0" anchor="b">
            <a:noAutofit/>
          </a:bodyPr>
          <a:lstStyle>
            <a:lvl1pPr>
              <a:defRPr lang="en-US" sz="600" smtClean="0">
                <a:solidFill>
                  <a:schemeClr val="bg2">
                    <a:lumMod val="50000"/>
                  </a:schemeClr>
                </a:solidFill>
              </a:defRPr>
            </a:lvl1pPr>
          </a:lstStyle>
          <a:p>
            <a:pPr defTabSz="686412"/>
            <a:r>
              <a:rPr lang="en-US">
                <a:solidFill>
                  <a:srgbClr val="A2A5A2">
                    <a:lumMod val="50000"/>
                  </a:srgbClr>
                </a:solidFill>
              </a:rPr>
              <a:t>© 2020 NetApp, Inc. All rights reserved. </a:t>
            </a:r>
            <a:endParaRPr lang="en-US" dirty="0">
              <a:solidFill>
                <a:srgbClr val="A2A5A2">
                  <a:lumMod val="50000"/>
                </a:srgbClr>
              </a:solidFill>
            </a:endParaRPr>
          </a:p>
        </p:txBody>
      </p:sp>
      <p:sp>
        <p:nvSpPr>
          <p:cNvPr id="13" name="Slide Number Placeholder 5"/>
          <p:cNvSpPr>
            <a:spLocks noGrp="1"/>
          </p:cNvSpPr>
          <p:nvPr>
            <p:ph type="sldNum" sz="quarter" idx="4"/>
          </p:nvPr>
        </p:nvSpPr>
        <p:spPr>
          <a:xfrm>
            <a:off x="220867" y="4846931"/>
            <a:ext cx="336491" cy="195607"/>
          </a:xfrm>
          <a:prstGeom prst="rect">
            <a:avLst/>
          </a:prstGeom>
        </p:spPr>
        <p:txBody>
          <a:bodyPr vert="horz" wrap="square" lIns="91521" tIns="45761" rIns="91521" bIns="45761" rtlCol="0" anchor="b">
            <a:noAutofit/>
          </a:bodyPr>
          <a:lstStyle>
            <a:lvl1pPr>
              <a:defRPr lang="en-US" sz="788" b="1" smtClean="0">
                <a:solidFill>
                  <a:schemeClr val="bg2">
                    <a:lumMod val="50000"/>
                  </a:schemeClr>
                </a:solidFill>
              </a:defRPr>
            </a:lvl1pPr>
          </a:lstStyle>
          <a:p>
            <a:pPr defTabSz="686412"/>
            <a:fld id="{B071A5F3-A4FF-4CEE-8215-C08835B585C1}" type="slidenum">
              <a:rPr lang="en-US" smtClean="0">
                <a:solidFill>
                  <a:srgbClr val="A2A5A2">
                    <a:lumMod val="50000"/>
                  </a:srgbClr>
                </a:solidFill>
              </a:rPr>
              <a:pPr defTabSz="686412"/>
              <a:t>‹#›</a:t>
            </a:fld>
            <a:endParaRPr lang="en-US" dirty="0">
              <a:solidFill>
                <a:srgbClr val="A2A5A2">
                  <a:lumMod val="50000"/>
                </a:srgbClr>
              </a:solidFill>
            </a:endParaRPr>
          </a:p>
        </p:txBody>
      </p:sp>
    </p:spTree>
    <p:extLst>
      <p:ext uri="{BB962C8B-B14F-4D97-AF65-F5344CB8AC3E}">
        <p14:creationId xmlns:p14="http://schemas.microsoft.com/office/powerpoint/2010/main" val="2160010501"/>
      </p:ext>
    </p:extLst>
  </p:cSld>
  <p:clrMap bg1="lt1" tx1="dk1" bg2="lt2" tx2="dk2" accent1="accent1" accent2="accent2" accent3="accent3" accent4="accent4" accent5="accent5" accent6="accent6" hlink="hlink" folHlink="folHlink"/>
  <p:sldLayoutIdLst>
    <p:sldLayoutId id="2147489808" r:id="rId1"/>
    <p:sldLayoutId id="2147489809" r:id="rId2"/>
    <p:sldLayoutId id="2147489810" r:id="rId3"/>
    <p:sldLayoutId id="2147489811" r:id="rId4"/>
    <p:sldLayoutId id="2147489812" r:id="rId5"/>
    <p:sldLayoutId id="2147489813" r:id="rId6"/>
    <p:sldLayoutId id="2147489814" r:id="rId7"/>
    <p:sldLayoutId id="2147489815" r:id="rId8"/>
    <p:sldLayoutId id="2147489816" r:id="rId9"/>
    <p:sldLayoutId id="2147489817" r:id="rId10"/>
    <p:sldLayoutId id="2147489818" r:id="rId11"/>
    <p:sldLayoutId id="2147489819" r:id="rId12"/>
    <p:sldLayoutId id="2147489820" r:id="rId13"/>
    <p:sldLayoutId id="2147489821" r:id="rId14"/>
    <p:sldLayoutId id="2147489822" r:id="rId15"/>
    <p:sldLayoutId id="2147489823" r:id="rId16"/>
    <p:sldLayoutId id="2147489824" r:id="rId17"/>
    <p:sldLayoutId id="2147489825" r:id="rId18"/>
    <p:sldLayoutId id="2147489826" r:id="rId19"/>
    <p:sldLayoutId id="2147489827" r:id="rId20"/>
    <p:sldLayoutId id="2147489828" r:id="rId21"/>
    <p:sldLayoutId id="2147489829" r:id="rId22"/>
    <p:sldLayoutId id="2147489830" r:id="rId23"/>
  </p:sldLayoutIdLst>
  <p:transition spd="med">
    <p:fade/>
  </p:transition>
  <p:hf sldNum="0" hdr="0" dt="0"/>
  <p:txStyles>
    <p:titleStyle>
      <a:lvl1pPr algn="l" defTabSz="686412" rtl="0" eaLnBrk="1" latinLnBrk="0" hangingPunct="1">
        <a:lnSpc>
          <a:spcPct val="80000"/>
        </a:lnSpc>
        <a:spcBef>
          <a:spcPct val="0"/>
        </a:spcBef>
        <a:buNone/>
        <a:defRPr sz="2250" b="0" kern="1200" baseline="0">
          <a:solidFill>
            <a:schemeClr val="tx1"/>
          </a:solidFill>
          <a:latin typeface="+mj-lt"/>
          <a:ea typeface="+mj-ea"/>
          <a:cs typeface="+mj-cs"/>
        </a:defRPr>
      </a:lvl1pPr>
    </p:titleStyle>
    <p:bodyStyle>
      <a:lvl1pPr marL="176369" indent="-176369" algn="l" defTabSz="686412" rtl="0" eaLnBrk="1" latinLnBrk="0" hangingPunct="1">
        <a:lnSpc>
          <a:spcPct val="95000"/>
        </a:lnSpc>
        <a:spcBef>
          <a:spcPts val="900"/>
        </a:spcBef>
        <a:spcAft>
          <a:spcPts val="300"/>
        </a:spcAft>
        <a:buClr>
          <a:schemeClr val="accent1"/>
        </a:buClr>
        <a:buFont typeface="Wingdings" panose="05000000000000000000" pitchFamily="2" charset="2"/>
        <a:buChar char="§"/>
        <a:defRPr sz="1650" kern="1200">
          <a:solidFill>
            <a:schemeClr val="tx1"/>
          </a:solidFill>
          <a:latin typeface="+mn-lt"/>
          <a:ea typeface="+mn-ea"/>
          <a:cs typeface="+mn-cs"/>
        </a:defRPr>
      </a:lvl1pPr>
      <a:lvl2pPr marL="343206" indent="-171603"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Char char="§"/>
        <a:defRPr sz="1350" kern="1200">
          <a:solidFill>
            <a:schemeClr val="tx1"/>
          </a:solidFill>
          <a:latin typeface="+mn-lt"/>
          <a:ea typeface="+mn-ea"/>
          <a:cs typeface="+mn-cs"/>
        </a:defRPr>
      </a:lvl2pPr>
      <a:lvl3pPr marL="514809"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200" kern="1200">
          <a:solidFill>
            <a:schemeClr val="tx1"/>
          </a:solidFill>
          <a:latin typeface="+mn-lt"/>
          <a:ea typeface="+mn-ea"/>
          <a:cs typeface="+mn-cs"/>
        </a:defRPr>
      </a:lvl3pPr>
      <a:lvl4pPr marL="686412"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050" kern="1200">
          <a:solidFill>
            <a:schemeClr val="tx1"/>
          </a:solidFill>
          <a:latin typeface="+mn-lt"/>
          <a:ea typeface="+mn-ea"/>
          <a:cs typeface="+mn-cs"/>
        </a:defRPr>
      </a:lvl4pPr>
      <a:lvl5pPr marL="815114" marR="0" indent="-128702"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Char char="§"/>
        <a:tabLst/>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39">
          <p15:clr>
            <a:srgbClr val="F26B43"/>
          </p15:clr>
        </p15:guide>
        <p15:guide id="3" orient="horz" pos="1283">
          <p15:clr>
            <a:srgbClr val="F26B43"/>
          </p15:clr>
        </p15:guide>
        <p15:guide id="4" pos="7439">
          <p15:clr>
            <a:srgbClr val="F26B43"/>
          </p15:clr>
        </p15:guide>
        <p15:guide id="5" pos="52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9" name="Rectangle 12"/>
          <p:cNvSpPr>
            <a:spLocks noGrp="1" noChangeArrowheads="1"/>
          </p:cNvSpPr>
          <p:nvPr>
            <p:ph type="body" idx="1"/>
          </p:nvPr>
        </p:nvSpPr>
        <p:spPr bwMode="auto">
          <a:xfrm>
            <a:off x="228600" y="1264356"/>
            <a:ext cx="8534400" cy="334715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7" name="Rectangle 11"/>
          <p:cNvSpPr>
            <a:spLocks noGrp="1" noChangeArrowheads="1"/>
          </p:cNvSpPr>
          <p:nvPr>
            <p:ph type="title"/>
          </p:nvPr>
        </p:nvSpPr>
        <p:spPr bwMode="auto">
          <a:xfrm>
            <a:off x="228600" y="476893"/>
            <a:ext cx="8534399" cy="5357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6" name="TextBox 5"/>
          <p:cNvSpPr txBox="1"/>
          <p:nvPr userDrawn="1"/>
        </p:nvSpPr>
        <p:spPr>
          <a:xfrm>
            <a:off x="5710458" y="4897259"/>
            <a:ext cx="3133910" cy="276999"/>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a:solidFill>
                  <a:schemeClr val="bg1">
                    <a:lumMod val="50000"/>
                  </a:schemeClr>
                </a:solidFill>
              </a:rPr>
              <a:t>© 2019 Cisco and NetApp. All rights reserved. NetApp Confidential - Limited Use Only</a:t>
            </a:r>
          </a:p>
          <a:p>
            <a:pPr marL="0" marR="0" indent="0" algn="r" defTabSz="914400" rtl="0" eaLnBrk="1" fontAlgn="base" latinLnBrk="0" hangingPunct="1">
              <a:lnSpc>
                <a:spcPct val="100000"/>
              </a:lnSpc>
              <a:spcBef>
                <a:spcPct val="0"/>
              </a:spcBef>
              <a:spcAft>
                <a:spcPct val="0"/>
              </a:spcAft>
              <a:buClr>
                <a:schemeClr val="accent3"/>
              </a:buClr>
              <a:buSzTx/>
              <a:buFontTx/>
              <a:buNone/>
              <a:tabLst/>
              <a:defRPr/>
            </a:pPr>
            <a:endParaRPr lang="en-US" sz="600">
              <a:solidFill>
                <a:schemeClr val="bg1">
                  <a:lumMod val="50000"/>
                </a:schemeClr>
              </a:solidFill>
            </a:endParaRPr>
          </a:p>
        </p:txBody>
      </p:sp>
      <p:pic>
        <p:nvPicPr>
          <p:cNvPr id="7" name="Picture 6" descr="FlexPod_Reg_CMYK-withbubble.png"/>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pic>
        <p:nvPicPr>
          <p:cNvPr id="3" name="Picture 2">
            <a:extLst>
              <a:ext uri="{FF2B5EF4-FFF2-40B4-BE49-F238E27FC236}">
                <a16:creationId xmlns:a16="http://schemas.microsoft.com/office/drawing/2014/main" id="{F70FC0E8-E9CF-834F-BF20-4B30E3F8A5ED}"/>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219075" y="4829717"/>
            <a:ext cx="1304925" cy="206041"/>
          </a:xfrm>
          <a:prstGeom prst="rect">
            <a:avLst/>
          </a:prstGeom>
        </p:spPr>
      </p:pic>
    </p:spTree>
    <p:extLst>
      <p:ext uri="{BB962C8B-B14F-4D97-AF65-F5344CB8AC3E}">
        <p14:creationId xmlns:p14="http://schemas.microsoft.com/office/powerpoint/2010/main" val="1599225499"/>
      </p:ext>
    </p:extLst>
  </p:cSld>
  <p:clrMap bg1="lt1" tx1="dk1" bg2="lt2" tx2="dk2" accent1="accent1" accent2="accent2" accent3="accent3" accent4="accent4" accent5="accent5" accent6="accent6" hlink="hlink" folHlink="folHlink"/>
  <p:sldLayoutIdLst>
    <p:sldLayoutId id="2147489832" r:id="rId1"/>
    <p:sldLayoutId id="2147489833" r:id="rId2"/>
    <p:sldLayoutId id="2147489834" r:id="rId3"/>
    <p:sldLayoutId id="2147489835" r:id="rId4"/>
    <p:sldLayoutId id="2147489836" r:id="rId5"/>
    <p:sldLayoutId id="2147489837" r:id="rId6"/>
    <p:sldLayoutId id="2147489838" r:id="rId7"/>
    <p:sldLayoutId id="2147489839" r:id="rId8"/>
    <p:sldLayoutId id="2147489840" r:id="rId9"/>
    <p:sldLayoutId id="2147489841" r:id="rId10"/>
    <p:sldLayoutId id="2147489842" r:id="rId11"/>
    <p:sldLayoutId id="2147489843" r:id="rId12"/>
    <p:sldLayoutId id="2147489844" r:id="rId13"/>
    <p:sldLayoutId id="2147489845" r:id="rId14"/>
    <p:sldLayoutId id="2147489846" r:id="rId15"/>
    <p:sldLayoutId id="2147489847" r:id="rId16"/>
    <p:sldLayoutId id="2147489848" r:id="rId17"/>
    <p:sldLayoutId id="2147489849" r:id="rId18"/>
    <p:sldLayoutId id="2147489850" r:id="rId19"/>
    <p:sldLayoutId id="2147489851" r:id="rId20"/>
  </p:sldLayoutIdLst>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p:titleStyle>
    <p:body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300">
          <p15:clr>
            <a:srgbClr val="F26B43"/>
          </p15:clr>
        </p15:guide>
        <p15:guide id="4" pos="5520">
          <p15:clr>
            <a:srgbClr val="F26B43"/>
          </p15:clr>
        </p15:guide>
        <p15:guide id="5" pos="14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9" name="Rectangle 12"/>
          <p:cNvSpPr>
            <a:spLocks noGrp="1" noChangeArrowheads="1"/>
          </p:cNvSpPr>
          <p:nvPr>
            <p:ph type="body" idx="1"/>
          </p:nvPr>
        </p:nvSpPr>
        <p:spPr bwMode="auto">
          <a:xfrm>
            <a:off x="342901" y="1428750"/>
            <a:ext cx="8458199" cy="32004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027" name="Rectangle 11"/>
          <p:cNvSpPr>
            <a:spLocks noGrp="1" noChangeArrowheads="1"/>
          </p:cNvSpPr>
          <p:nvPr>
            <p:ph type="title"/>
          </p:nvPr>
        </p:nvSpPr>
        <p:spPr bwMode="auto">
          <a:xfrm>
            <a:off x="342900" y="557553"/>
            <a:ext cx="8458198" cy="5357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4" name="Footer Placeholder 3">
            <a:extLst>
              <a:ext uri="{FF2B5EF4-FFF2-40B4-BE49-F238E27FC236}">
                <a16:creationId xmlns:a16="http://schemas.microsoft.com/office/drawing/2014/main" id="{AA5ECEEC-CF0D-1D48-9FF9-A74B30C49878}"/>
              </a:ext>
            </a:extLst>
          </p:cNvPr>
          <p:cNvSpPr>
            <a:spLocks noGrp="1"/>
          </p:cNvSpPr>
          <p:nvPr>
            <p:ph type="ftr" sz="quarter" idx="3"/>
          </p:nvPr>
        </p:nvSpPr>
        <p:spPr>
          <a:xfrm>
            <a:off x="5921116" y="4855995"/>
            <a:ext cx="2879982" cy="184666"/>
          </a:xfrm>
          <a:prstGeom prst="rect">
            <a:avLst/>
          </a:prstGeom>
        </p:spPr>
        <p:txBody>
          <a:bodyPr vert="horz" lIns="91440" tIns="45720" rIns="0" bIns="45720" rtlCol="0" anchor="ctr"/>
          <a:lstStyle>
            <a:lvl1pPr algn="r">
              <a:defRPr sz="600">
                <a:solidFill>
                  <a:schemeClr val="tx1">
                    <a:tint val="75000"/>
                  </a:schemeClr>
                </a:solidFill>
              </a:defRPr>
            </a:lvl1pPr>
          </a:lstStyle>
          <a:p>
            <a:r>
              <a:rPr lang="en-US">
                <a:solidFill>
                  <a:schemeClr val="tx1"/>
                </a:solidFill>
              </a:rPr>
              <a:t>© 2019 NetApp, Inc. All rights reserved. </a:t>
            </a:r>
          </a:p>
        </p:txBody>
      </p:sp>
      <p:pic>
        <p:nvPicPr>
          <p:cNvPr id="9" name="Picture 8">
            <a:extLst>
              <a:ext uri="{FF2B5EF4-FFF2-40B4-BE49-F238E27FC236}">
                <a16:creationId xmlns:a16="http://schemas.microsoft.com/office/drawing/2014/main" id="{A33A298A-EA41-A94C-995A-C786A1B88532}"/>
              </a:ext>
            </a:extLst>
          </p:cNvPr>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a:off x="339238" y="4888016"/>
            <a:ext cx="634801" cy="113809"/>
          </a:xfrm>
          <a:prstGeom prst="rect">
            <a:avLst/>
          </a:prstGeom>
        </p:spPr>
      </p:pic>
    </p:spTree>
    <p:extLst>
      <p:ext uri="{BB962C8B-B14F-4D97-AF65-F5344CB8AC3E}">
        <p14:creationId xmlns:p14="http://schemas.microsoft.com/office/powerpoint/2010/main" val="1961389337"/>
      </p:ext>
    </p:extLst>
  </p:cSld>
  <p:clrMap bg1="lt1" tx1="dk1" bg2="lt2" tx2="dk2" accent1="accent1" accent2="accent2" accent3="accent3" accent4="accent4" accent5="accent5" accent6="accent6" hlink="hlink" folHlink="folHlink"/>
  <p:sldLayoutIdLst>
    <p:sldLayoutId id="2147489853" r:id="rId1"/>
    <p:sldLayoutId id="2147489854" r:id="rId2"/>
    <p:sldLayoutId id="2147489855" r:id="rId3"/>
    <p:sldLayoutId id="2147489856" r:id="rId4"/>
    <p:sldLayoutId id="2147489857" r:id="rId5"/>
    <p:sldLayoutId id="2147489858" r:id="rId6"/>
    <p:sldLayoutId id="2147489859" r:id="rId7"/>
    <p:sldLayoutId id="2147489860" r:id="rId8"/>
    <p:sldLayoutId id="2147489861" r:id="rId9"/>
    <p:sldLayoutId id="2147489862" r:id="rId10"/>
    <p:sldLayoutId id="2147489863" r:id="rId11"/>
    <p:sldLayoutId id="2147489864" r:id="rId12"/>
    <p:sldLayoutId id="2147489865" r:id="rId13"/>
  </p:sldLayoutIdLst>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sldNum="0" hdr="0" dt="0"/>
  <p:txStyles>
    <p:titleStyle>
      <a:lvl1pPr algn="l" rtl="0" eaLnBrk="1" fontAlgn="base" hangingPunct="1">
        <a:spcBef>
          <a:spcPct val="0"/>
        </a:spcBef>
        <a:spcAft>
          <a:spcPct val="0"/>
        </a:spcAft>
        <a:defRPr sz="2800" b="1">
          <a:solidFill>
            <a:schemeClr val="tx2"/>
          </a:solidFill>
          <a:latin typeface="+mj-lt"/>
          <a:ea typeface="+mj-ea"/>
          <a:cs typeface="+mj-cs"/>
        </a:defRPr>
      </a:lvl1pPr>
      <a:lvl2pPr algn="l" rtl="0" eaLnBrk="1" fontAlgn="base" hangingPunct="1">
        <a:spcBef>
          <a:spcPct val="0"/>
        </a:spcBef>
        <a:spcAft>
          <a:spcPct val="0"/>
        </a:spcAft>
        <a:defRPr sz="3000" b="1">
          <a:solidFill>
            <a:schemeClr val="tx1"/>
          </a:solidFill>
          <a:latin typeface="Arial" charset="0"/>
        </a:defRPr>
      </a:lvl2pPr>
      <a:lvl3pPr algn="l" rtl="0" eaLnBrk="1" fontAlgn="base" hangingPunct="1">
        <a:spcBef>
          <a:spcPct val="0"/>
        </a:spcBef>
        <a:spcAft>
          <a:spcPct val="0"/>
        </a:spcAft>
        <a:defRPr sz="3000" b="1">
          <a:solidFill>
            <a:schemeClr val="tx1"/>
          </a:solidFill>
          <a:latin typeface="Arial" charset="0"/>
        </a:defRPr>
      </a:lvl3pPr>
      <a:lvl4pPr algn="l" rtl="0" eaLnBrk="1" fontAlgn="base" hangingPunct="1">
        <a:spcBef>
          <a:spcPct val="0"/>
        </a:spcBef>
        <a:spcAft>
          <a:spcPct val="0"/>
        </a:spcAft>
        <a:defRPr sz="3000" b="1">
          <a:solidFill>
            <a:schemeClr val="tx1"/>
          </a:solidFill>
          <a:latin typeface="Arial" charset="0"/>
        </a:defRPr>
      </a:lvl4pPr>
      <a:lvl5pPr algn="l" rtl="0" eaLnBrk="1" fontAlgn="base" hangingPunct="1">
        <a:spcBef>
          <a:spcPct val="0"/>
        </a:spcBef>
        <a:spcAft>
          <a:spcPct val="0"/>
        </a:spcAft>
        <a:defRPr sz="3000" b="1">
          <a:solidFill>
            <a:schemeClr val="tx1"/>
          </a:solidFill>
          <a:latin typeface="Arial" charset="0"/>
        </a:defRPr>
      </a:lvl5pPr>
      <a:lvl6pPr marL="457106" algn="l" rtl="0" eaLnBrk="1" fontAlgn="base" hangingPunct="1">
        <a:spcBef>
          <a:spcPct val="0"/>
        </a:spcBef>
        <a:spcAft>
          <a:spcPct val="0"/>
        </a:spcAft>
        <a:defRPr sz="3000" b="1">
          <a:solidFill>
            <a:schemeClr val="tx1"/>
          </a:solidFill>
          <a:latin typeface="Arial" charset="0"/>
        </a:defRPr>
      </a:lvl6pPr>
      <a:lvl7pPr marL="914220" algn="l" rtl="0" eaLnBrk="1" fontAlgn="base" hangingPunct="1">
        <a:spcBef>
          <a:spcPct val="0"/>
        </a:spcBef>
        <a:spcAft>
          <a:spcPct val="0"/>
        </a:spcAft>
        <a:defRPr sz="3000" b="1">
          <a:solidFill>
            <a:schemeClr val="tx1"/>
          </a:solidFill>
          <a:latin typeface="Arial" charset="0"/>
        </a:defRPr>
      </a:lvl7pPr>
      <a:lvl8pPr marL="1371328" algn="l" rtl="0" eaLnBrk="1" fontAlgn="base" hangingPunct="1">
        <a:spcBef>
          <a:spcPct val="0"/>
        </a:spcBef>
        <a:spcAft>
          <a:spcPct val="0"/>
        </a:spcAft>
        <a:defRPr sz="3000" b="1">
          <a:solidFill>
            <a:schemeClr val="tx1"/>
          </a:solidFill>
          <a:latin typeface="Arial" charset="0"/>
        </a:defRPr>
      </a:lvl8pPr>
      <a:lvl9pPr marL="1828439" algn="l" rtl="0" eaLnBrk="1" fontAlgn="base" hangingPunct="1">
        <a:spcBef>
          <a:spcPct val="0"/>
        </a:spcBef>
        <a:spcAft>
          <a:spcPct val="0"/>
        </a:spcAft>
        <a:defRPr sz="3000" b="1">
          <a:solidFill>
            <a:schemeClr val="tx1"/>
          </a:solidFill>
          <a:latin typeface="Arial" charset="0"/>
        </a:defRPr>
      </a:lvl9pPr>
    </p:titleStyle>
    <p:bodyStyle>
      <a:lvl1pPr marL="206952" indent="-206952" algn="l" rtl="0" eaLnBrk="1" fontAlgn="base" hangingPunct="1">
        <a:spcBef>
          <a:spcPts val="676"/>
        </a:spcBef>
        <a:spcAft>
          <a:spcPct val="0"/>
        </a:spcAft>
        <a:buClrTx/>
        <a:buFont typeface="Arial"/>
        <a:buChar char="•"/>
        <a:defRPr sz="1800">
          <a:solidFill>
            <a:schemeClr val="tx2"/>
          </a:solidFill>
          <a:latin typeface="+mn-lt"/>
          <a:ea typeface="+mn-ea"/>
          <a:cs typeface="+mn-cs"/>
        </a:defRPr>
      </a:lvl1pPr>
      <a:lvl2pPr marL="545022" indent="-245042" algn="l" rtl="0" eaLnBrk="1" fontAlgn="base" hangingPunct="1">
        <a:spcBef>
          <a:spcPts val="624"/>
        </a:spcBef>
        <a:spcAft>
          <a:spcPct val="0"/>
        </a:spcAft>
        <a:buClrTx/>
        <a:buFont typeface="Arial"/>
        <a:buChar char="•"/>
        <a:defRPr sz="1600">
          <a:solidFill>
            <a:schemeClr val="tx2"/>
          </a:solidFill>
          <a:latin typeface="+mn-lt"/>
        </a:defRPr>
      </a:lvl2pPr>
      <a:lvl3pPr marL="835478" indent="-197431" algn="l" rtl="0" eaLnBrk="1" fontAlgn="base" hangingPunct="1">
        <a:spcBef>
          <a:spcPts val="576"/>
        </a:spcBef>
        <a:spcAft>
          <a:spcPct val="0"/>
        </a:spcAft>
        <a:buClrTx/>
        <a:buFont typeface="Arial"/>
        <a:buChar char="•"/>
        <a:defRPr sz="1400">
          <a:solidFill>
            <a:schemeClr val="tx2"/>
          </a:solidFill>
          <a:latin typeface="+mn-lt"/>
        </a:defRPr>
      </a:lvl3pPr>
      <a:lvl4pPr marL="1144977" indent="-216476" algn="l" rtl="0" eaLnBrk="1" fontAlgn="base" hangingPunct="1">
        <a:spcBef>
          <a:spcPts val="480"/>
        </a:spcBef>
        <a:spcAft>
          <a:spcPct val="0"/>
        </a:spcAft>
        <a:buClrTx/>
        <a:buFont typeface="Arial"/>
        <a:buChar char="•"/>
        <a:defRPr sz="1200">
          <a:solidFill>
            <a:schemeClr val="tx2"/>
          </a:solidFill>
          <a:latin typeface="+mn-lt"/>
        </a:defRPr>
      </a:lvl4pPr>
      <a:lvl5pPr marL="1413213" indent="-175213" algn="l" rtl="0" eaLnBrk="1" fontAlgn="base" hangingPunct="1">
        <a:spcBef>
          <a:spcPts val="480"/>
        </a:spcBef>
        <a:spcAft>
          <a:spcPct val="0"/>
        </a:spcAft>
        <a:buClrTx/>
        <a:buFont typeface="Arial"/>
        <a:buChar char="•"/>
        <a:defRPr sz="1100">
          <a:solidFill>
            <a:schemeClr val="tx2"/>
          </a:solidFill>
          <a:latin typeface="+mn-lt"/>
        </a:defRPr>
      </a:lvl5pPr>
      <a:lvl6pPr marL="1961758" indent="-266651"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869" indent="-266651"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5974" indent="-266651"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086" indent="-266651"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20" rtl="0" eaLnBrk="1" latinLnBrk="0" hangingPunct="1">
        <a:defRPr sz="1800" kern="1200">
          <a:solidFill>
            <a:schemeClr val="tx1"/>
          </a:solidFill>
          <a:latin typeface="+mn-lt"/>
          <a:ea typeface="+mn-ea"/>
          <a:cs typeface="+mn-cs"/>
        </a:defRPr>
      </a:lvl1pPr>
      <a:lvl2pPr marL="457106" algn="l" defTabSz="914220" rtl="0" eaLnBrk="1" latinLnBrk="0" hangingPunct="1">
        <a:defRPr sz="1800" kern="1200">
          <a:solidFill>
            <a:schemeClr val="tx1"/>
          </a:solidFill>
          <a:latin typeface="+mn-lt"/>
          <a:ea typeface="+mn-ea"/>
          <a:cs typeface="+mn-cs"/>
        </a:defRPr>
      </a:lvl2pPr>
      <a:lvl3pPr marL="914220" algn="l" defTabSz="914220" rtl="0" eaLnBrk="1" latinLnBrk="0" hangingPunct="1">
        <a:defRPr sz="1800" kern="1200">
          <a:solidFill>
            <a:schemeClr val="tx1"/>
          </a:solidFill>
          <a:latin typeface="+mn-lt"/>
          <a:ea typeface="+mn-ea"/>
          <a:cs typeface="+mn-cs"/>
        </a:defRPr>
      </a:lvl3pPr>
      <a:lvl4pPr marL="1371328" algn="l" defTabSz="914220" rtl="0" eaLnBrk="1" latinLnBrk="0" hangingPunct="1">
        <a:defRPr sz="1800" kern="1200">
          <a:solidFill>
            <a:schemeClr val="tx1"/>
          </a:solidFill>
          <a:latin typeface="+mn-lt"/>
          <a:ea typeface="+mn-ea"/>
          <a:cs typeface="+mn-cs"/>
        </a:defRPr>
      </a:lvl4pPr>
      <a:lvl5pPr marL="1828439" algn="l" defTabSz="914220" rtl="0" eaLnBrk="1" latinLnBrk="0" hangingPunct="1">
        <a:defRPr sz="1800" kern="1200">
          <a:solidFill>
            <a:schemeClr val="tx1"/>
          </a:solidFill>
          <a:latin typeface="+mn-lt"/>
          <a:ea typeface="+mn-ea"/>
          <a:cs typeface="+mn-cs"/>
        </a:defRPr>
      </a:lvl5pPr>
      <a:lvl6pPr marL="2285544" algn="l" defTabSz="914220" rtl="0" eaLnBrk="1" latinLnBrk="0" hangingPunct="1">
        <a:defRPr sz="1800" kern="1200">
          <a:solidFill>
            <a:schemeClr val="tx1"/>
          </a:solidFill>
          <a:latin typeface="+mn-lt"/>
          <a:ea typeface="+mn-ea"/>
          <a:cs typeface="+mn-cs"/>
        </a:defRPr>
      </a:lvl6pPr>
      <a:lvl7pPr marL="2742650" algn="l" defTabSz="914220" rtl="0" eaLnBrk="1" latinLnBrk="0" hangingPunct="1">
        <a:defRPr sz="1800" kern="1200">
          <a:solidFill>
            <a:schemeClr val="tx1"/>
          </a:solidFill>
          <a:latin typeface="+mn-lt"/>
          <a:ea typeface="+mn-ea"/>
          <a:cs typeface="+mn-cs"/>
        </a:defRPr>
      </a:lvl7pPr>
      <a:lvl8pPr marL="3199760" algn="l" defTabSz="914220" rtl="0" eaLnBrk="1" latinLnBrk="0" hangingPunct="1">
        <a:defRPr sz="1800" kern="1200">
          <a:solidFill>
            <a:schemeClr val="tx1"/>
          </a:solidFill>
          <a:latin typeface="+mn-lt"/>
          <a:ea typeface="+mn-ea"/>
          <a:cs typeface="+mn-cs"/>
        </a:defRPr>
      </a:lvl8pPr>
      <a:lvl9pPr marL="3656869" algn="l" defTabSz="9142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156">
          <p15:clr>
            <a:srgbClr val="F26B43"/>
          </p15:clr>
        </p15:guide>
        <p15:guide id="4" orient="horz" pos="900">
          <p15:clr>
            <a:srgbClr val="F26B43"/>
          </p15:clr>
        </p15:guide>
        <p15:guide id="5" pos="5544">
          <p15:clr>
            <a:srgbClr val="F26B43"/>
          </p15:clr>
        </p15:guide>
        <p15:guide id="6" pos="216">
          <p15:clr>
            <a:srgbClr val="F26B43"/>
          </p15:clr>
        </p15:guide>
        <p15:guide id="7" orient="horz" pos="2916">
          <p15:clr>
            <a:srgbClr val="F26B43"/>
          </p15:clr>
        </p15:guide>
        <p15:guide id="8" orient="horz" pos="3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2050" name="Rectangle 12">
            <a:extLst>
              <a:ext uri="{FF2B5EF4-FFF2-40B4-BE49-F238E27FC236}">
                <a16:creationId xmlns:a16="http://schemas.microsoft.com/office/drawing/2014/main" id="{1DB5ADF4-5E21-4219-B15A-39FB758B2E03}"/>
              </a:ext>
            </a:extLst>
          </p:cNvPr>
          <p:cNvSpPr>
            <a:spLocks noGrp="1" noChangeArrowheads="1"/>
          </p:cNvSpPr>
          <p:nvPr>
            <p:ph type="body" idx="1"/>
          </p:nvPr>
        </p:nvSpPr>
        <p:spPr bwMode="auto">
          <a:xfrm>
            <a:off x="219075" y="1835150"/>
            <a:ext cx="8337550"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ext</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2051" name="Rectangle 11">
            <a:extLst>
              <a:ext uri="{FF2B5EF4-FFF2-40B4-BE49-F238E27FC236}">
                <a16:creationId xmlns:a16="http://schemas.microsoft.com/office/drawing/2014/main" id="{98880C85-23AA-40BE-A872-23A1DC51B74E}"/>
              </a:ext>
            </a:extLst>
          </p:cNvPr>
          <p:cNvSpPr>
            <a:spLocks noGrp="1" noChangeArrowheads="1"/>
          </p:cNvSpPr>
          <p:nvPr>
            <p:ph type="title"/>
          </p:nvPr>
        </p:nvSpPr>
        <p:spPr bwMode="auto">
          <a:xfrm>
            <a:off x="219075" y="655638"/>
            <a:ext cx="8337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pic>
        <p:nvPicPr>
          <p:cNvPr id="2052" name="Picture 6" descr="FlexPod_Reg_CMYK-withbubble.png">
            <a:extLst>
              <a:ext uri="{FF2B5EF4-FFF2-40B4-BE49-F238E27FC236}">
                <a16:creationId xmlns:a16="http://schemas.microsoft.com/office/drawing/2014/main" id="{9D0D1790-7B42-43C6-95C7-FB417BD4EFFF}"/>
              </a:ext>
            </a:extLst>
          </p:cNvPr>
          <p:cNvPicPr>
            <a:picLocks noChangeAspect="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4">
            <a:extLst>
              <a:ext uri="{FF2B5EF4-FFF2-40B4-BE49-F238E27FC236}">
                <a16:creationId xmlns:a16="http://schemas.microsoft.com/office/drawing/2014/main" id="{737582AB-9F4B-48B8-AAC8-B0FCE20C4F30}"/>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585E0D1C-CE06-4C1B-B390-E52D36A1815F}" type="slidenum">
              <a:rPr lang="en-US" sz="600" smtClean="0">
                <a:latin typeface="+mn-lt"/>
              </a:rPr>
              <a:pPr>
                <a:defRPr/>
              </a:pPr>
              <a:t>‹#›</a:t>
            </a:fld>
            <a:endParaRPr lang="en-US" sz="600">
              <a:latin typeface="+mn-lt"/>
            </a:endParaRPr>
          </a:p>
        </p:txBody>
      </p:sp>
      <p:sp>
        <p:nvSpPr>
          <p:cNvPr id="2054" name="Rectangle 6">
            <a:extLst>
              <a:ext uri="{FF2B5EF4-FFF2-40B4-BE49-F238E27FC236}">
                <a16:creationId xmlns:a16="http://schemas.microsoft.com/office/drawing/2014/main" id="{BC5B8FFF-7219-4C6B-9813-AD0F3F91E4DF}"/>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dirty="0">
                <a:cs typeface="Calibri" panose="020F0502020204030204" pitchFamily="34" charset="0"/>
              </a:rPr>
              <a:t>© 2020 NetApp, Inc. Cisco, Inc. All rights reserved.    </a:t>
            </a:r>
          </a:p>
        </p:txBody>
      </p:sp>
    </p:spTree>
  </p:cSld>
  <p:clrMap bg1="lt1" tx1="dk1" bg2="lt2" tx2="dk2" accent1="accent1" accent2="accent2" accent3="accent3" accent4="accent4" accent5="accent5" accent6="accent6" hlink="hlink" folHlink="folHlink"/>
  <p:sldLayoutIdLst>
    <p:sldLayoutId id="2147489477" r:id="rId1"/>
    <p:sldLayoutId id="2147489478" r:id="rId2"/>
    <p:sldLayoutId id="2147489479" r:id="rId3"/>
    <p:sldLayoutId id="2147489480" r:id="rId4"/>
    <p:sldLayoutId id="2147489481" r:id="rId5"/>
    <p:sldLayoutId id="2147489482" r:id="rId6"/>
    <p:sldLayoutId id="2147489483" r:id="rId7"/>
    <p:sldLayoutId id="2147489484" r:id="rId8"/>
    <p:sldLayoutId id="2147489485" r:id="rId9"/>
    <p:sldLayoutId id="2147489486" r:id="rId10"/>
    <p:sldLayoutId id="2147489487" r:id="rId11"/>
    <p:sldLayoutId id="2147489488" r:id="rId12"/>
    <p:sldLayoutId id="2147489489" r:id="rId13"/>
    <p:sldLayoutId id="2147489439" r:id="rId14"/>
    <p:sldLayoutId id="2147489440" r:id="rId15"/>
    <p:sldLayoutId id="2147489490" r:id="rId16"/>
    <p:sldLayoutId id="2147489491" r:id="rId17"/>
    <p:sldLayoutId id="2147489441" r:id="rId18"/>
    <p:sldLayoutId id="2147489442" r:id="rId19"/>
    <p:sldLayoutId id="2147489492" r:id="rId20"/>
    <p:sldLayoutId id="2147489493" r:id="rId21"/>
    <p:sldLayoutId id="2147489494" r:id="rId22"/>
    <p:sldLayoutId id="2147489495" r:id="rId23"/>
    <p:sldLayoutId id="2147489496" r:id="rId24"/>
    <p:sldLayoutId id="2147489497" r:id="rId25"/>
    <p:sldLayoutId id="2147489784" r:id="rId26"/>
  </p:sldLayoutIdLst>
  <p:transition spd="slow">
    <p:circle/>
  </p:transition>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Arial" charset="0"/>
        </a:defRPr>
      </a:lvl2pPr>
      <a:lvl3pPr algn="l" rtl="0" eaLnBrk="0" fontAlgn="base" hangingPunct="0">
        <a:spcBef>
          <a:spcPct val="0"/>
        </a:spcBef>
        <a:spcAft>
          <a:spcPct val="0"/>
        </a:spcAft>
        <a:defRPr sz="2800" b="1">
          <a:solidFill>
            <a:srgbClr val="000000"/>
          </a:solidFill>
          <a:latin typeface="Arial" charset="0"/>
        </a:defRPr>
      </a:lvl3pPr>
      <a:lvl4pPr algn="l" rtl="0" eaLnBrk="0" fontAlgn="base" hangingPunct="0">
        <a:spcBef>
          <a:spcPct val="0"/>
        </a:spcBef>
        <a:spcAft>
          <a:spcPct val="0"/>
        </a:spcAft>
        <a:defRPr sz="2800" b="1">
          <a:solidFill>
            <a:srgbClr val="000000"/>
          </a:solidFill>
          <a:latin typeface="Arial" charset="0"/>
        </a:defRPr>
      </a:lvl4pPr>
      <a:lvl5pPr algn="l" rtl="0" eaLnBrk="0" fontAlgn="base" hangingPunct="0">
        <a:spcBef>
          <a:spcPct val="0"/>
        </a:spcBef>
        <a:spcAft>
          <a:spcPct val="0"/>
        </a:spcAft>
        <a:defRPr sz="2800" b="1">
          <a:solidFill>
            <a:srgbClr val="000000"/>
          </a:solidFill>
          <a:latin typeface="Arial" charset="0"/>
        </a:defRPr>
      </a:lvl5pPr>
      <a:lvl6pPr marL="457118" algn="l" rtl="0" eaLnBrk="1" fontAlgn="base" hangingPunct="1">
        <a:spcBef>
          <a:spcPct val="0"/>
        </a:spcBef>
        <a:spcAft>
          <a:spcPct val="0"/>
        </a:spcAft>
        <a:defRPr sz="3000" b="1">
          <a:solidFill>
            <a:schemeClr val="tx1"/>
          </a:solidFill>
          <a:latin typeface="Arial" charset="0"/>
        </a:defRPr>
      </a:lvl6pPr>
      <a:lvl7pPr marL="914243" algn="l" rtl="0" eaLnBrk="1" fontAlgn="base" hangingPunct="1">
        <a:spcBef>
          <a:spcPct val="0"/>
        </a:spcBef>
        <a:spcAft>
          <a:spcPct val="0"/>
        </a:spcAft>
        <a:defRPr sz="3000" b="1">
          <a:solidFill>
            <a:schemeClr val="tx1"/>
          </a:solidFill>
          <a:latin typeface="Arial" charset="0"/>
        </a:defRPr>
      </a:lvl7pPr>
      <a:lvl8pPr marL="1371362" algn="l" rtl="0" eaLnBrk="1" fontAlgn="base" hangingPunct="1">
        <a:spcBef>
          <a:spcPct val="0"/>
        </a:spcBef>
        <a:spcAft>
          <a:spcPct val="0"/>
        </a:spcAft>
        <a:defRPr sz="3000" b="1">
          <a:solidFill>
            <a:schemeClr val="tx1"/>
          </a:solidFill>
          <a:latin typeface="Arial" charset="0"/>
        </a:defRPr>
      </a:lvl8pPr>
      <a:lvl9pPr marL="1828484" algn="l" rtl="0" eaLnBrk="1" fontAlgn="base" hangingPunct="1">
        <a:spcBef>
          <a:spcPct val="0"/>
        </a:spcBef>
        <a:spcAft>
          <a:spcPct val="0"/>
        </a:spcAft>
        <a:defRPr sz="3000" b="1">
          <a:solidFill>
            <a:schemeClr val="tx1"/>
          </a:solidFill>
          <a:latin typeface="Arial" charset="0"/>
        </a:defRPr>
      </a:lvl9pPr>
    </p:titleStyle>
    <p:bodyStyle>
      <a:lvl1pPr marL="296863" indent="-296863" algn="l" rtl="0" eaLnBrk="0" fontAlgn="base" hangingPunct="0">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5000" indent="-334963" algn="l" rtl="0" eaLnBrk="0" fontAlgn="base" hangingPunct="0">
        <a:spcBef>
          <a:spcPts val="625"/>
        </a:spcBef>
        <a:spcAft>
          <a:spcPct val="0"/>
        </a:spcAft>
        <a:buClr>
          <a:schemeClr val="tx1"/>
        </a:buClr>
        <a:buFont typeface="Lucida Grande" pitchFamily="34" charset="0"/>
        <a:buChar char="-"/>
        <a:defRPr sz="1600">
          <a:solidFill>
            <a:srgbClr val="000000"/>
          </a:solidFill>
          <a:latin typeface="+mn-lt"/>
        </a:defRPr>
      </a:lvl2pPr>
      <a:lvl3pPr marL="925513" indent="-287338" algn="l" rtl="0" eaLnBrk="0" fontAlgn="base" hangingPunct="0">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5075" indent="-306388" algn="l" rtl="0" eaLnBrk="0" fontAlgn="base" hangingPunct="0">
        <a:spcBef>
          <a:spcPts val="475"/>
        </a:spcBef>
        <a:spcAft>
          <a:spcPct val="0"/>
        </a:spcAft>
        <a:buClr>
          <a:schemeClr val="tx1"/>
        </a:buClr>
        <a:buFont typeface="Lucida Grande" pitchFamily="34" charset="0"/>
        <a:buChar char="-"/>
        <a:defRPr sz="1600">
          <a:solidFill>
            <a:srgbClr val="000000"/>
          </a:solidFill>
          <a:latin typeface="+mn-lt"/>
        </a:defRPr>
      </a:lvl4pPr>
      <a:lvl5pPr marL="1503363" indent="-265113" algn="l" rtl="0" eaLnBrk="0" fontAlgn="base" hangingPunct="0">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098" name="Rectangle 12">
            <a:extLst>
              <a:ext uri="{FF2B5EF4-FFF2-40B4-BE49-F238E27FC236}">
                <a16:creationId xmlns:a16="http://schemas.microsoft.com/office/drawing/2014/main" id="{08F29F4F-C198-477D-AC36-F04A1BE318E8}"/>
              </a:ext>
            </a:extLst>
          </p:cNvPr>
          <p:cNvSpPr>
            <a:spLocks noGrp="1" noChangeArrowheads="1"/>
          </p:cNvSpPr>
          <p:nvPr>
            <p:ph type="body" idx="1"/>
          </p:nvPr>
        </p:nvSpPr>
        <p:spPr bwMode="auto">
          <a:xfrm>
            <a:off x="444500" y="1000125"/>
            <a:ext cx="8337550" cy="353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ext</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099" name="Rectangle 11">
            <a:extLst>
              <a:ext uri="{FF2B5EF4-FFF2-40B4-BE49-F238E27FC236}">
                <a16:creationId xmlns:a16="http://schemas.microsoft.com/office/drawing/2014/main" id="{943E129C-907A-4780-971C-ABC4814FFDF1}"/>
              </a:ext>
            </a:extLst>
          </p:cNvPr>
          <p:cNvSpPr>
            <a:spLocks noGrp="1" noChangeArrowheads="1"/>
          </p:cNvSpPr>
          <p:nvPr>
            <p:ph type="title"/>
          </p:nvPr>
        </p:nvSpPr>
        <p:spPr bwMode="auto">
          <a:xfrm>
            <a:off x="457200" y="219075"/>
            <a:ext cx="833755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6" name="TextBox 5">
            <a:extLst>
              <a:ext uri="{FF2B5EF4-FFF2-40B4-BE49-F238E27FC236}">
                <a16:creationId xmlns:a16="http://schemas.microsoft.com/office/drawing/2014/main" id="{63CC707D-5BE2-4494-B864-2A31CE379CD0}"/>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rPr>
              <a:t>© 2020 NetApp, Inc. Cisco, Inc. All rights reserved. </a:t>
            </a:r>
          </a:p>
        </p:txBody>
      </p:sp>
      <p:pic>
        <p:nvPicPr>
          <p:cNvPr id="4101" name="Picture 1" descr="FlexPod_Reg_CMYK-withbubble-lockup.png">
            <a:extLst>
              <a:ext uri="{FF2B5EF4-FFF2-40B4-BE49-F238E27FC236}">
                <a16:creationId xmlns:a16="http://schemas.microsoft.com/office/drawing/2014/main" id="{937C0087-2FA0-4B5F-8CA2-E5C4234D2B20}"/>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32675" y="252413"/>
            <a:ext cx="1373188"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9512" r:id="rId1"/>
    <p:sldLayoutId id="2147489513" r:id="rId2"/>
    <p:sldLayoutId id="2147489514" r:id="rId3"/>
    <p:sldLayoutId id="2147489515" r:id="rId4"/>
    <p:sldLayoutId id="2147489454" r:id="rId5"/>
    <p:sldLayoutId id="2147489455" r:id="rId6"/>
    <p:sldLayoutId id="2147489456" r:id="rId7"/>
  </p:sldLayoutIdLst>
  <p:transition spd="slow">
    <p:circle/>
  </p:transition>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Arial" charset="0"/>
        </a:defRPr>
      </a:lvl2pPr>
      <a:lvl3pPr algn="l" rtl="0" eaLnBrk="0" fontAlgn="base" hangingPunct="0">
        <a:spcBef>
          <a:spcPct val="0"/>
        </a:spcBef>
        <a:spcAft>
          <a:spcPct val="0"/>
        </a:spcAft>
        <a:defRPr sz="2800" b="1">
          <a:solidFill>
            <a:srgbClr val="000000"/>
          </a:solidFill>
          <a:latin typeface="Arial" charset="0"/>
        </a:defRPr>
      </a:lvl3pPr>
      <a:lvl4pPr algn="l" rtl="0" eaLnBrk="0" fontAlgn="base" hangingPunct="0">
        <a:spcBef>
          <a:spcPct val="0"/>
        </a:spcBef>
        <a:spcAft>
          <a:spcPct val="0"/>
        </a:spcAft>
        <a:defRPr sz="2800" b="1">
          <a:solidFill>
            <a:srgbClr val="000000"/>
          </a:solidFill>
          <a:latin typeface="Arial" charset="0"/>
        </a:defRPr>
      </a:lvl4pPr>
      <a:lvl5pPr algn="l" rtl="0" eaLnBrk="0" fontAlgn="base" hangingPunct="0">
        <a:spcBef>
          <a:spcPct val="0"/>
        </a:spcBef>
        <a:spcAft>
          <a:spcPct val="0"/>
        </a:spcAft>
        <a:defRPr sz="2800" b="1">
          <a:solidFill>
            <a:srgbClr val="000000"/>
          </a:solidFill>
          <a:latin typeface="Arial" charset="0"/>
        </a:defRPr>
      </a:lvl5pPr>
      <a:lvl6pPr marL="457118" algn="l" rtl="0" eaLnBrk="1" fontAlgn="base" hangingPunct="1">
        <a:spcBef>
          <a:spcPct val="0"/>
        </a:spcBef>
        <a:spcAft>
          <a:spcPct val="0"/>
        </a:spcAft>
        <a:defRPr sz="3000" b="1">
          <a:solidFill>
            <a:schemeClr val="tx1"/>
          </a:solidFill>
          <a:latin typeface="Arial" charset="0"/>
        </a:defRPr>
      </a:lvl6pPr>
      <a:lvl7pPr marL="914243" algn="l" rtl="0" eaLnBrk="1" fontAlgn="base" hangingPunct="1">
        <a:spcBef>
          <a:spcPct val="0"/>
        </a:spcBef>
        <a:spcAft>
          <a:spcPct val="0"/>
        </a:spcAft>
        <a:defRPr sz="3000" b="1">
          <a:solidFill>
            <a:schemeClr val="tx1"/>
          </a:solidFill>
          <a:latin typeface="Arial" charset="0"/>
        </a:defRPr>
      </a:lvl7pPr>
      <a:lvl8pPr marL="1371362" algn="l" rtl="0" eaLnBrk="1" fontAlgn="base" hangingPunct="1">
        <a:spcBef>
          <a:spcPct val="0"/>
        </a:spcBef>
        <a:spcAft>
          <a:spcPct val="0"/>
        </a:spcAft>
        <a:defRPr sz="3000" b="1">
          <a:solidFill>
            <a:schemeClr val="tx1"/>
          </a:solidFill>
          <a:latin typeface="Arial" charset="0"/>
        </a:defRPr>
      </a:lvl8pPr>
      <a:lvl9pPr marL="1828484" algn="l" rtl="0" eaLnBrk="1" fontAlgn="base" hangingPunct="1">
        <a:spcBef>
          <a:spcPct val="0"/>
        </a:spcBef>
        <a:spcAft>
          <a:spcPct val="0"/>
        </a:spcAft>
        <a:defRPr sz="3000" b="1">
          <a:solidFill>
            <a:schemeClr val="tx1"/>
          </a:solidFill>
          <a:latin typeface="Arial" charset="0"/>
        </a:defRPr>
      </a:lvl9pPr>
    </p:titleStyle>
    <p:bodyStyle>
      <a:lvl1pPr marL="296863" indent="-296863" algn="l" rtl="0" eaLnBrk="0" fontAlgn="base" hangingPunct="0">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5000" indent="-334963" algn="l" rtl="0" eaLnBrk="0" fontAlgn="base" hangingPunct="0">
        <a:spcBef>
          <a:spcPts val="625"/>
        </a:spcBef>
        <a:spcAft>
          <a:spcPct val="0"/>
        </a:spcAft>
        <a:buClr>
          <a:schemeClr val="tx1"/>
        </a:buClr>
        <a:buFont typeface="Lucida Grande" pitchFamily="34" charset="0"/>
        <a:buChar char="-"/>
        <a:defRPr sz="1600">
          <a:solidFill>
            <a:srgbClr val="000000"/>
          </a:solidFill>
          <a:latin typeface="+mn-lt"/>
        </a:defRPr>
      </a:lvl2pPr>
      <a:lvl3pPr marL="925513" indent="-287338" algn="l" rtl="0" eaLnBrk="0" fontAlgn="base" hangingPunct="0">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5075" indent="-306388" algn="l" rtl="0" eaLnBrk="0" fontAlgn="base" hangingPunct="0">
        <a:spcBef>
          <a:spcPts val="475"/>
        </a:spcBef>
        <a:spcAft>
          <a:spcPct val="0"/>
        </a:spcAft>
        <a:buClr>
          <a:schemeClr val="tx1"/>
        </a:buClr>
        <a:buFont typeface="Lucida Grande" pitchFamily="34" charset="0"/>
        <a:buChar char="-"/>
        <a:defRPr sz="1600">
          <a:solidFill>
            <a:srgbClr val="000000"/>
          </a:solidFill>
          <a:latin typeface="+mn-lt"/>
        </a:defRPr>
      </a:lvl4pPr>
      <a:lvl5pPr marL="1503363" indent="-265113" algn="l" rtl="0" eaLnBrk="0" fontAlgn="base" hangingPunct="0">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AC6ACB80-5E3D-4389-B6E0-F740ED7119E1}"/>
              </a:ext>
            </a:extLst>
          </p:cNvPr>
          <p:cNvSpPr>
            <a:spLocks noGrp="1" noChangeArrowheads="1"/>
          </p:cNvSpPr>
          <p:nvPr>
            <p:ph type="title"/>
          </p:nvPr>
        </p:nvSpPr>
        <p:spPr bwMode="auto">
          <a:xfrm>
            <a:off x="196850" y="180975"/>
            <a:ext cx="8747125"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b" anchorCtr="0" compatLnSpc="1">
            <a:prstTxWarp prst="textNoShape">
              <a:avLst/>
            </a:prstTxWarp>
          </a:bodyPr>
          <a:lstStyle/>
          <a:p>
            <a:pPr lvl="0"/>
            <a:r>
              <a:rPr lang="en-US" altLang="en-US"/>
              <a:t>Click to edit Master title style</a:t>
            </a:r>
          </a:p>
        </p:txBody>
      </p:sp>
      <p:sp>
        <p:nvSpPr>
          <p:cNvPr id="5123" name="Text Placeholder 2">
            <a:extLst>
              <a:ext uri="{FF2B5EF4-FFF2-40B4-BE49-F238E27FC236}">
                <a16:creationId xmlns:a16="http://schemas.microsoft.com/office/drawing/2014/main" id="{6E79B0A2-5D86-4B40-AE29-AC3D880263FC}"/>
              </a:ext>
            </a:extLst>
          </p:cNvPr>
          <p:cNvSpPr>
            <a:spLocks noGrp="1" noChangeArrowheads="1"/>
          </p:cNvSpPr>
          <p:nvPr>
            <p:ph type="body" idx="1"/>
          </p:nvPr>
        </p:nvSpPr>
        <p:spPr bwMode="auto">
          <a:xfrm>
            <a:off x="196850" y="1300163"/>
            <a:ext cx="874712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2" name="Footer Placeholder 4">
            <a:extLst>
              <a:ext uri="{FF2B5EF4-FFF2-40B4-BE49-F238E27FC236}">
                <a16:creationId xmlns:a16="http://schemas.microsoft.com/office/drawing/2014/main" id="{CA8D2B6A-5CD6-4E53-9040-A9CCD224C3EA}"/>
              </a:ext>
            </a:extLst>
          </p:cNvPr>
          <p:cNvSpPr>
            <a:spLocks noGrp="1"/>
          </p:cNvSpPr>
          <p:nvPr>
            <p:ph type="ftr" sz="quarter" idx="3"/>
          </p:nvPr>
        </p:nvSpPr>
        <p:spPr>
          <a:xfrm>
            <a:off x="557213" y="4854575"/>
            <a:ext cx="4905375" cy="180975"/>
          </a:xfrm>
          <a:prstGeom prst="rect">
            <a:avLst/>
          </a:prstGeom>
        </p:spPr>
        <p:txBody>
          <a:bodyPr vert="horz" wrap="square" lIns="91521" tIns="45761" rIns="91521" bIns="45761" rtlCol="0" anchor="b">
            <a:noAutofit/>
          </a:bodyPr>
          <a:lstStyle>
            <a:lvl1pPr defTabSz="686412">
              <a:defRPr lang="en-US" sz="600">
                <a:solidFill>
                  <a:srgbClr val="A2A5A2">
                    <a:lumMod val="50000"/>
                  </a:srgbClr>
                </a:solidFill>
              </a:defRPr>
            </a:lvl1pPr>
          </a:lstStyle>
          <a:p>
            <a:pPr>
              <a:defRPr/>
            </a:pPr>
            <a:r>
              <a:rPr lang="en-US" dirty="0"/>
              <a:t>© 2020 NetApp, Inc. Cisco, Inc. All rights reserved.  </a:t>
            </a:r>
            <a:endParaRPr dirty="0"/>
          </a:p>
        </p:txBody>
      </p:sp>
      <p:sp>
        <p:nvSpPr>
          <p:cNvPr id="13" name="Slide Number Placeholder 5">
            <a:extLst>
              <a:ext uri="{FF2B5EF4-FFF2-40B4-BE49-F238E27FC236}">
                <a16:creationId xmlns:a16="http://schemas.microsoft.com/office/drawing/2014/main" id="{57F40A29-B26F-41B0-BFDD-D0205A1FE04A}"/>
              </a:ext>
            </a:extLst>
          </p:cNvPr>
          <p:cNvSpPr>
            <a:spLocks noGrp="1"/>
          </p:cNvSpPr>
          <p:nvPr>
            <p:ph type="sldNum" sz="quarter" idx="4"/>
          </p:nvPr>
        </p:nvSpPr>
        <p:spPr>
          <a:xfrm>
            <a:off x="220663" y="4846638"/>
            <a:ext cx="336550" cy="195262"/>
          </a:xfrm>
          <a:prstGeom prst="rect">
            <a:avLst/>
          </a:prstGeom>
        </p:spPr>
        <p:txBody>
          <a:bodyPr vert="horz" wrap="square" lIns="91521" tIns="45761" rIns="91521" bIns="45761" rtlCol="0" anchor="b">
            <a:noAutofit/>
          </a:bodyPr>
          <a:lstStyle>
            <a:lvl1pPr defTabSz="686412">
              <a:defRPr lang="en-US" sz="788" b="1">
                <a:solidFill>
                  <a:srgbClr val="A2A5A2">
                    <a:lumMod val="50000"/>
                  </a:srgbClr>
                </a:solidFill>
              </a:defRPr>
            </a:lvl1pPr>
          </a:lstStyle>
          <a:p>
            <a:pPr>
              <a:defRPr/>
            </a:pPr>
            <a:fld id="{796AB478-54D0-41AE-9ACF-CC138D6FC48B}" type="slidenum">
              <a:rPr/>
              <a:pPr>
                <a:defRPr/>
              </a:pPr>
              <a:t>‹#›</a:t>
            </a:fld>
            <a:endParaRPr/>
          </a:p>
        </p:txBody>
      </p:sp>
    </p:spTree>
  </p:cSld>
  <p:clrMap bg1="lt1" tx1="dk1" bg2="lt2" tx2="dk2" accent1="accent1" accent2="accent2" accent3="accent3" accent4="accent4" accent5="accent5" accent6="accent6" hlink="hlink" folHlink="folHlink"/>
  <p:sldLayoutIdLst>
    <p:sldLayoutId id="2147489516" r:id="rId1"/>
    <p:sldLayoutId id="2147489517" r:id="rId2"/>
    <p:sldLayoutId id="2147489518" r:id="rId3"/>
    <p:sldLayoutId id="2147489519" r:id="rId4"/>
    <p:sldLayoutId id="2147489520" r:id="rId5"/>
    <p:sldLayoutId id="2147489521" r:id="rId6"/>
    <p:sldLayoutId id="2147489522" r:id="rId7"/>
    <p:sldLayoutId id="2147489523" r:id="rId8"/>
    <p:sldLayoutId id="2147489524" r:id="rId9"/>
    <p:sldLayoutId id="2147489525" r:id="rId10"/>
    <p:sldLayoutId id="2147489526" r:id="rId11"/>
    <p:sldLayoutId id="2147489527" r:id="rId12"/>
    <p:sldLayoutId id="2147489528" r:id="rId13"/>
    <p:sldLayoutId id="2147489529" r:id="rId14"/>
    <p:sldLayoutId id="2147489530" r:id="rId15"/>
    <p:sldLayoutId id="2147489531" r:id="rId16"/>
    <p:sldLayoutId id="2147489532" r:id="rId17"/>
    <p:sldLayoutId id="2147489533" r:id="rId18"/>
    <p:sldLayoutId id="2147489534" r:id="rId19"/>
    <p:sldLayoutId id="2147489535" r:id="rId20"/>
    <p:sldLayoutId id="2147489536" r:id="rId21"/>
    <p:sldLayoutId id="2147489537" r:id="rId22"/>
    <p:sldLayoutId id="2147489538" r:id="rId23"/>
    <p:sldLayoutId id="2147489539" r:id="rId24"/>
    <p:sldLayoutId id="2147489541" r:id="rId25"/>
    <p:sldLayoutId id="2147489542" r:id="rId26"/>
  </p:sldLayoutIdLst>
  <p:transition spd="med">
    <p:fade/>
  </p:transition>
  <p:hf hdr="0" dt="0"/>
  <p:txStyles>
    <p:titleStyle>
      <a:lvl1pPr algn="l" defTabSz="685800" rtl="0" eaLnBrk="0" fontAlgn="base" hangingPunct="0">
        <a:lnSpc>
          <a:spcPct val="80000"/>
        </a:lnSpc>
        <a:spcBef>
          <a:spcPct val="0"/>
        </a:spcBef>
        <a:spcAft>
          <a:spcPct val="0"/>
        </a:spcAft>
        <a:defRPr sz="2200"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p:titleStyle>
    <p:bodyStyle>
      <a:lvl1pPr marL="176213" indent="-176213" algn="l" defTabSz="685800" rtl="0" eaLnBrk="0" fontAlgn="base" hangingPunct="0">
        <a:lnSpc>
          <a:spcPct val="95000"/>
        </a:lnSpc>
        <a:spcBef>
          <a:spcPts val="90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1pPr>
      <a:lvl2pPr marL="342900" indent="-171450" algn="l" defTabSz="685800" rtl="0" eaLnBrk="0" fontAlgn="base" hangingPunct="0">
        <a:lnSpc>
          <a:spcPct val="90000"/>
        </a:lnSpc>
        <a:spcBef>
          <a:spcPts val="150"/>
        </a:spcBef>
        <a:spcAft>
          <a:spcPts val="300"/>
        </a:spcAft>
        <a:buClr>
          <a:srgbClr val="595959"/>
        </a:buClr>
        <a:buFont typeface="Wingdings" panose="05000000000000000000" pitchFamily="2" charset="2"/>
        <a:buChar char="§"/>
        <a:defRPr sz="1300" kern="1200">
          <a:solidFill>
            <a:schemeClr val="tx1"/>
          </a:solidFill>
          <a:latin typeface="+mn-lt"/>
          <a:ea typeface="+mn-ea"/>
          <a:cs typeface="+mn-cs"/>
        </a:defRPr>
      </a:lvl2pPr>
      <a:lvl3pPr marL="51435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200" kern="1200">
          <a:solidFill>
            <a:schemeClr val="tx1"/>
          </a:solidFill>
          <a:latin typeface="+mn-lt"/>
          <a:ea typeface="+mn-ea"/>
          <a:cs typeface="+mn-cs"/>
        </a:defRPr>
      </a:lvl3pPr>
      <a:lvl4pPr marL="68580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000" kern="1200">
          <a:solidFill>
            <a:schemeClr val="tx1"/>
          </a:solidFill>
          <a:latin typeface="+mn-lt"/>
          <a:ea typeface="+mn-ea"/>
          <a:cs typeface="+mn-cs"/>
        </a:defRPr>
      </a:lvl4pPr>
      <a:lvl5pPr marL="814388" indent="-128588"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6146" name="Title Placeholder 1">
            <a:extLst>
              <a:ext uri="{FF2B5EF4-FFF2-40B4-BE49-F238E27FC236}">
                <a16:creationId xmlns:a16="http://schemas.microsoft.com/office/drawing/2014/main" id="{2F5847B6-FA7F-4452-88CD-B5C819A4E61A}"/>
              </a:ext>
            </a:extLst>
          </p:cNvPr>
          <p:cNvSpPr>
            <a:spLocks noGrp="1" noChangeArrowheads="1"/>
          </p:cNvSpPr>
          <p:nvPr>
            <p:ph type="title"/>
          </p:nvPr>
        </p:nvSpPr>
        <p:spPr bwMode="auto">
          <a:xfrm>
            <a:off x="196850" y="180975"/>
            <a:ext cx="8747125"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b" anchorCtr="0" compatLnSpc="1">
            <a:prstTxWarp prst="textNoShape">
              <a:avLst/>
            </a:prstTxWarp>
          </a:bodyPr>
          <a:lstStyle/>
          <a:p>
            <a:pPr lvl="0"/>
            <a:r>
              <a:rPr lang="en-US" altLang="en-US"/>
              <a:t>Click to edit Master title style</a:t>
            </a:r>
          </a:p>
        </p:txBody>
      </p:sp>
      <p:sp>
        <p:nvSpPr>
          <p:cNvPr id="6147" name="Text Placeholder 2">
            <a:extLst>
              <a:ext uri="{FF2B5EF4-FFF2-40B4-BE49-F238E27FC236}">
                <a16:creationId xmlns:a16="http://schemas.microsoft.com/office/drawing/2014/main" id="{95E55877-1DC3-4646-BCAF-A7EA20CE2DA9}"/>
              </a:ext>
            </a:extLst>
          </p:cNvPr>
          <p:cNvSpPr>
            <a:spLocks noGrp="1" noChangeArrowheads="1"/>
          </p:cNvSpPr>
          <p:nvPr>
            <p:ph type="body" idx="1"/>
          </p:nvPr>
        </p:nvSpPr>
        <p:spPr bwMode="auto">
          <a:xfrm>
            <a:off x="196850" y="1265238"/>
            <a:ext cx="874712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3" name="Slide Number Placeholder 5">
            <a:extLst>
              <a:ext uri="{FF2B5EF4-FFF2-40B4-BE49-F238E27FC236}">
                <a16:creationId xmlns:a16="http://schemas.microsoft.com/office/drawing/2014/main" id="{1D7C9CC4-82A5-4C0A-AB05-31BEFF8F2D99}"/>
              </a:ext>
            </a:extLst>
          </p:cNvPr>
          <p:cNvSpPr>
            <a:spLocks noGrp="1"/>
          </p:cNvSpPr>
          <p:nvPr>
            <p:ph type="sldNum" sz="quarter" idx="4"/>
          </p:nvPr>
        </p:nvSpPr>
        <p:spPr>
          <a:xfrm>
            <a:off x="220663" y="4846638"/>
            <a:ext cx="336550" cy="195262"/>
          </a:xfrm>
          <a:prstGeom prst="rect">
            <a:avLst/>
          </a:prstGeom>
        </p:spPr>
        <p:txBody>
          <a:bodyPr vert="horz" wrap="square" lIns="91521" tIns="45761" rIns="91521" bIns="45761" numCol="1" anchor="b" anchorCtr="0" compatLnSpc="1">
            <a:prstTxWarp prst="textNoShape">
              <a:avLst/>
            </a:prstTxWarp>
            <a:noAutofit/>
          </a:bodyPr>
          <a:lstStyle>
            <a:lvl1pPr>
              <a:defRPr sz="700" b="1">
                <a:solidFill>
                  <a:srgbClr val="4E5252"/>
                </a:solidFill>
                <a:latin typeface="Arial" panose="020B0604020202020204" pitchFamily="34" charset="0"/>
              </a:defRPr>
            </a:lvl1pPr>
          </a:lstStyle>
          <a:p>
            <a:pPr>
              <a:defRPr/>
            </a:pPr>
            <a:fld id="{FB00FEE4-C127-4FD4-B73E-E17A55B5801E}" type="slidenum">
              <a:rPr lang="en-US" altLang="en-US"/>
              <a:pPr>
                <a:defRPr/>
              </a:pPr>
              <a:t>‹#›</a:t>
            </a:fld>
            <a:endParaRPr lang="en-US" altLang="en-US"/>
          </a:p>
        </p:txBody>
      </p:sp>
      <p:sp>
        <p:nvSpPr>
          <p:cNvPr id="6" name="TextBox 5">
            <a:extLst>
              <a:ext uri="{FF2B5EF4-FFF2-40B4-BE49-F238E27FC236}">
                <a16:creationId xmlns:a16="http://schemas.microsoft.com/office/drawing/2014/main" id="{4F782351-291A-3C44-8568-00708C020FA5}"/>
              </a:ext>
            </a:extLst>
          </p:cNvPr>
          <p:cNvSpPr txBox="1"/>
          <p:nvPr userDrawn="1"/>
        </p:nvSpPr>
        <p:spPr>
          <a:xfrm>
            <a:off x="6085114" y="4870450"/>
            <a:ext cx="3281363" cy="184150"/>
          </a:xfrm>
          <a:prstGeom prst="rect">
            <a:avLst/>
          </a:prstGeom>
          <a:noFill/>
        </p:spPr>
        <p:txBody>
          <a:bodyPr>
            <a:spAutoFit/>
          </a:bodyPr>
          <a:lstStyle/>
          <a:p>
            <a:pPr marL="0" marR="0" lvl="0" indent="0" algn="l" defTabSz="686412"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A2A5A2">
                    <a:lumMod val="50000"/>
                  </a:srgbClr>
                </a:solidFill>
                <a:effectLst/>
                <a:uLnTx/>
                <a:uFillTx/>
                <a:latin typeface="Arial" panose="020B0604020202020204" pitchFamily="34" charset="0"/>
                <a:ea typeface="+mn-ea"/>
                <a:cs typeface="+mn-cs"/>
              </a:rPr>
              <a:t>© 2020 NetApp, Inc. Cisco, Inc. All rights reserved.  </a:t>
            </a:r>
          </a:p>
        </p:txBody>
      </p:sp>
    </p:spTree>
  </p:cSld>
  <p:clrMap bg1="lt1" tx1="dk1" bg2="lt2" tx2="dk2" accent1="accent1" accent2="accent2" accent3="accent3" accent4="accent4" accent5="accent5" accent6="accent6" hlink="hlink" folHlink="folHlink"/>
  <p:sldLayoutIdLst>
    <p:sldLayoutId id="2147489543" r:id="rId1"/>
    <p:sldLayoutId id="2147489544" r:id="rId2"/>
    <p:sldLayoutId id="2147489545" r:id="rId3"/>
    <p:sldLayoutId id="2147489546" r:id="rId4"/>
    <p:sldLayoutId id="2147489547" r:id="rId5"/>
    <p:sldLayoutId id="2147489548" r:id="rId6"/>
    <p:sldLayoutId id="2147489549" r:id="rId7"/>
    <p:sldLayoutId id="2147489550" r:id="rId8"/>
  </p:sldLayoutIdLst>
  <p:transition spd="med">
    <p:fade/>
  </p:transition>
  <p:hf hdr="0" dt="0"/>
  <p:txStyles>
    <p:titleStyle>
      <a:lvl1pPr algn="l" defTabSz="685800" rtl="0" eaLnBrk="0" fontAlgn="base" hangingPunct="0">
        <a:lnSpc>
          <a:spcPct val="80000"/>
        </a:lnSpc>
        <a:spcBef>
          <a:spcPct val="0"/>
        </a:spcBef>
        <a:spcAft>
          <a:spcPct val="0"/>
        </a:spcAft>
        <a:defRPr sz="2200"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p:titleStyle>
    <p:bodyStyle>
      <a:lvl1pPr marL="176213" indent="-176213" algn="l" defTabSz="685800" rtl="0" eaLnBrk="0" fontAlgn="base" hangingPunct="0">
        <a:lnSpc>
          <a:spcPct val="95000"/>
        </a:lnSpc>
        <a:spcBef>
          <a:spcPts val="90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1pPr>
      <a:lvl2pPr marL="342900" indent="-171450" algn="l" defTabSz="685800" rtl="0" eaLnBrk="0" fontAlgn="base" hangingPunct="0">
        <a:lnSpc>
          <a:spcPct val="90000"/>
        </a:lnSpc>
        <a:spcBef>
          <a:spcPts val="150"/>
        </a:spcBef>
        <a:spcAft>
          <a:spcPts val="300"/>
        </a:spcAft>
        <a:buClr>
          <a:srgbClr val="595959"/>
        </a:buClr>
        <a:buFont typeface="Wingdings" panose="05000000000000000000" pitchFamily="2" charset="2"/>
        <a:buChar char="§"/>
        <a:defRPr sz="1300" kern="1200">
          <a:solidFill>
            <a:schemeClr val="tx1"/>
          </a:solidFill>
          <a:latin typeface="+mn-lt"/>
          <a:ea typeface="+mn-ea"/>
          <a:cs typeface="+mn-cs"/>
        </a:defRPr>
      </a:lvl2pPr>
      <a:lvl3pPr marL="51435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200" kern="1200">
          <a:solidFill>
            <a:schemeClr val="tx1"/>
          </a:solidFill>
          <a:latin typeface="+mn-lt"/>
          <a:ea typeface="+mn-ea"/>
          <a:cs typeface="+mn-cs"/>
        </a:defRPr>
      </a:lvl3pPr>
      <a:lvl4pPr marL="685800" indent="-171450"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sz="1000" kern="1200">
          <a:solidFill>
            <a:schemeClr val="tx1"/>
          </a:solidFill>
          <a:latin typeface="+mn-lt"/>
          <a:ea typeface="+mn-ea"/>
          <a:cs typeface="+mn-cs"/>
        </a:defRPr>
      </a:lvl4pPr>
      <a:lvl5pPr marL="814388" indent="-128588" algn="l" defTabSz="685800" rtl="0" eaLnBrk="0" fontAlgn="base" hangingPunct="0">
        <a:lnSpc>
          <a:spcPct val="85000"/>
        </a:lnSpc>
        <a:spcBef>
          <a:spcPts val="150"/>
        </a:spcBef>
        <a:spcAft>
          <a:spcPts val="300"/>
        </a:spcAft>
        <a:buClr>
          <a:srgbClr val="595959"/>
        </a:buClr>
        <a:buFont typeface="Wingdings" panose="05000000000000000000" pitchFamily="2" charset="2"/>
        <a:buChar char="§"/>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6412" rtl="0" eaLnBrk="1" latinLnBrk="0" hangingPunct="1">
        <a:defRPr sz="1425" kern="1200">
          <a:solidFill>
            <a:schemeClr val="tx1"/>
          </a:solidFill>
          <a:latin typeface="+mn-lt"/>
          <a:ea typeface="+mn-ea"/>
          <a:cs typeface="+mn-cs"/>
        </a:defRPr>
      </a:lvl1pPr>
      <a:lvl2pPr marL="343206" algn="l" defTabSz="686412" rtl="0" eaLnBrk="1" latinLnBrk="0" hangingPunct="1">
        <a:defRPr sz="1425" kern="1200">
          <a:solidFill>
            <a:schemeClr val="tx1"/>
          </a:solidFill>
          <a:latin typeface="+mn-lt"/>
          <a:ea typeface="+mn-ea"/>
          <a:cs typeface="+mn-cs"/>
        </a:defRPr>
      </a:lvl2pPr>
      <a:lvl3pPr marL="686412" algn="l" defTabSz="686412" rtl="0" eaLnBrk="1" latinLnBrk="0" hangingPunct="1">
        <a:defRPr sz="1425" kern="1200">
          <a:solidFill>
            <a:schemeClr val="tx1"/>
          </a:solidFill>
          <a:latin typeface="+mn-lt"/>
          <a:ea typeface="+mn-ea"/>
          <a:cs typeface="+mn-cs"/>
        </a:defRPr>
      </a:lvl3pPr>
      <a:lvl4pPr marL="1029617" algn="l" defTabSz="686412" rtl="0" eaLnBrk="1" latinLnBrk="0" hangingPunct="1">
        <a:defRPr sz="1425" kern="1200">
          <a:solidFill>
            <a:schemeClr val="tx1"/>
          </a:solidFill>
          <a:latin typeface="+mn-lt"/>
          <a:ea typeface="+mn-ea"/>
          <a:cs typeface="+mn-cs"/>
        </a:defRPr>
      </a:lvl4pPr>
      <a:lvl5pPr marL="1372823" algn="l" defTabSz="686412" rtl="0" eaLnBrk="1" latinLnBrk="0" hangingPunct="1">
        <a:defRPr sz="1425" kern="1200">
          <a:solidFill>
            <a:schemeClr val="tx1"/>
          </a:solidFill>
          <a:latin typeface="+mn-lt"/>
          <a:ea typeface="+mn-ea"/>
          <a:cs typeface="+mn-cs"/>
        </a:defRPr>
      </a:lvl5pPr>
      <a:lvl6pPr marL="1716029" algn="l" defTabSz="686412" rtl="0" eaLnBrk="1" latinLnBrk="0" hangingPunct="1">
        <a:defRPr sz="1425" kern="1200">
          <a:solidFill>
            <a:schemeClr val="tx1"/>
          </a:solidFill>
          <a:latin typeface="+mn-lt"/>
          <a:ea typeface="+mn-ea"/>
          <a:cs typeface="+mn-cs"/>
        </a:defRPr>
      </a:lvl6pPr>
      <a:lvl7pPr marL="2059235" algn="l" defTabSz="686412" rtl="0" eaLnBrk="1" latinLnBrk="0" hangingPunct="1">
        <a:defRPr sz="1425" kern="1200">
          <a:solidFill>
            <a:schemeClr val="tx1"/>
          </a:solidFill>
          <a:latin typeface="+mn-lt"/>
          <a:ea typeface="+mn-ea"/>
          <a:cs typeface="+mn-cs"/>
        </a:defRPr>
      </a:lvl7pPr>
      <a:lvl8pPr marL="2402440" algn="l" defTabSz="686412" rtl="0" eaLnBrk="1" latinLnBrk="0" hangingPunct="1">
        <a:defRPr sz="1425" kern="1200">
          <a:solidFill>
            <a:schemeClr val="tx1"/>
          </a:solidFill>
          <a:latin typeface="+mn-lt"/>
          <a:ea typeface="+mn-ea"/>
          <a:cs typeface="+mn-cs"/>
        </a:defRPr>
      </a:lvl8pPr>
      <a:lvl9pPr marL="2745646" algn="l" defTabSz="686412" rtl="0" eaLnBrk="1" latinLnBrk="0" hangingPunct="1">
        <a:defRPr sz="142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7170" name="Rectangle 12">
            <a:extLst>
              <a:ext uri="{FF2B5EF4-FFF2-40B4-BE49-F238E27FC236}">
                <a16:creationId xmlns:a16="http://schemas.microsoft.com/office/drawing/2014/main" id="{015E31A7-7DE3-4E82-8A9B-D0851059274E}"/>
              </a:ext>
            </a:extLst>
          </p:cNvPr>
          <p:cNvSpPr>
            <a:spLocks noGrp="1" noChangeArrowheads="1"/>
          </p:cNvSpPr>
          <p:nvPr>
            <p:ph type="body" idx="1"/>
          </p:nvPr>
        </p:nvSpPr>
        <p:spPr bwMode="auto">
          <a:xfrm>
            <a:off x="444500" y="1000125"/>
            <a:ext cx="8337550" cy="353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171" name="Rectangle 11">
            <a:extLst>
              <a:ext uri="{FF2B5EF4-FFF2-40B4-BE49-F238E27FC236}">
                <a16:creationId xmlns:a16="http://schemas.microsoft.com/office/drawing/2014/main" id="{C626544C-E393-46DB-9A23-01D2439884FC}"/>
              </a:ext>
            </a:extLst>
          </p:cNvPr>
          <p:cNvSpPr>
            <a:spLocks noGrp="1" noChangeArrowheads="1"/>
          </p:cNvSpPr>
          <p:nvPr>
            <p:ph type="title"/>
          </p:nvPr>
        </p:nvSpPr>
        <p:spPr bwMode="auto">
          <a:xfrm>
            <a:off x="457200" y="219075"/>
            <a:ext cx="833755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6" name="TextBox 5">
            <a:extLst>
              <a:ext uri="{FF2B5EF4-FFF2-40B4-BE49-F238E27FC236}">
                <a16:creationId xmlns:a16="http://schemas.microsoft.com/office/drawing/2014/main" id="{CE40167A-9C8A-40C2-A2E6-6EBD9EE0C195}"/>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rPr>
              <a:t>© 2020 NetApp, Inc. Cisco, Inc. All rights reserved. </a:t>
            </a:r>
          </a:p>
        </p:txBody>
      </p:sp>
      <p:pic>
        <p:nvPicPr>
          <p:cNvPr id="7173" name="Picture 1" descr="FlexPod_Reg_CMYK-withbubble-lockup.png">
            <a:extLst>
              <a:ext uri="{FF2B5EF4-FFF2-40B4-BE49-F238E27FC236}">
                <a16:creationId xmlns:a16="http://schemas.microsoft.com/office/drawing/2014/main" id="{626EE268-1A0A-4CCC-BCAB-8A2F212C0955}"/>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32675" y="252413"/>
            <a:ext cx="1373188"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9551" r:id="rId1"/>
    <p:sldLayoutId id="2147489552" r:id="rId2"/>
    <p:sldLayoutId id="2147489553" r:id="rId3"/>
    <p:sldLayoutId id="2147489554" r:id="rId4"/>
    <p:sldLayoutId id="2147489457" r:id="rId5"/>
    <p:sldLayoutId id="2147489458" r:id="rId6"/>
    <p:sldLayoutId id="2147489459" r:id="rId7"/>
  </p:sldLayoutIdLst>
  <p:transition spd="slow">
    <p:circle/>
  </p:transition>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Arial" charset="0"/>
        </a:defRPr>
      </a:lvl2pPr>
      <a:lvl3pPr algn="l" rtl="0" eaLnBrk="0" fontAlgn="base" hangingPunct="0">
        <a:spcBef>
          <a:spcPct val="0"/>
        </a:spcBef>
        <a:spcAft>
          <a:spcPct val="0"/>
        </a:spcAft>
        <a:defRPr sz="2800" b="1">
          <a:solidFill>
            <a:srgbClr val="000000"/>
          </a:solidFill>
          <a:latin typeface="Arial" charset="0"/>
        </a:defRPr>
      </a:lvl3pPr>
      <a:lvl4pPr algn="l" rtl="0" eaLnBrk="0" fontAlgn="base" hangingPunct="0">
        <a:spcBef>
          <a:spcPct val="0"/>
        </a:spcBef>
        <a:spcAft>
          <a:spcPct val="0"/>
        </a:spcAft>
        <a:defRPr sz="2800" b="1">
          <a:solidFill>
            <a:srgbClr val="000000"/>
          </a:solidFill>
          <a:latin typeface="Arial" charset="0"/>
        </a:defRPr>
      </a:lvl4pPr>
      <a:lvl5pPr algn="l" rtl="0" eaLnBrk="0" fontAlgn="base" hangingPunct="0">
        <a:spcBef>
          <a:spcPct val="0"/>
        </a:spcBef>
        <a:spcAft>
          <a:spcPct val="0"/>
        </a:spcAft>
        <a:defRPr sz="2800" b="1">
          <a:solidFill>
            <a:srgbClr val="000000"/>
          </a:solidFill>
          <a:latin typeface="Arial" charset="0"/>
        </a:defRPr>
      </a:lvl5pPr>
      <a:lvl6pPr marL="457118" algn="l" rtl="0" eaLnBrk="1" fontAlgn="base" hangingPunct="1">
        <a:spcBef>
          <a:spcPct val="0"/>
        </a:spcBef>
        <a:spcAft>
          <a:spcPct val="0"/>
        </a:spcAft>
        <a:defRPr sz="3000" b="1">
          <a:solidFill>
            <a:schemeClr val="tx1"/>
          </a:solidFill>
          <a:latin typeface="Arial" charset="0"/>
        </a:defRPr>
      </a:lvl6pPr>
      <a:lvl7pPr marL="914243" algn="l" rtl="0" eaLnBrk="1" fontAlgn="base" hangingPunct="1">
        <a:spcBef>
          <a:spcPct val="0"/>
        </a:spcBef>
        <a:spcAft>
          <a:spcPct val="0"/>
        </a:spcAft>
        <a:defRPr sz="3000" b="1">
          <a:solidFill>
            <a:schemeClr val="tx1"/>
          </a:solidFill>
          <a:latin typeface="Arial" charset="0"/>
        </a:defRPr>
      </a:lvl7pPr>
      <a:lvl8pPr marL="1371362" algn="l" rtl="0" eaLnBrk="1" fontAlgn="base" hangingPunct="1">
        <a:spcBef>
          <a:spcPct val="0"/>
        </a:spcBef>
        <a:spcAft>
          <a:spcPct val="0"/>
        </a:spcAft>
        <a:defRPr sz="3000" b="1">
          <a:solidFill>
            <a:schemeClr val="tx1"/>
          </a:solidFill>
          <a:latin typeface="Arial" charset="0"/>
        </a:defRPr>
      </a:lvl8pPr>
      <a:lvl9pPr marL="1828484" algn="l" rtl="0" eaLnBrk="1" fontAlgn="base" hangingPunct="1">
        <a:spcBef>
          <a:spcPct val="0"/>
        </a:spcBef>
        <a:spcAft>
          <a:spcPct val="0"/>
        </a:spcAft>
        <a:defRPr sz="3000" b="1">
          <a:solidFill>
            <a:schemeClr val="tx1"/>
          </a:solidFill>
          <a:latin typeface="Arial" charset="0"/>
        </a:defRPr>
      </a:lvl9pPr>
    </p:titleStyle>
    <p:bodyStyle>
      <a:lvl1pPr marL="296863" indent="-296863" algn="l" rtl="0" eaLnBrk="0" fontAlgn="base" hangingPunct="0">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5000" indent="-334963" algn="l" rtl="0" eaLnBrk="0" fontAlgn="base" hangingPunct="0">
        <a:spcBef>
          <a:spcPts val="625"/>
        </a:spcBef>
        <a:spcAft>
          <a:spcPct val="0"/>
        </a:spcAft>
        <a:buClr>
          <a:schemeClr val="tx1"/>
        </a:buClr>
        <a:buFont typeface="Lucida Grande" pitchFamily="34" charset="0"/>
        <a:buChar char="-"/>
        <a:defRPr sz="1600">
          <a:solidFill>
            <a:srgbClr val="000000"/>
          </a:solidFill>
          <a:latin typeface="+mn-lt"/>
        </a:defRPr>
      </a:lvl2pPr>
      <a:lvl3pPr marL="925513" indent="-287338" algn="l" rtl="0" eaLnBrk="0" fontAlgn="base" hangingPunct="0">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5075" indent="-306388" algn="l" rtl="0" eaLnBrk="0" fontAlgn="base" hangingPunct="0">
        <a:spcBef>
          <a:spcPts val="475"/>
        </a:spcBef>
        <a:spcAft>
          <a:spcPct val="0"/>
        </a:spcAft>
        <a:buClr>
          <a:schemeClr val="tx1"/>
        </a:buClr>
        <a:buFont typeface="Lucida Grande" pitchFamily="34" charset="0"/>
        <a:buChar char="-"/>
        <a:defRPr sz="1600">
          <a:solidFill>
            <a:srgbClr val="000000"/>
          </a:solidFill>
          <a:latin typeface="+mn-lt"/>
        </a:defRPr>
      </a:lvl4pPr>
      <a:lvl5pPr marL="1503363" indent="-265113" algn="l" rtl="0" eaLnBrk="0" fontAlgn="base" hangingPunct="0">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8194" name="Rectangle 12">
            <a:extLst>
              <a:ext uri="{FF2B5EF4-FFF2-40B4-BE49-F238E27FC236}">
                <a16:creationId xmlns:a16="http://schemas.microsoft.com/office/drawing/2014/main" id="{1BC86EAF-8027-4459-B848-4BE633EC7464}"/>
              </a:ext>
            </a:extLst>
          </p:cNvPr>
          <p:cNvSpPr>
            <a:spLocks noGrp="1" noChangeArrowheads="1"/>
          </p:cNvSpPr>
          <p:nvPr>
            <p:ph type="body" idx="1"/>
          </p:nvPr>
        </p:nvSpPr>
        <p:spPr bwMode="auto">
          <a:xfrm>
            <a:off x="219075" y="1835150"/>
            <a:ext cx="8337550"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195" name="Rectangle 11">
            <a:extLst>
              <a:ext uri="{FF2B5EF4-FFF2-40B4-BE49-F238E27FC236}">
                <a16:creationId xmlns:a16="http://schemas.microsoft.com/office/drawing/2014/main" id="{35B8F7AC-74FC-44C2-A624-301AB2AEBC51}"/>
              </a:ext>
            </a:extLst>
          </p:cNvPr>
          <p:cNvSpPr>
            <a:spLocks noGrp="1" noChangeArrowheads="1"/>
          </p:cNvSpPr>
          <p:nvPr>
            <p:ph type="title"/>
          </p:nvPr>
        </p:nvSpPr>
        <p:spPr bwMode="auto">
          <a:xfrm>
            <a:off x="219075" y="655638"/>
            <a:ext cx="8337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6" name="TextBox 5">
            <a:extLst>
              <a:ext uri="{FF2B5EF4-FFF2-40B4-BE49-F238E27FC236}">
                <a16:creationId xmlns:a16="http://schemas.microsoft.com/office/drawing/2014/main" id="{4C043F33-F8C4-4C2C-9632-B51FC1FDEC2D}"/>
              </a:ext>
            </a:extLst>
          </p:cNvPr>
          <p:cNvSpPr txBox="1"/>
          <p:nvPr userDrawn="1"/>
        </p:nvSpPr>
        <p:spPr>
          <a:xfrm>
            <a:off x="6307138" y="4897438"/>
            <a:ext cx="2536825" cy="184150"/>
          </a:xfrm>
          <a:prstGeom prst="rect">
            <a:avLst/>
          </a:prstGeom>
          <a:noFill/>
        </p:spPr>
        <p:txBody>
          <a:bodyPr>
            <a:spAutoFit/>
          </a:bodyPr>
          <a:lstStyle/>
          <a:p>
            <a:pPr algn="r" eaLnBrk="1" hangingPunct="1">
              <a:buClr>
                <a:schemeClr val="accent3"/>
              </a:buClr>
              <a:defRPr/>
            </a:pPr>
            <a:r>
              <a:rPr lang="en-US" sz="600" dirty="0">
                <a:solidFill>
                  <a:schemeClr val="bg1">
                    <a:lumMod val="50000"/>
                  </a:schemeClr>
                </a:solidFill>
              </a:rPr>
              <a:t>© 2020 NetApp, Inc. Cisco, Inc. All rights reserved. </a:t>
            </a:r>
          </a:p>
        </p:txBody>
      </p:sp>
      <p:pic>
        <p:nvPicPr>
          <p:cNvPr id="8197" name="Picture 1" descr="FlexPod_Reg_CMYK-withbubble.png">
            <a:extLst>
              <a:ext uri="{FF2B5EF4-FFF2-40B4-BE49-F238E27FC236}">
                <a16:creationId xmlns:a16="http://schemas.microsoft.com/office/drawing/2014/main" id="{4968E8E1-C09C-45EB-9F69-012DA8D0E75E}"/>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7351713" y="230188"/>
            <a:ext cx="138112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9556" r:id="rId1"/>
    <p:sldLayoutId id="2147489557" r:id="rId2"/>
    <p:sldLayoutId id="2147489558" r:id="rId3"/>
    <p:sldLayoutId id="2147489559" r:id="rId4"/>
    <p:sldLayoutId id="2147489560" r:id="rId5"/>
    <p:sldLayoutId id="2147489561" r:id="rId6"/>
    <p:sldLayoutId id="2147489562" r:id="rId7"/>
    <p:sldLayoutId id="2147489563" r:id="rId8"/>
    <p:sldLayoutId id="2147489564" r:id="rId9"/>
    <p:sldLayoutId id="2147489565" r:id="rId10"/>
    <p:sldLayoutId id="2147489566" r:id="rId11"/>
    <p:sldLayoutId id="2147489567" r:id="rId12"/>
    <p:sldLayoutId id="2147489568" r:id="rId13"/>
    <p:sldLayoutId id="2147489460" r:id="rId14"/>
    <p:sldLayoutId id="2147489461" r:id="rId15"/>
    <p:sldLayoutId id="2147489462" r:id="rId16"/>
  </p:sldLayoutIdLst>
  <p:transition spd="slow">
    <p:circle/>
  </p:transition>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Arial" charset="0"/>
        </a:defRPr>
      </a:lvl2pPr>
      <a:lvl3pPr algn="l" rtl="0" eaLnBrk="0" fontAlgn="base" hangingPunct="0">
        <a:spcBef>
          <a:spcPct val="0"/>
        </a:spcBef>
        <a:spcAft>
          <a:spcPct val="0"/>
        </a:spcAft>
        <a:defRPr sz="2800" b="1">
          <a:solidFill>
            <a:srgbClr val="000000"/>
          </a:solidFill>
          <a:latin typeface="Arial" charset="0"/>
        </a:defRPr>
      </a:lvl3pPr>
      <a:lvl4pPr algn="l" rtl="0" eaLnBrk="0" fontAlgn="base" hangingPunct="0">
        <a:spcBef>
          <a:spcPct val="0"/>
        </a:spcBef>
        <a:spcAft>
          <a:spcPct val="0"/>
        </a:spcAft>
        <a:defRPr sz="2800" b="1">
          <a:solidFill>
            <a:srgbClr val="000000"/>
          </a:solidFill>
          <a:latin typeface="Arial" charset="0"/>
        </a:defRPr>
      </a:lvl4pPr>
      <a:lvl5pPr algn="l" rtl="0" eaLnBrk="0" fontAlgn="base" hangingPunct="0">
        <a:spcBef>
          <a:spcPct val="0"/>
        </a:spcBef>
        <a:spcAft>
          <a:spcPct val="0"/>
        </a:spcAft>
        <a:defRPr sz="2800" b="1">
          <a:solidFill>
            <a:srgbClr val="000000"/>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p:titleStyle>
    <p:bodyStyle>
      <a:lvl1pPr marL="296863" indent="-296863" algn="l" rtl="0" eaLnBrk="0" fontAlgn="base" hangingPunct="0">
        <a:spcBef>
          <a:spcPts val="675"/>
        </a:spcBef>
        <a:spcAft>
          <a:spcPct val="0"/>
        </a:spcAft>
        <a:buFont typeface="Arial" panose="020B0604020202020204" pitchFamily="34" charset="0"/>
        <a:buChar char="•"/>
        <a:defRPr>
          <a:solidFill>
            <a:srgbClr val="000000"/>
          </a:solidFill>
          <a:latin typeface="+mn-lt"/>
          <a:ea typeface="+mn-ea"/>
          <a:cs typeface="+mn-cs"/>
        </a:defRPr>
      </a:lvl1pPr>
      <a:lvl2pPr marL="635000" indent="-334963" algn="l" rtl="0" eaLnBrk="0" fontAlgn="base" hangingPunct="0">
        <a:spcBef>
          <a:spcPts val="625"/>
        </a:spcBef>
        <a:spcAft>
          <a:spcPct val="0"/>
        </a:spcAft>
        <a:buFont typeface="Lucida Grande" pitchFamily="34" charset="0"/>
        <a:buChar char="-"/>
        <a:defRPr sz="1600">
          <a:solidFill>
            <a:srgbClr val="000000"/>
          </a:solidFill>
          <a:latin typeface="+mn-lt"/>
        </a:defRPr>
      </a:lvl2pPr>
      <a:lvl3pPr marL="925513" indent="-287338" algn="l" rtl="0" eaLnBrk="0" fontAlgn="base" hangingPunct="0">
        <a:spcBef>
          <a:spcPts val="575"/>
        </a:spcBef>
        <a:spcAft>
          <a:spcPct val="0"/>
        </a:spcAft>
        <a:buFont typeface="Arial" panose="020B0604020202020204" pitchFamily="34" charset="0"/>
        <a:buChar char="•"/>
        <a:defRPr sz="1600">
          <a:solidFill>
            <a:srgbClr val="000000"/>
          </a:solidFill>
          <a:latin typeface="+mn-lt"/>
        </a:defRPr>
      </a:lvl3pPr>
      <a:lvl4pPr marL="1235075" indent="-306388" algn="l" rtl="0" eaLnBrk="0" fontAlgn="base" hangingPunct="0">
        <a:spcBef>
          <a:spcPts val="475"/>
        </a:spcBef>
        <a:spcAft>
          <a:spcPct val="0"/>
        </a:spcAft>
        <a:buFont typeface="Lucida Grande" pitchFamily="34" charset="0"/>
        <a:buChar char="-"/>
        <a:defRPr sz="1600">
          <a:solidFill>
            <a:srgbClr val="000000"/>
          </a:solidFill>
          <a:latin typeface="+mn-lt"/>
        </a:defRPr>
      </a:lvl4pPr>
      <a:lvl5pPr marL="1503363" indent="-265113" algn="l" rtl="0" eaLnBrk="0" fontAlgn="base" hangingPunct="0">
        <a:spcBef>
          <a:spcPts val="475"/>
        </a:spcBef>
        <a:spcAft>
          <a:spcPct val="0"/>
        </a:spcAft>
        <a:buFont typeface="Arial" panose="020B0604020202020204" pitchFamily="34" charset="0"/>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9218" name="Rectangle 12">
            <a:extLst>
              <a:ext uri="{FF2B5EF4-FFF2-40B4-BE49-F238E27FC236}">
                <a16:creationId xmlns:a16="http://schemas.microsoft.com/office/drawing/2014/main" id="{1EBAAD95-EFD2-48B0-8BC3-A1945C0F9738}"/>
              </a:ext>
            </a:extLst>
          </p:cNvPr>
          <p:cNvSpPr>
            <a:spLocks noGrp="1" noChangeArrowheads="1"/>
          </p:cNvSpPr>
          <p:nvPr>
            <p:ph type="body" idx="1"/>
          </p:nvPr>
        </p:nvSpPr>
        <p:spPr bwMode="auto">
          <a:xfrm>
            <a:off x="219075" y="1835150"/>
            <a:ext cx="8337550"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ext</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9219" name="Rectangle 11">
            <a:extLst>
              <a:ext uri="{FF2B5EF4-FFF2-40B4-BE49-F238E27FC236}">
                <a16:creationId xmlns:a16="http://schemas.microsoft.com/office/drawing/2014/main" id="{F9690DB7-8FFD-41BF-A084-CB50E921FE7D}"/>
              </a:ext>
            </a:extLst>
          </p:cNvPr>
          <p:cNvSpPr>
            <a:spLocks noGrp="1" noChangeArrowheads="1"/>
          </p:cNvSpPr>
          <p:nvPr>
            <p:ph type="title"/>
          </p:nvPr>
        </p:nvSpPr>
        <p:spPr bwMode="auto">
          <a:xfrm>
            <a:off x="219075" y="655638"/>
            <a:ext cx="8337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pic>
        <p:nvPicPr>
          <p:cNvPr id="9220" name="Picture 6" descr="FlexPod_Reg_CMYK-withbubble.png">
            <a:extLst>
              <a:ext uri="{FF2B5EF4-FFF2-40B4-BE49-F238E27FC236}">
                <a16:creationId xmlns:a16="http://schemas.microsoft.com/office/drawing/2014/main" id="{00AF8F50-EBDB-463F-9C10-C9CF47C6EFE9}"/>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a:fillRect/>
          </a:stretch>
        </p:blipFill>
        <p:spPr bwMode="auto">
          <a:xfrm>
            <a:off x="7402513" y="258763"/>
            <a:ext cx="1381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Rectangle 8">
            <a:extLst>
              <a:ext uri="{FF2B5EF4-FFF2-40B4-BE49-F238E27FC236}">
                <a16:creationId xmlns:a16="http://schemas.microsoft.com/office/drawing/2014/main" id="{C6FA10F6-489B-49EF-8DDD-853B99EFC9B6}"/>
              </a:ext>
            </a:extLst>
          </p:cNvPr>
          <p:cNvSpPr>
            <a:spLocks noChangeArrowheads="1"/>
          </p:cNvSpPr>
          <p:nvPr userDrawn="1"/>
        </p:nvSpPr>
        <p:spPr bwMode="auto">
          <a:xfrm>
            <a:off x="5105400" y="4937125"/>
            <a:ext cx="39322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600" dirty="0">
                <a:cs typeface="Calibri" panose="020F0502020204030204" pitchFamily="34" charset="0"/>
              </a:rPr>
              <a:t>© 2020 NetApp, Inc. Cisco, Inc. All rights reserved.    </a:t>
            </a:r>
          </a:p>
        </p:txBody>
      </p:sp>
      <p:sp>
        <p:nvSpPr>
          <p:cNvPr id="10" name="Slide Number Placeholder 4">
            <a:extLst>
              <a:ext uri="{FF2B5EF4-FFF2-40B4-BE49-F238E27FC236}">
                <a16:creationId xmlns:a16="http://schemas.microsoft.com/office/drawing/2014/main" id="{737582AB-9F4B-48B8-AAC8-B0FCE20C4F30}"/>
              </a:ext>
            </a:extLst>
          </p:cNvPr>
          <p:cNvSpPr txBox="1">
            <a:spLocks/>
          </p:cNvSpPr>
          <p:nvPr userDrawn="1"/>
        </p:nvSpPr>
        <p:spPr>
          <a:xfrm>
            <a:off x="211138" y="4937125"/>
            <a:ext cx="449262" cy="26193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defRPr/>
            </a:pPr>
            <a:fld id="{07DA4387-124B-4EED-8E45-C920590D961C}" type="slidenum">
              <a:rPr lang="en-US" sz="600" smtClean="0">
                <a:latin typeface="+mn-lt"/>
              </a:rPr>
              <a:pPr>
                <a:defRPr/>
              </a:pPr>
              <a:t>‹#›</a:t>
            </a:fld>
            <a:endParaRPr lang="en-US" sz="600" dirty="0">
              <a:latin typeface="+mn-lt"/>
            </a:endParaRPr>
          </a:p>
        </p:txBody>
      </p:sp>
    </p:spTree>
  </p:cSld>
  <p:clrMap bg1="lt1" tx1="dk1" bg2="lt2" tx2="dk2" accent1="accent1" accent2="accent2" accent3="accent3" accent4="accent4" accent5="accent5" accent6="accent6" hlink="hlink" folHlink="folHlink"/>
  <p:sldLayoutIdLst>
    <p:sldLayoutId id="2147489569" r:id="rId1"/>
    <p:sldLayoutId id="2147489570" r:id="rId2"/>
    <p:sldLayoutId id="2147489571" r:id="rId3"/>
    <p:sldLayoutId id="2147489572" r:id="rId4"/>
    <p:sldLayoutId id="2147489573" r:id="rId5"/>
    <p:sldLayoutId id="2147489574" r:id="rId6"/>
    <p:sldLayoutId id="2147489575" r:id="rId7"/>
    <p:sldLayoutId id="2147489576" r:id="rId8"/>
    <p:sldLayoutId id="2147489577" r:id="rId9"/>
    <p:sldLayoutId id="2147489578" r:id="rId10"/>
    <p:sldLayoutId id="2147489579" r:id="rId11"/>
    <p:sldLayoutId id="2147489580" r:id="rId12"/>
    <p:sldLayoutId id="2147489581" r:id="rId13"/>
    <p:sldLayoutId id="2147489463" r:id="rId14"/>
    <p:sldLayoutId id="2147489464" r:id="rId15"/>
    <p:sldLayoutId id="2147489583" r:id="rId16"/>
    <p:sldLayoutId id="2147489584" r:id="rId17"/>
    <p:sldLayoutId id="2147489585" r:id="rId18"/>
    <p:sldLayoutId id="2147489586" r:id="rId19"/>
    <p:sldLayoutId id="2147489587" r:id="rId20"/>
    <p:sldLayoutId id="2147489588" r:id="rId21"/>
    <p:sldLayoutId id="2147489589" r:id="rId22"/>
    <p:sldLayoutId id="2147489591" r:id="rId23"/>
    <p:sldLayoutId id="2147489592" r:id="rId24"/>
    <p:sldLayoutId id="2147489465" r:id="rId25"/>
    <p:sldLayoutId id="2147489466" r:id="rId26"/>
    <p:sldLayoutId id="2147489593" r:id="rId27"/>
    <p:sldLayoutId id="2147489467" r:id="rId28"/>
  </p:sldLayoutIdLst>
  <p:transition spd="slow">
    <p:circle/>
  </p:transition>
  <p:hf sldNum="0" hdr="0" dt="0"/>
  <p:txStyles>
    <p:titleStyle>
      <a:lvl1pPr algn="l" rtl="0" fontAlgn="base">
        <a:spcBef>
          <a:spcPct val="0"/>
        </a:spcBef>
        <a:spcAft>
          <a:spcPct val="0"/>
        </a:spcAft>
        <a:defRPr sz="2800" b="1">
          <a:solidFill>
            <a:srgbClr val="000000"/>
          </a:solidFill>
          <a:latin typeface="+mj-lt"/>
          <a:ea typeface="+mj-ea"/>
          <a:cs typeface="+mj-cs"/>
        </a:defRPr>
      </a:lvl1pPr>
      <a:lvl2pPr algn="l" rtl="0" fontAlgn="base">
        <a:spcBef>
          <a:spcPct val="0"/>
        </a:spcBef>
        <a:spcAft>
          <a:spcPct val="0"/>
        </a:spcAft>
        <a:defRPr sz="2800" b="1">
          <a:solidFill>
            <a:srgbClr val="000000"/>
          </a:solidFill>
          <a:latin typeface="Arial" charset="0"/>
        </a:defRPr>
      </a:lvl2pPr>
      <a:lvl3pPr algn="l" rtl="0" fontAlgn="base">
        <a:spcBef>
          <a:spcPct val="0"/>
        </a:spcBef>
        <a:spcAft>
          <a:spcPct val="0"/>
        </a:spcAft>
        <a:defRPr sz="2800" b="1">
          <a:solidFill>
            <a:srgbClr val="000000"/>
          </a:solidFill>
          <a:latin typeface="Arial" charset="0"/>
        </a:defRPr>
      </a:lvl3pPr>
      <a:lvl4pPr algn="l" rtl="0" fontAlgn="base">
        <a:spcBef>
          <a:spcPct val="0"/>
        </a:spcBef>
        <a:spcAft>
          <a:spcPct val="0"/>
        </a:spcAft>
        <a:defRPr sz="2800" b="1">
          <a:solidFill>
            <a:srgbClr val="000000"/>
          </a:solidFill>
          <a:latin typeface="Arial" charset="0"/>
        </a:defRPr>
      </a:lvl4pPr>
      <a:lvl5pPr algn="l" rtl="0" fontAlgn="base">
        <a:spcBef>
          <a:spcPct val="0"/>
        </a:spcBef>
        <a:spcAft>
          <a:spcPct val="0"/>
        </a:spcAft>
        <a:defRPr sz="2800" b="1">
          <a:solidFill>
            <a:srgbClr val="000000"/>
          </a:solidFill>
          <a:latin typeface="Arial" charset="0"/>
        </a:defRPr>
      </a:lvl5pPr>
      <a:lvl6pPr marL="457106" algn="l" rtl="0" eaLnBrk="1" fontAlgn="base" hangingPunct="1">
        <a:spcBef>
          <a:spcPct val="0"/>
        </a:spcBef>
        <a:spcAft>
          <a:spcPct val="0"/>
        </a:spcAft>
        <a:defRPr sz="3000" b="1">
          <a:solidFill>
            <a:schemeClr val="tx1"/>
          </a:solidFill>
          <a:latin typeface="Arial" charset="0"/>
        </a:defRPr>
      </a:lvl6pPr>
      <a:lvl7pPr marL="914220" algn="l" rtl="0" eaLnBrk="1" fontAlgn="base" hangingPunct="1">
        <a:spcBef>
          <a:spcPct val="0"/>
        </a:spcBef>
        <a:spcAft>
          <a:spcPct val="0"/>
        </a:spcAft>
        <a:defRPr sz="3000" b="1">
          <a:solidFill>
            <a:schemeClr val="tx1"/>
          </a:solidFill>
          <a:latin typeface="Arial" charset="0"/>
        </a:defRPr>
      </a:lvl7pPr>
      <a:lvl8pPr marL="1371328" algn="l" rtl="0" eaLnBrk="1" fontAlgn="base" hangingPunct="1">
        <a:spcBef>
          <a:spcPct val="0"/>
        </a:spcBef>
        <a:spcAft>
          <a:spcPct val="0"/>
        </a:spcAft>
        <a:defRPr sz="3000" b="1">
          <a:solidFill>
            <a:schemeClr val="tx1"/>
          </a:solidFill>
          <a:latin typeface="Arial" charset="0"/>
        </a:defRPr>
      </a:lvl8pPr>
      <a:lvl9pPr marL="1828439" algn="l" rtl="0" eaLnBrk="1" fontAlgn="base" hangingPunct="1">
        <a:spcBef>
          <a:spcPct val="0"/>
        </a:spcBef>
        <a:spcAft>
          <a:spcPct val="0"/>
        </a:spcAft>
        <a:defRPr sz="3000" b="1">
          <a:solidFill>
            <a:schemeClr val="tx1"/>
          </a:solidFill>
          <a:latin typeface="Arial" charset="0"/>
        </a:defRPr>
      </a:lvl9pPr>
    </p:titleStyle>
    <p:bodyStyle>
      <a:lvl1pPr marL="295275" indent="-295275" algn="l" rtl="0" fontAlgn="base">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3413" indent="-333375" algn="l" rtl="0" fontAlgn="base">
        <a:spcBef>
          <a:spcPts val="625"/>
        </a:spcBef>
        <a:spcAft>
          <a:spcPct val="0"/>
        </a:spcAft>
        <a:buClr>
          <a:schemeClr val="tx1"/>
        </a:buClr>
        <a:buFont typeface="Lucida Grande" pitchFamily="34" charset="0"/>
        <a:buChar char="-"/>
        <a:defRPr sz="1600">
          <a:solidFill>
            <a:srgbClr val="000000"/>
          </a:solidFill>
          <a:latin typeface="+mn-lt"/>
        </a:defRPr>
      </a:lvl2pPr>
      <a:lvl3pPr marL="923925" indent="-285750" algn="l" rtl="0" fontAlgn="base">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3488" indent="-304800" algn="l" rtl="0" fontAlgn="base">
        <a:spcBef>
          <a:spcPts val="475"/>
        </a:spcBef>
        <a:spcAft>
          <a:spcPct val="0"/>
        </a:spcAft>
        <a:buClr>
          <a:schemeClr val="tx1"/>
        </a:buClr>
        <a:buFont typeface="Lucida Grande" pitchFamily="34" charset="0"/>
        <a:buChar char="-"/>
        <a:defRPr sz="1600">
          <a:solidFill>
            <a:srgbClr val="000000"/>
          </a:solidFill>
          <a:latin typeface="+mn-lt"/>
        </a:defRPr>
      </a:lvl4pPr>
      <a:lvl5pPr marL="1501775" indent="-263525" algn="l" rtl="0" fontAlgn="base">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758" indent="-266651"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869" indent="-266651"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5974" indent="-266651"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086" indent="-266651" algn="l" rtl="0" eaLnBrk="1" fontAlgn="base" hangingPunct="1">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20" rtl="0" eaLnBrk="1" latinLnBrk="0" hangingPunct="1">
        <a:defRPr sz="1800" kern="1200">
          <a:solidFill>
            <a:schemeClr val="tx1"/>
          </a:solidFill>
          <a:latin typeface="+mn-lt"/>
          <a:ea typeface="+mn-ea"/>
          <a:cs typeface="+mn-cs"/>
        </a:defRPr>
      </a:lvl1pPr>
      <a:lvl2pPr marL="457106" algn="l" defTabSz="914220" rtl="0" eaLnBrk="1" latinLnBrk="0" hangingPunct="1">
        <a:defRPr sz="1800" kern="1200">
          <a:solidFill>
            <a:schemeClr val="tx1"/>
          </a:solidFill>
          <a:latin typeface="+mn-lt"/>
          <a:ea typeface="+mn-ea"/>
          <a:cs typeface="+mn-cs"/>
        </a:defRPr>
      </a:lvl2pPr>
      <a:lvl3pPr marL="914220" algn="l" defTabSz="914220" rtl="0" eaLnBrk="1" latinLnBrk="0" hangingPunct="1">
        <a:defRPr sz="1800" kern="1200">
          <a:solidFill>
            <a:schemeClr val="tx1"/>
          </a:solidFill>
          <a:latin typeface="+mn-lt"/>
          <a:ea typeface="+mn-ea"/>
          <a:cs typeface="+mn-cs"/>
        </a:defRPr>
      </a:lvl3pPr>
      <a:lvl4pPr marL="1371328" algn="l" defTabSz="914220" rtl="0" eaLnBrk="1" latinLnBrk="0" hangingPunct="1">
        <a:defRPr sz="1800" kern="1200">
          <a:solidFill>
            <a:schemeClr val="tx1"/>
          </a:solidFill>
          <a:latin typeface="+mn-lt"/>
          <a:ea typeface="+mn-ea"/>
          <a:cs typeface="+mn-cs"/>
        </a:defRPr>
      </a:lvl4pPr>
      <a:lvl5pPr marL="1828439" algn="l" defTabSz="914220" rtl="0" eaLnBrk="1" latinLnBrk="0" hangingPunct="1">
        <a:defRPr sz="1800" kern="1200">
          <a:solidFill>
            <a:schemeClr val="tx1"/>
          </a:solidFill>
          <a:latin typeface="+mn-lt"/>
          <a:ea typeface="+mn-ea"/>
          <a:cs typeface="+mn-cs"/>
        </a:defRPr>
      </a:lvl5pPr>
      <a:lvl6pPr marL="2285544" algn="l" defTabSz="914220" rtl="0" eaLnBrk="1" latinLnBrk="0" hangingPunct="1">
        <a:defRPr sz="1800" kern="1200">
          <a:solidFill>
            <a:schemeClr val="tx1"/>
          </a:solidFill>
          <a:latin typeface="+mn-lt"/>
          <a:ea typeface="+mn-ea"/>
          <a:cs typeface="+mn-cs"/>
        </a:defRPr>
      </a:lvl6pPr>
      <a:lvl7pPr marL="2742650" algn="l" defTabSz="914220" rtl="0" eaLnBrk="1" latinLnBrk="0" hangingPunct="1">
        <a:defRPr sz="1800" kern="1200">
          <a:solidFill>
            <a:schemeClr val="tx1"/>
          </a:solidFill>
          <a:latin typeface="+mn-lt"/>
          <a:ea typeface="+mn-ea"/>
          <a:cs typeface="+mn-cs"/>
        </a:defRPr>
      </a:lvl7pPr>
      <a:lvl8pPr marL="3199760" algn="l" defTabSz="914220" rtl="0" eaLnBrk="1" latinLnBrk="0" hangingPunct="1">
        <a:defRPr sz="1800" kern="1200">
          <a:solidFill>
            <a:schemeClr val="tx1"/>
          </a:solidFill>
          <a:latin typeface="+mn-lt"/>
          <a:ea typeface="+mn-ea"/>
          <a:cs typeface="+mn-cs"/>
        </a:defRPr>
      </a:lvl8pPr>
      <a:lvl9pPr marL="3656869" algn="l" defTabSz="91422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9" name="Rectangle 12"/>
          <p:cNvSpPr>
            <a:spLocks noGrp="1" noChangeArrowheads="1"/>
          </p:cNvSpPr>
          <p:nvPr>
            <p:ph type="body" idx="1"/>
          </p:nvPr>
        </p:nvSpPr>
        <p:spPr bwMode="auto">
          <a:xfrm>
            <a:off x="228600" y="1264356"/>
            <a:ext cx="8534400" cy="334715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7" name="Rectangle 11"/>
          <p:cNvSpPr>
            <a:spLocks noGrp="1" noChangeArrowheads="1"/>
          </p:cNvSpPr>
          <p:nvPr>
            <p:ph type="title"/>
          </p:nvPr>
        </p:nvSpPr>
        <p:spPr bwMode="auto">
          <a:xfrm>
            <a:off x="228600" y="476893"/>
            <a:ext cx="8534399" cy="5357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6" name="TextBox 5"/>
          <p:cNvSpPr txBox="1"/>
          <p:nvPr userDrawn="1"/>
        </p:nvSpPr>
        <p:spPr>
          <a:xfrm>
            <a:off x="5710458" y="4897259"/>
            <a:ext cx="3133910" cy="276999"/>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
                <a:schemeClr val="accent3"/>
              </a:buClr>
              <a:buSzTx/>
              <a:buFontTx/>
              <a:buNone/>
              <a:tabLst/>
              <a:defRPr/>
            </a:pPr>
            <a:r>
              <a:rPr lang="en-US" sz="600" dirty="0">
                <a:solidFill>
                  <a:schemeClr val="bg1">
                    <a:lumMod val="50000"/>
                  </a:schemeClr>
                </a:solidFill>
              </a:rPr>
              <a:t>© 2020 Cisco and NetApp. All rights reserved. </a:t>
            </a:r>
          </a:p>
          <a:p>
            <a:pPr marL="0" marR="0" indent="0" algn="r" defTabSz="914400" rtl="0" eaLnBrk="1" fontAlgn="base" latinLnBrk="0" hangingPunct="1">
              <a:lnSpc>
                <a:spcPct val="100000"/>
              </a:lnSpc>
              <a:spcBef>
                <a:spcPct val="0"/>
              </a:spcBef>
              <a:spcAft>
                <a:spcPct val="0"/>
              </a:spcAft>
              <a:buClr>
                <a:schemeClr val="accent3"/>
              </a:buClr>
              <a:buSzTx/>
              <a:buFontTx/>
              <a:buNone/>
              <a:tabLst/>
              <a:defRPr/>
            </a:pPr>
            <a:endParaRPr lang="en-US" sz="600" dirty="0">
              <a:solidFill>
                <a:schemeClr val="bg1">
                  <a:lumMod val="50000"/>
                </a:schemeClr>
              </a:solidFill>
            </a:endParaRPr>
          </a:p>
        </p:txBody>
      </p:sp>
      <p:pic>
        <p:nvPicPr>
          <p:cNvPr id="7" name="Picture 6" descr="FlexPod_Reg_CMYK-withbubble.png"/>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7403071" y="259487"/>
            <a:ext cx="1380393" cy="199549"/>
          </a:xfrm>
          <a:prstGeom prst="rect">
            <a:avLst/>
          </a:prstGeom>
        </p:spPr>
      </p:pic>
      <p:pic>
        <p:nvPicPr>
          <p:cNvPr id="3" name="Picture 2">
            <a:extLst>
              <a:ext uri="{FF2B5EF4-FFF2-40B4-BE49-F238E27FC236}">
                <a16:creationId xmlns:a16="http://schemas.microsoft.com/office/drawing/2014/main" id="{F70FC0E8-E9CF-834F-BF20-4B30E3F8A5ED}"/>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219075" y="4829717"/>
            <a:ext cx="1304925" cy="206041"/>
          </a:xfrm>
          <a:prstGeom prst="rect">
            <a:avLst/>
          </a:prstGeom>
        </p:spPr>
      </p:pic>
    </p:spTree>
    <p:extLst>
      <p:ext uri="{BB962C8B-B14F-4D97-AF65-F5344CB8AC3E}">
        <p14:creationId xmlns:p14="http://schemas.microsoft.com/office/powerpoint/2010/main" val="4089901506"/>
      </p:ext>
    </p:extLst>
  </p:cSld>
  <p:clrMap bg1="lt1" tx1="dk1" bg2="lt2" tx2="dk2" accent1="accent1" accent2="accent2" accent3="accent3" accent4="accent4" accent5="accent5" accent6="accent6" hlink="hlink" folHlink="folHlink"/>
  <p:sldLayoutIdLst>
    <p:sldLayoutId id="2147489612" r:id="rId1"/>
    <p:sldLayoutId id="2147489613" r:id="rId2"/>
    <p:sldLayoutId id="2147489614" r:id="rId3"/>
    <p:sldLayoutId id="2147489615" r:id="rId4"/>
    <p:sldLayoutId id="2147489616" r:id="rId5"/>
    <p:sldLayoutId id="2147489617" r:id="rId6"/>
    <p:sldLayoutId id="2147489618" r:id="rId7"/>
    <p:sldLayoutId id="2147489619" r:id="rId8"/>
    <p:sldLayoutId id="2147489620" r:id="rId9"/>
    <p:sldLayoutId id="2147489621" r:id="rId10"/>
    <p:sldLayoutId id="2147489622" r:id="rId11"/>
    <p:sldLayoutId id="2147489623" r:id="rId12"/>
    <p:sldLayoutId id="2147489624" r:id="rId13"/>
    <p:sldLayoutId id="2147489625" r:id="rId14"/>
    <p:sldLayoutId id="2147489626" r:id="rId15"/>
    <p:sldLayoutId id="2147489627" r:id="rId16"/>
    <p:sldLayoutId id="2147489628" r:id="rId17"/>
    <p:sldLayoutId id="2147489630" r:id="rId18"/>
    <p:sldLayoutId id="2147489783" r:id="rId19"/>
    <p:sldLayoutId id="2147489785" r:id="rId20"/>
  </p:sldLayoutIdLst>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sldNum="0" hdr="0" dt="0"/>
  <p:txStyles>
    <p:title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p:titleStyle>
    <p:body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p:bodyStyle>
    <p:otherStyle>
      <a:defPPr>
        <a:defRPr lang="en-US"/>
      </a:defPPr>
      <a:lvl1pPr marL="0" algn="l" defTabSz="914243" rtl="0" eaLnBrk="1" latinLnBrk="0" hangingPunct="1">
        <a:defRPr sz="1800" kern="1200">
          <a:solidFill>
            <a:schemeClr val="tx1"/>
          </a:solidFill>
          <a:latin typeface="+mn-lt"/>
          <a:ea typeface="+mn-ea"/>
          <a:cs typeface="+mn-cs"/>
        </a:defRPr>
      </a:lvl1pPr>
      <a:lvl2pPr marL="457118" algn="l" defTabSz="914243" rtl="0" eaLnBrk="1" latinLnBrk="0" hangingPunct="1">
        <a:defRPr sz="1800" kern="1200">
          <a:solidFill>
            <a:schemeClr val="tx1"/>
          </a:solidFill>
          <a:latin typeface="+mn-lt"/>
          <a:ea typeface="+mn-ea"/>
          <a:cs typeface="+mn-cs"/>
        </a:defRPr>
      </a:lvl2pPr>
      <a:lvl3pPr marL="914243" algn="l" defTabSz="914243" rtl="0" eaLnBrk="1" latinLnBrk="0" hangingPunct="1">
        <a:defRPr sz="1800" kern="1200">
          <a:solidFill>
            <a:schemeClr val="tx1"/>
          </a:solidFill>
          <a:latin typeface="+mn-lt"/>
          <a:ea typeface="+mn-ea"/>
          <a:cs typeface="+mn-cs"/>
        </a:defRPr>
      </a:lvl3pPr>
      <a:lvl4pPr marL="1371362" algn="l" defTabSz="914243" rtl="0" eaLnBrk="1" latinLnBrk="0" hangingPunct="1">
        <a:defRPr sz="1800" kern="1200">
          <a:solidFill>
            <a:schemeClr val="tx1"/>
          </a:solidFill>
          <a:latin typeface="+mn-lt"/>
          <a:ea typeface="+mn-ea"/>
          <a:cs typeface="+mn-cs"/>
        </a:defRPr>
      </a:lvl4pPr>
      <a:lvl5pPr marL="1828484" algn="l" defTabSz="914243" rtl="0" eaLnBrk="1" latinLnBrk="0" hangingPunct="1">
        <a:defRPr sz="1800" kern="1200">
          <a:solidFill>
            <a:schemeClr val="tx1"/>
          </a:solidFill>
          <a:latin typeface="+mn-lt"/>
          <a:ea typeface="+mn-ea"/>
          <a:cs typeface="+mn-cs"/>
        </a:defRPr>
      </a:lvl5pPr>
      <a:lvl6pPr marL="2285601" algn="l" defTabSz="914243" rtl="0" eaLnBrk="1" latinLnBrk="0" hangingPunct="1">
        <a:defRPr sz="1800" kern="1200">
          <a:solidFill>
            <a:schemeClr val="tx1"/>
          </a:solidFill>
          <a:latin typeface="+mn-lt"/>
          <a:ea typeface="+mn-ea"/>
          <a:cs typeface="+mn-cs"/>
        </a:defRPr>
      </a:lvl6pPr>
      <a:lvl7pPr marL="2742719" algn="l" defTabSz="914243" rtl="0" eaLnBrk="1" latinLnBrk="0" hangingPunct="1">
        <a:defRPr sz="1800" kern="1200">
          <a:solidFill>
            <a:schemeClr val="tx1"/>
          </a:solidFill>
          <a:latin typeface="+mn-lt"/>
          <a:ea typeface="+mn-ea"/>
          <a:cs typeface="+mn-cs"/>
        </a:defRPr>
      </a:lvl7pPr>
      <a:lvl8pPr marL="3199840" algn="l" defTabSz="914243" rtl="0" eaLnBrk="1" latinLnBrk="0" hangingPunct="1">
        <a:defRPr sz="1800" kern="1200">
          <a:solidFill>
            <a:schemeClr val="tx1"/>
          </a:solidFill>
          <a:latin typeface="+mn-lt"/>
          <a:ea typeface="+mn-ea"/>
          <a:cs typeface="+mn-cs"/>
        </a:defRPr>
      </a:lvl8pPr>
      <a:lvl9pPr marL="3656960" algn="l" defTabSz="91424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300">
          <p15:clr>
            <a:srgbClr val="F26B43"/>
          </p15:clr>
        </p15:guide>
        <p15:guide id="4" pos="5520">
          <p15:clr>
            <a:srgbClr val="F26B43"/>
          </p15:clr>
        </p15:guide>
        <p15:guide id="5" pos="1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xml"/><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png"/><Relationship Id="rId1" Type="http://schemas.openxmlformats.org/officeDocument/2006/relationships/slideLayout" Target="../slideLayouts/slideLayout127.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12.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png"/><Relationship Id="rId1" Type="http://schemas.openxmlformats.org/officeDocument/2006/relationships/slideLayout" Target="../slideLayouts/slideLayout127.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8.png"/><Relationship Id="rId1" Type="http://schemas.openxmlformats.org/officeDocument/2006/relationships/slideLayout" Target="../slideLayouts/slideLayout127.xml"/></Relationships>
</file>

<file path=ppt/slides/_rels/slide1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jpeg"/><Relationship Id="rId1" Type="http://schemas.openxmlformats.org/officeDocument/2006/relationships/slideLayout" Target="../slideLayouts/slideLayout127.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png"/><Relationship Id="rId2" Type="http://schemas.openxmlformats.org/officeDocument/2006/relationships/image" Target="../media/image144.png"/><Relationship Id="rId1" Type="http://schemas.openxmlformats.org/officeDocument/2006/relationships/slideLayout" Target="../slideLayouts/slideLayout127.xml"/><Relationship Id="rId6" Type="http://schemas.openxmlformats.org/officeDocument/2006/relationships/image" Target="../media/image148.png"/><Relationship Id="rId11" Type="http://schemas.openxmlformats.org/officeDocument/2006/relationships/image" Target="../media/image153.png"/><Relationship Id="rId5" Type="http://schemas.openxmlformats.org/officeDocument/2006/relationships/image" Target="../media/image147.png"/><Relationship Id="rId15" Type="http://schemas.openxmlformats.org/officeDocument/2006/relationships/image" Target="../media/image125.pn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png"/><Relationship Id="rId14" Type="http://schemas.openxmlformats.org/officeDocument/2006/relationships/image" Target="../media/image15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12.xml"/><Relationship Id="rId1" Type="http://schemas.openxmlformats.org/officeDocument/2006/relationships/slideLayout" Target="../slideLayouts/slideLayout146.xml"/><Relationship Id="rId6" Type="http://schemas.openxmlformats.org/officeDocument/2006/relationships/image" Target="../media/image160.png"/><Relationship Id="rId11" Type="http://schemas.openxmlformats.org/officeDocument/2006/relationships/image" Target="../media/image165.jpe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png"/></Relationships>
</file>

<file path=ppt/slides/_rels/slide19.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13.xml"/><Relationship Id="rId1" Type="http://schemas.openxmlformats.org/officeDocument/2006/relationships/slideLayout" Target="../slideLayouts/slideLayout146.xml"/><Relationship Id="rId6" Type="http://schemas.openxmlformats.org/officeDocument/2006/relationships/image" Target="../media/image160.png"/><Relationship Id="rId11" Type="http://schemas.openxmlformats.org/officeDocument/2006/relationships/image" Target="../media/image165.jpe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png"/></Relationships>
</file>

<file path=ppt/slides/_rels/slide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xml"/><Relationship Id="rId1" Type="http://schemas.openxmlformats.org/officeDocument/2006/relationships/slideLayout" Target="../slideLayouts/slideLayout141.xml"/><Relationship Id="rId5" Type="http://schemas.openxmlformats.org/officeDocument/2006/relationships/image" Target="../media/image102.jpeg"/><Relationship Id="rId4" Type="http://schemas.openxmlformats.org/officeDocument/2006/relationships/image" Target="../media/image101.png"/></Relationships>
</file>

<file path=ppt/slides/_rels/slide20.xml.rels><?xml version="1.0" encoding="UTF-8" standalone="yes"?>
<Relationships xmlns="http://schemas.openxmlformats.org/package/2006/relationships"><Relationship Id="rId3" Type="http://schemas.openxmlformats.org/officeDocument/2006/relationships/image" Target="../media/image166.tiff"/><Relationship Id="rId2" Type="http://schemas.openxmlformats.org/officeDocument/2006/relationships/notesSlide" Target="../notesSlides/notesSlide14.xml"/><Relationship Id="rId1" Type="http://schemas.openxmlformats.org/officeDocument/2006/relationships/slideLayout" Target="../slideLayouts/slideLayout142.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tiff"/></Relationships>
</file>

<file path=ppt/slides/_rels/slide2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5.xml"/><Relationship Id="rId1" Type="http://schemas.openxmlformats.org/officeDocument/2006/relationships/slideLayout" Target="../slideLayouts/slideLayout145.xml"/></Relationships>
</file>

<file path=ppt/slides/_rels/slide22.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jpeg"/><Relationship Id="rId7" Type="http://schemas.openxmlformats.org/officeDocument/2006/relationships/image" Target="../media/image175.png"/><Relationship Id="rId2" Type="http://schemas.openxmlformats.org/officeDocument/2006/relationships/notesSlide" Target="../notesSlides/notesSlide16.xml"/><Relationship Id="rId1" Type="http://schemas.openxmlformats.org/officeDocument/2006/relationships/slideLayout" Target="../slideLayouts/slideLayout147.xml"/><Relationship Id="rId6" Type="http://schemas.openxmlformats.org/officeDocument/2006/relationships/image" Target="../media/image174.jpeg"/><Relationship Id="rId5" Type="http://schemas.openxmlformats.org/officeDocument/2006/relationships/image" Target="../media/image173.jpeg"/><Relationship Id="rId10" Type="http://schemas.openxmlformats.org/officeDocument/2006/relationships/image" Target="../media/image178.png"/><Relationship Id="rId4" Type="http://schemas.openxmlformats.org/officeDocument/2006/relationships/image" Target="../media/image172.jpeg"/><Relationship Id="rId9" Type="http://schemas.openxmlformats.org/officeDocument/2006/relationships/image" Target="../media/image177.png"/></Relationships>
</file>

<file path=ppt/slides/_rels/slide23.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image" Target="../media/image172.jpeg"/><Relationship Id="rId3" Type="http://schemas.openxmlformats.org/officeDocument/2006/relationships/image" Target="../media/image177.png"/><Relationship Id="rId7" Type="http://schemas.openxmlformats.org/officeDocument/2006/relationships/image" Target="../media/image176.png"/><Relationship Id="rId12" Type="http://schemas.openxmlformats.org/officeDocument/2006/relationships/image" Target="../media/image178.png"/><Relationship Id="rId2" Type="http://schemas.openxmlformats.org/officeDocument/2006/relationships/image" Target="../media/image179.jpeg"/><Relationship Id="rId1" Type="http://schemas.openxmlformats.org/officeDocument/2006/relationships/slideLayout" Target="../slideLayouts/slideLayout147.xml"/><Relationship Id="rId6" Type="http://schemas.openxmlformats.org/officeDocument/2006/relationships/image" Target="../media/image181.png"/><Relationship Id="rId11" Type="http://schemas.openxmlformats.org/officeDocument/2006/relationships/image" Target="../media/image175.png"/><Relationship Id="rId5" Type="http://schemas.openxmlformats.org/officeDocument/2006/relationships/image" Target="../media/image180.png"/><Relationship Id="rId10" Type="http://schemas.openxmlformats.org/officeDocument/2006/relationships/image" Target="../media/image174.jpeg"/><Relationship Id="rId4" Type="http://schemas.openxmlformats.org/officeDocument/2006/relationships/image" Target="../media/image171.jpeg"/><Relationship Id="rId9" Type="http://schemas.openxmlformats.org/officeDocument/2006/relationships/image" Target="../media/image183.png"/></Relationships>
</file>

<file path=ppt/slides/_rels/slide2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146.xml"/><Relationship Id="rId6" Type="http://schemas.openxmlformats.org/officeDocument/2006/relationships/image" Target="../media/image188.jpeg"/><Relationship Id="rId5" Type="http://schemas.openxmlformats.org/officeDocument/2006/relationships/image" Target="../media/image187.png"/><Relationship Id="rId4" Type="http://schemas.openxmlformats.org/officeDocument/2006/relationships/image" Target="../media/image186.png"/></Relationships>
</file>

<file path=ppt/slides/_rels/slide25.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png"/><Relationship Id="rId9" Type="http://schemas.openxmlformats.org/officeDocument/2006/relationships/image" Target="../media/image195.png"/></Relationships>
</file>

<file path=ppt/slides/_rels/slide26.xml.rels><?xml version="1.0" encoding="UTF-8" standalone="yes"?>
<Relationships xmlns="http://schemas.openxmlformats.org/package/2006/relationships"><Relationship Id="rId8" Type="http://schemas.openxmlformats.org/officeDocument/2006/relationships/image" Target="../media/image201.tiff"/><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18.xml"/><Relationship Id="rId1" Type="http://schemas.openxmlformats.org/officeDocument/2006/relationships/slideLayout" Target="../slideLayouts/slideLayout146.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s>
</file>

<file path=ppt/slides/_rels/slide27.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2.png"/><Relationship Id="rId7" Type="http://schemas.openxmlformats.org/officeDocument/2006/relationships/image" Target="../media/image206.png"/><Relationship Id="rId2" Type="http://schemas.openxmlformats.org/officeDocument/2006/relationships/notesSlide" Target="../notesSlides/notesSlide19.xml"/><Relationship Id="rId1" Type="http://schemas.openxmlformats.org/officeDocument/2006/relationships/slideLayout" Target="../slideLayouts/slideLayout146.xml"/><Relationship Id="rId6" Type="http://schemas.openxmlformats.org/officeDocument/2006/relationships/image" Target="../media/image205.svg"/><Relationship Id="rId5" Type="http://schemas.openxmlformats.org/officeDocument/2006/relationships/image" Target="../media/image204.png"/><Relationship Id="rId4" Type="http://schemas.openxmlformats.org/officeDocument/2006/relationships/image" Target="../media/image203.svg"/></Relationships>
</file>

<file path=ppt/slides/_rels/slide28.xml.rels><?xml version="1.0" encoding="UTF-8" standalone="yes"?>
<Relationships xmlns="http://schemas.openxmlformats.org/package/2006/relationships"><Relationship Id="rId8" Type="http://schemas.openxmlformats.org/officeDocument/2006/relationships/image" Target="../media/image211.svg"/><Relationship Id="rId13" Type="http://schemas.openxmlformats.org/officeDocument/2006/relationships/image" Target="../media/image216.png"/><Relationship Id="rId3" Type="http://schemas.openxmlformats.org/officeDocument/2006/relationships/image" Target="../media/image206.png"/><Relationship Id="rId7" Type="http://schemas.openxmlformats.org/officeDocument/2006/relationships/image" Target="../media/image210.png"/><Relationship Id="rId12" Type="http://schemas.openxmlformats.org/officeDocument/2006/relationships/image" Target="../media/image215.svg"/><Relationship Id="rId2" Type="http://schemas.openxmlformats.org/officeDocument/2006/relationships/notesSlide" Target="../notesSlides/notesSlide20.xml"/><Relationship Id="rId16" Type="http://schemas.openxmlformats.org/officeDocument/2006/relationships/image" Target="../media/image219.svg"/><Relationship Id="rId1" Type="http://schemas.openxmlformats.org/officeDocument/2006/relationships/slideLayout" Target="../slideLayouts/slideLayout146.xml"/><Relationship Id="rId6" Type="http://schemas.openxmlformats.org/officeDocument/2006/relationships/image" Target="../media/image209.svg"/><Relationship Id="rId11" Type="http://schemas.openxmlformats.org/officeDocument/2006/relationships/image" Target="../media/image214.png"/><Relationship Id="rId5" Type="http://schemas.openxmlformats.org/officeDocument/2006/relationships/image" Target="../media/image208.png"/><Relationship Id="rId15" Type="http://schemas.openxmlformats.org/officeDocument/2006/relationships/image" Target="../media/image218.png"/><Relationship Id="rId10" Type="http://schemas.openxmlformats.org/officeDocument/2006/relationships/image" Target="../media/image213.svg"/><Relationship Id="rId4" Type="http://schemas.openxmlformats.org/officeDocument/2006/relationships/image" Target="../media/image207.png"/><Relationship Id="rId9" Type="http://schemas.openxmlformats.org/officeDocument/2006/relationships/image" Target="../media/image212.png"/><Relationship Id="rId14" Type="http://schemas.openxmlformats.org/officeDocument/2006/relationships/image" Target="../media/image217.svg"/></Relationships>
</file>

<file path=ppt/slides/_rels/slide29.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20.jpeg"/><Relationship Id="rId7" Type="http://schemas.openxmlformats.org/officeDocument/2006/relationships/image" Target="../media/image224.png"/><Relationship Id="rId2" Type="http://schemas.openxmlformats.org/officeDocument/2006/relationships/notesSlide" Target="../notesSlides/notesSlide21.xml"/><Relationship Id="rId1" Type="http://schemas.openxmlformats.org/officeDocument/2006/relationships/slideLayout" Target="../slideLayouts/slideLayout146.xml"/><Relationship Id="rId6" Type="http://schemas.openxmlformats.org/officeDocument/2006/relationships/image" Target="../media/image223.png"/><Relationship Id="rId11" Type="http://schemas.openxmlformats.org/officeDocument/2006/relationships/image" Target="../media/image227.png"/><Relationship Id="rId5" Type="http://schemas.openxmlformats.org/officeDocument/2006/relationships/image" Target="../media/image222.png"/><Relationship Id="rId10" Type="http://schemas.openxmlformats.org/officeDocument/2006/relationships/image" Target="../media/image206.png"/><Relationship Id="rId4" Type="http://schemas.openxmlformats.org/officeDocument/2006/relationships/image" Target="../media/image221.png"/><Relationship Id="rId9" Type="http://schemas.openxmlformats.org/officeDocument/2006/relationships/image" Target="../media/image226.svg"/></Relationships>
</file>

<file path=ppt/slides/_rels/slide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xml"/><Relationship Id="rId1" Type="http://schemas.openxmlformats.org/officeDocument/2006/relationships/slideLayout" Target="../slideLayouts/slideLayout146.xml"/><Relationship Id="rId5" Type="http://schemas.openxmlformats.org/officeDocument/2006/relationships/image" Target="../media/image104.tiff"/><Relationship Id="rId4" Type="http://schemas.openxmlformats.org/officeDocument/2006/relationships/hyperlink" Target="https://www.netapp.com/us/campaigns/gmq-primary-storage-report/index.aspx"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fieldportal.netapp.com/content/777778" TargetMode="External"/><Relationship Id="rId2" Type="http://schemas.openxmlformats.org/officeDocument/2006/relationships/notesSlide" Target="../notesSlides/notesSlide22.xml"/><Relationship Id="rId1" Type="http://schemas.openxmlformats.org/officeDocument/2006/relationships/slideLayout" Target="../slideLayouts/slideLayout141.xml"/><Relationship Id="rId4" Type="http://schemas.openxmlformats.org/officeDocument/2006/relationships/image" Target="../media/image228.tiff"/></Relationships>
</file>

<file path=ppt/slides/_rels/slide31.xml.rels><?xml version="1.0" encoding="UTF-8" standalone="yes"?>
<Relationships xmlns="http://schemas.openxmlformats.org/package/2006/relationships"><Relationship Id="rId3" Type="http://schemas.openxmlformats.org/officeDocument/2006/relationships/hyperlink" Target="https://www.cisco.com/c/en/us/td/docs/unified_computing/ucs/UCS_CVDs/flexpod_datacenter_sap_netappaffa_design.html" TargetMode="External"/><Relationship Id="rId2" Type="http://schemas.openxmlformats.org/officeDocument/2006/relationships/notesSlide" Target="../notesSlides/notesSlide23.xml"/><Relationship Id="rId1" Type="http://schemas.openxmlformats.org/officeDocument/2006/relationships/slideLayout" Target="../slideLayouts/slideLayout141.xml"/><Relationship Id="rId4" Type="http://schemas.openxmlformats.org/officeDocument/2006/relationships/image" Target="../media/image229.png"/></Relationships>
</file>

<file path=ppt/slides/_rels/slide3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4.xml"/><Relationship Id="rId1" Type="http://schemas.openxmlformats.org/officeDocument/2006/relationships/slideLayout" Target="../slideLayouts/slideLayout139.xml"/></Relationships>
</file>

<file path=ppt/slides/_rels/slide33.xml.rels><?xml version="1.0" encoding="UTF-8" standalone="yes"?>
<Relationships xmlns="http://schemas.openxmlformats.org/package/2006/relationships"><Relationship Id="rId8" Type="http://schemas.openxmlformats.org/officeDocument/2006/relationships/hyperlink" Target="https://www.netapp.com/us/media/infographic-maxdata.pdf" TargetMode="External"/><Relationship Id="rId13" Type="http://schemas.openxmlformats.org/officeDocument/2006/relationships/hyperlink" Target="https://flexpod.com/" TargetMode="External"/><Relationship Id="rId3" Type="http://schemas.openxmlformats.org/officeDocument/2006/relationships/image" Target="../media/image231.png"/><Relationship Id="rId7" Type="http://schemas.openxmlformats.org/officeDocument/2006/relationships/hyperlink" Target="https://www.cisco.com/c/en/us/products/collateral/servers-unified-computing/ucs-b-series-blade-servers/whitepaper-c11-741907.html" TargetMode="External"/><Relationship Id="rId12" Type="http://schemas.openxmlformats.org/officeDocument/2006/relationships/hyperlink" Target="http://www.netapp.com/flexpod" TargetMode="External"/><Relationship Id="rId2" Type="http://schemas.openxmlformats.org/officeDocument/2006/relationships/notesSlide" Target="../notesSlides/notesSlide25.xml"/><Relationship Id="rId1" Type="http://schemas.openxmlformats.org/officeDocument/2006/relationships/slideLayout" Target="../slideLayouts/slideLayout139.xml"/><Relationship Id="rId6" Type="http://schemas.openxmlformats.org/officeDocument/2006/relationships/hyperlink" Target="https://blog.netapp.com/memory-accelerated-flexpod" TargetMode="External"/><Relationship Id="rId11" Type="http://schemas.openxmlformats.org/officeDocument/2006/relationships/hyperlink" Target="https://www.netapp.com/us/media/sb-flexpod-afasap.pdf" TargetMode="External"/><Relationship Id="rId5" Type="http://schemas.openxmlformats.org/officeDocument/2006/relationships/hyperlink" Target="https://blogs.cisco.com/datacenter/2020-kicking-off-10-years-of-flexpod-success" TargetMode="External"/><Relationship Id="rId10" Type="http://schemas.openxmlformats.org/officeDocument/2006/relationships/hyperlink" Target="https://www.netapp.com/us/media/sb-modernize-your-data-center-with-flexible-infrastructure.pdf" TargetMode="External"/><Relationship Id="rId4" Type="http://schemas.openxmlformats.org/officeDocument/2006/relationships/hyperlink" Target="https://blog.netapp.com/flexpod-adapts-thrives" TargetMode="External"/><Relationship Id="rId9" Type="http://schemas.openxmlformats.org/officeDocument/2006/relationships/hyperlink" Target="https://www.netapp.com/us/media/NTAQ319-2-partnership-infographic.pdf"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1.png"/><Relationship Id="rId3" Type="http://schemas.openxmlformats.org/officeDocument/2006/relationships/image" Target="../media/image232.png"/><Relationship Id="rId7" Type="http://schemas.openxmlformats.org/officeDocument/2006/relationships/image" Target="../media/image235.png"/><Relationship Id="rId12" Type="http://schemas.openxmlformats.org/officeDocument/2006/relationships/image" Target="../media/image240.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234.png"/><Relationship Id="rId11" Type="http://schemas.openxmlformats.org/officeDocument/2006/relationships/image" Target="../media/image239.png"/><Relationship Id="rId5" Type="http://schemas.openxmlformats.org/officeDocument/2006/relationships/image" Target="../media/image233.png"/><Relationship Id="rId10" Type="http://schemas.openxmlformats.org/officeDocument/2006/relationships/image" Target="../media/image238.png"/><Relationship Id="rId4" Type="http://schemas.openxmlformats.org/officeDocument/2006/relationships/image" Target="../media/image3.png"/><Relationship Id="rId9" Type="http://schemas.openxmlformats.org/officeDocument/2006/relationships/image" Target="../media/image237.png"/></Relationships>
</file>

<file path=ppt/slides/_rels/slide36.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244.png"/><Relationship Id="rId4" Type="http://schemas.openxmlformats.org/officeDocument/2006/relationships/image" Target="../media/image243.png"/></Relationships>
</file>

<file path=ppt/slides/_rels/slide37.xml.rels><?xml version="1.0" encoding="UTF-8" standalone="yes"?>
<Relationships xmlns="http://schemas.openxmlformats.org/package/2006/relationships"><Relationship Id="rId8" Type="http://schemas.openxmlformats.org/officeDocument/2006/relationships/image" Target="../media/image249.png"/><Relationship Id="rId13" Type="http://schemas.openxmlformats.org/officeDocument/2006/relationships/image" Target="../media/image250.png"/><Relationship Id="rId3" Type="http://schemas.openxmlformats.org/officeDocument/2006/relationships/image" Target="../media/image36.png"/><Relationship Id="rId7" Type="http://schemas.openxmlformats.org/officeDocument/2006/relationships/image" Target="../media/image248.png"/><Relationship Id="rId12" Type="http://schemas.openxmlformats.org/officeDocument/2006/relationships/image" Target="../media/image239.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47.jpeg"/><Relationship Id="rId11" Type="http://schemas.openxmlformats.org/officeDocument/2006/relationships/image" Target="../media/image238.png"/><Relationship Id="rId5" Type="http://schemas.openxmlformats.org/officeDocument/2006/relationships/image" Target="../media/image246.png"/><Relationship Id="rId10" Type="http://schemas.openxmlformats.org/officeDocument/2006/relationships/image" Target="../media/image237.png"/><Relationship Id="rId4" Type="http://schemas.openxmlformats.org/officeDocument/2006/relationships/image" Target="../media/image245.png"/><Relationship Id="rId9" Type="http://schemas.openxmlformats.org/officeDocument/2006/relationships/image" Target="../media/image125.png"/></Relationships>
</file>

<file path=ppt/slides/_rels/slide38.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252.png"/></Relationships>
</file>

<file path=ppt/slides/_rels/slide3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254.png"/><Relationship Id="rId4" Type="http://schemas.openxmlformats.org/officeDocument/2006/relationships/image" Target="../media/image253.png"/></Relationships>
</file>

<file path=ppt/slides/_rels/slide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hyperlink" Target="https://www.netapp.com/us/media/ar-idc-marketscape-worldwide-scale-out-vendor-assessment.pdf"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25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8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9.xml"/></Relationships>
</file>

<file path=ppt/slides/_rels/slide47.xml.rels><?xml version="1.0" encoding="UTF-8" standalone="yes"?>
<Relationships xmlns="http://schemas.openxmlformats.org/package/2006/relationships"><Relationship Id="rId8" Type="http://schemas.openxmlformats.org/officeDocument/2006/relationships/image" Target="../media/image262.emf"/><Relationship Id="rId3" Type="http://schemas.openxmlformats.org/officeDocument/2006/relationships/image" Target="../media/image257.emf"/><Relationship Id="rId7" Type="http://schemas.openxmlformats.org/officeDocument/2006/relationships/image" Target="../media/image261.emf"/><Relationship Id="rId2" Type="http://schemas.openxmlformats.org/officeDocument/2006/relationships/notesSlide" Target="../notesSlides/notesSlide38.xml"/><Relationship Id="rId1" Type="http://schemas.openxmlformats.org/officeDocument/2006/relationships/slideLayout" Target="../slideLayouts/slideLayout321.xml"/><Relationship Id="rId6" Type="http://schemas.openxmlformats.org/officeDocument/2006/relationships/image" Target="../media/image260.png"/><Relationship Id="rId5" Type="http://schemas.openxmlformats.org/officeDocument/2006/relationships/image" Target="../media/image259.emf"/><Relationship Id="rId4" Type="http://schemas.openxmlformats.org/officeDocument/2006/relationships/image" Target="../media/image258.emf"/><Relationship Id="rId9" Type="http://schemas.openxmlformats.org/officeDocument/2006/relationships/image" Target="../media/image263.emf"/></Relationships>
</file>

<file path=ppt/slides/_rels/slide48.xml.rels><?xml version="1.0" encoding="UTF-8" standalone="yes"?>
<Relationships xmlns="http://schemas.openxmlformats.org/package/2006/relationships"><Relationship Id="rId8" Type="http://schemas.openxmlformats.org/officeDocument/2006/relationships/hyperlink" Target="https://fieldportal.netapp.com/content/248829" TargetMode="External"/><Relationship Id="rId3" Type="http://schemas.openxmlformats.org/officeDocument/2006/relationships/hyperlink" Target="https://www.cisco.com/c/en/us/partners/sell-integrate-consult/promotions/nexus.html" TargetMode="External"/><Relationship Id="rId7" Type="http://schemas.openxmlformats.org/officeDocument/2006/relationships/hyperlink" Target="https://www.cisco.com/c/en/us/partners/sell-integrate-consult/promotions/new-account-breakaway-promotion-ucs-nexus.html" TargetMode="External"/><Relationship Id="rId12" Type="http://schemas.openxmlformats.org/officeDocument/2006/relationships/hyperlink" Target="https://fieldportal.netapp.com/collections/740493" TargetMode="External"/><Relationship Id="rId2" Type="http://schemas.openxmlformats.org/officeDocument/2006/relationships/notesSlide" Target="../notesSlides/notesSlide39.xml"/><Relationship Id="rId1" Type="http://schemas.openxmlformats.org/officeDocument/2006/relationships/slideLayout" Target="../slideLayouts/slideLayout331.xml"/><Relationship Id="rId6" Type="http://schemas.openxmlformats.org/officeDocument/2006/relationships/hyperlink" Target="https://www.cisco.com/c/en/us/partners/promotions/hpe-competitive-ucs-promotion.html" TargetMode="External"/><Relationship Id="rId11" Type="http://schemas.openxmlformats.org/officeDocument/2006/relationships/hyperlink" Target="https://fieldportal.netapp.com/content/755742" TargetMode="External"/><Relationship Id="rId5" Type="http://schemas.openxmlformats.org/officeDocument/2006/relationships/hyperlink" Target="https://www.cisco.com/c/dam/en/us/products/se/2019/9/Collateral/UCS_Refresh_Program_-_Partner_Seller_BDM_deck_V8_1__Sept_20_2019.pdf" TargetMode="External"/><Relationship Id="rId10" Type="http://schemas.openxmlformats.org/officeDocument/2006/relationships/hyperlink" Target="https://fieldportal.netapp.com/content/900253?popupstate=%7B%22state%22%3A%22app.viewContent%22%2C%22srefParams%22%3A%7B%22source%22%3A13%2C%22sourceId%22%3A531392%2C%22sourceType%22%3Anull%2C%22assetId%22%3A900253%2C%22assetComponentId%22%3A902116%7D%7D" TargetMode="External"/><Relationship Id="rId4" Type="http://schemas.openxmlformats.org/officeDocument/2006/relationships/hyperlink" Target="https://www.cisco.com/c/en/us/partners/sell-integrate-consult/promotions/seedit-first-time-buyer.html" TargetMode="External"/><Relationship Id="rId9" Type="http://schemas.openxmlformats.org/officeDocument/2006/relationships/hyperlink" Target="https://fieldportal.netapp.com/content/198346"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316.xml"/></Relationships>
</file>

<file path=ppt/slides/_rels/slide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xml"/><Relationship Id="rId1" Type="http://schemas.openxmlformats.org/officeDocument/2006/relationships/slideLayout" Target="../slideLayouts/slideLayout144.xml"/><Relationship Id="rId6" Type="http://schemas.openxmlformats.org/officeDocument/2006/relationships/image" Target="../media/image109.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image" Target="../media/image107.png"/><Relationship Id="rId9" Type="http://schemas.openxmlformats.org/officeDocument/2006/relationships/image" Target="../media/image11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xml"/><Relationship Id="rId1" Type="http://schemas.openxmlformats.org/officeDocument/2006/relationships/slideLayout" Target="../slideLayouts/slideLayout142.xml"/></Relationships>
</file>

<file path=ppt/slides/_rels/slide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svg"/><Relationship Id="rId7" Type="http://schemas.openxmlformats.org/officeDocument/2006/relationships/image" Target="../media/image120.svg"/><Relationship Id="rId12" Type="http://schemas.openxmlformats.org/officeDocument/2006/relationships/image" Target="../media/image124.png"/><Relationship Id="rId2" Type="http://schemas.openxmlformats.org/officeDocument/2006/relationships/image" Target="../media/image115.png"/><Relationship Id="rId1" Type="http://schemas.openxmlformats.org/officeDocument/2006/relationships/slideLayout" Target="../slideLayouts/slideLayout139.xml"/><Relationship Id="rId6" Type="http://schemas.openxmlformats.org/officeDocument/2006/relationships/image" Target="../media/image119.png"/><Relationship Id="rId11" Type="http://schemas.openxmlformats.org/officeDocument/2006/relationships/hyperlink" Target="https://flexpod.com/how-flexpod-drives-datacenter-modernization/" TargetMode="External"/><Relationship Id="rId5" Type="http://schemas.openxmlformats.org/officeDocument/2006/relationships/image" Target="../media/image118.svg"/><Relationship Id="rId10" Type="http://schemas.openxmlformats.org/officeDocument/2006/relationships/image" Target="../media/image123.tiff"/><Relationship Id="rId4" Type="http://schemas.openxmlformats.org/officeDocument/2006/relationships/image" Target="../media/image117.png"/><Relationship Id="rId9" Type="http://schemas.openxmlformats.org/officeDocument/2006/relationships/image" Target="../media/image12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itle 1">
            <a:extLst>
              <a:ext uri="{FF2B5EF4-FFF2-40B4-BE49-F238E27FC236}">
                <a16:creationId xmlns:a16="http://schemas.microsoft.com/office/drawing/2014/main" id="{A5AFCA5F-1B57-4A29-B59E-D3118D379203}"/>
              </a:ext>
            </a:extLst>
          </p:cNvPr>
          <p:cNvSpPr>
            <a:spLocks noGrp="1" noChangeArrowheads="1"/>
          </p:cNvSpPr>
          <p:nvPr>
            <p:ph type="ctrTitle"/>
          </p:nvPr>
        </p:nvSpPr>
        <p:spPr>
          <a:xfrm>
            <a:off x="482600" y="3902010"/>
            <a:ext cx="8178800" cy="633412"/>
          </a:xfrm>
        </p:spPr>
        <p:txBody>
          <a:bodyPr/>
          <a:lstStyle/>
          <a:p>
            <a:r>
              <a:rPr lang="en-US" altLang="en-US" sz="4000" dirty="0">
                <a:solidFill>
                  <a:schemeClr val="bg1"/>
                </a:solidFill>
              </a:rPr>
              <a:t>FlexPod: Platform for </a:t>
            </a:r>
            <a:r>
              <a:rPr lang="en-US" altLang="en-US" sz="4000">
                <a:solidFill>
                  <a:schemeClr val="bg1"/>
                </a:solidFill>
              </a:rPr>
              <a:t>Innovation for Partners</a:t>
            </a:r>
            <a:br>
              <a:rPr lang="en-US" altLang="en-US" sz="4000" dirty="0">
                <a:solidFill>
                  <a:schemeClr val="bg1"/>
                </a:solidFill>
              </a:rPr>
            </a:br>
            <a:endParaRPr lang="en-US" altLang="en-US" sz="4000" dirty="0">
              <a:solidFill>
                <a:schemeClr val="bg1"/>
              </a:solidFill>
            </a:endParaRPr>
          </a:p>
        </p:txBody>
      </p:sp>
      <p:sp>
        <p:nvSpPr>
          <p:cNvPr id="146435" name="Subtitle 2">
            <a:extLst>
              <a:ext uri="{FF2B5EF4-FFF2-40B4-BE49-F238E27FC236}">
                <a16:creationId xmlns:a16="http://schemas.microsoft.com/office/drawing/2014/main" id="{0C2F4102-9D13-4129-884C-B03DD1537798}"/>
              </a:ext>
            </a:extLst>
          </p:cNvPr>
          <p:cNvSpPr>
            <a:spLocks noGrp="1" noChangeArrowheads="1"/>
          </p:cNvSpPr>
          <p:nvPr>
            <p:ph type="subTitle" idx="1"/>
          </p:nvPr>
        </p:nvSpPr>
        <p:spPr>
          <a:xfrm>
            <a:off x="635000" y="4313238"/>
            <a:ext cx="8229600" cy="830262"/>
          </a:xfrm>
        </p:spPr>
        <p:txBody>
          <a:bodyPr/>
          <a:lstStyle/>
          <a:p>
            <a:r>
              <a:rPr lang="en-US" altLang="en-US" dirty="0">
                <a:solidFill>
                  <a:schemeClr val="bg1"/>
                </a:solidFill>
              </a:rPr>
              <a:t>Jan 2020</a:t>
            </a:r>
          </a:p>
        </p:txBody>
      </p:sp>
    </p:spTree>
  </p:cSld>
  <p:clrMapOvr>
    <a:masterClrMapping/>
  </p:clrMapOvr>
  <p:transition spd="slow">
    <p:circl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101009" y="914404"/>
            <a:ext cx="5616836" cy="371640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900"/>
              </a:spcAft>
              <a:buClr>
                <a:srgbClr val="83AC3E"/>
              </a:buClr>
              <a:buSzTx/>
              <a:buFontTx/>
              <a:buNone/>
              <a:tabLst/>
              <a:defRPr/>
            </a:pPr>
            <a:r>
              <a:rPr kumimoji="0" lang="en-US" sz="2000" b="0" i="0" u="none" strike="noStrike" kern="1200" cap="none" spc="0" normalizeH="0" baseline="0" noProof="0" dirty="0">
                <a:ln>
                  <a:noFill/>
                </a:ln>
                <a:solidFill>
                  <a:srgbClr val="4EA2C8"/>
                </a:solidFill>
                <a:effectLst/>
                <a:uLnTx/>
                <a:uFillTx/>
                <a:latin typeface="Arial" charset="0"/>
                <a:ea typeface="+mn-ea"/>
                <a:cs typeface="+mn-cs"/>
              </a:rPr>
              <a:t>Prevalidated flexible, unified platform</a:t>
            </a:r>
          </a:p>
          <a:p>
            <a:pPr marL="342900" marR="0" lvl="0" indent="-342900" algn="l" defTabSz="914400" rtl="0" eaLnBrk="1" fontAlgn="base" latinLnBrk="0" hangingPunct="1">
              <a:lnSpc>
                <a:spcPct val="100000"/>
              </a:lnSpc>
              <a:spcBef>
                <a:spcPct val="0"/>
              </a:spcBef>
              <a:spcAft>
                <a:spcPts val="600"/>
              </a:spcAft>
              <a:buClr>
                <a:srgbClr val="83AC3E"/>
              </a:buClr>
              <a:buSzTx/>
              <a:buFont typeface="Wingdings" charset="2"/>
              <a:buChar char="§"/>
              <a:tabLst/>
              <a:defRPr/>
            </a:pPr>
            <a:r>
              <a:rPr kumimoji="0" lang="en-US" sz="1800" b="0" i="0" u="none" strike="noStrike" kern="1200" cap="none" spc="0" normalizeH="0" baseline="0" noProof="0" dirty="0">
                <a:ln>
                  <a:noFill/>
                </a:ln>
                <a:solidFill>
                  <a:srgbClr val="4C4948"/>
                </a:solidFill>
                <a:effectLst/>
                <a:uLnTx/>
                <a:uFillTx/>
                <a:latin typeface="Arial" charset="0"/>
                <a:ea typeface="+mn-ea"/>
                <a:cs typeface="+mn-cs"/>
              </a:rPr>
              <a:t>Cisco Unified Computing System™</a:t>
            </a:r>
          </a:p>
          <a:p>
            <a:pPr marL="713232" marR="0" lvl="1" indent="-342900" algn="l" defTabSz="914400" rtl="0" eaLnBrk="1" fontAlgn="base" latinLnBrk="0" hangingPunct="1">
              <a:lnSpc>
                <a:spcPct val="100000"/>
              </a:lnSpc>
              <a:spcBef>
                <a:spcPct val="0"/>
              </a:spcBef>
              <a:spcAft>
                <a:spcPts val="600"/>
              </a:spcAft>
              <a:buClrTx/>
              <a:buSzTx/>
              <a:buFont typeface="Lucida Grande"/>
              <a:buChar char="-"/>
              <a:tabLst/>
              <a:defRPr/>
            </a:pPr>
            <a:r>
              <a:rPr kumimoji="0" lang="en-US" sz="1600" b="0" i="0" u="none" strike="noStrike" kern="1200" cap="none" spc="0" normalizeH="0" baseline="0" noProof="0" dirty="0">
                <a:ln>
                  <a:noFill/>
                </a:ln>
                <a:solidFill>
                  <a:srgbClr val="4C4948"/>
                </a:solidFill>
                <a:effectLst/>
                <a:uLnTx/>
                <a:uFillTx/>
                <a:latin typeface="Arial" charset="0"/>
                <a:ea typeface="+mn-ea"/>
                <a:cs typeface="+mn-cs"/>
              </a:rPr>
              <a:t>Programmable infrastructure</a:t>
            </a:r>
          </a:p>
          <a:p>
            <a:pPr marL="713232" marR="0" lvl="1" indent="-342900" algn="l" defTabSz="914400" rtl="0" eaLnBrk="1" fontAlgn="base" latinLnBrk="0" hangingPunct="1">
              <a:lnSpc>
                <a:spcPct val="100000"/>
              </a:lnSpc>
              <a:spcBef>
                <a:spcPct val="0"/>
              </a:spcBef>
              <a:spcAft>
                <a:spcPts val="600"/>
              </a:spcAft>
              <a:buClrTx/>
              <a:buSzTx/>
              <a:buFont typeface="Lucida Grande"/>
              <a:buChar char="-"/>
              <a:tabLst/>
              <a:defRPr/>
            </a:pPr>
            <a:r>
              <a:rPr kumimoji="0" lang="en-US" sz="1600" b="0" i="0" u="none" strike="noStrike" kern="1200" cap="none" spc="0" normalizeH="0" baseline="0" noProof="0" dirty="0">
                <a:ln>
                  <a:noFill/>
                </a:ln>
                <a:solidFill>
                  <a:srgbClr val="4C4948"/>
                </a:solidFill>
                <a:effectLst/>
                <a:uLnTx/>
                <a:uFillTx/>
                <a:latin typeface="Arial" charset="0"/>
                <a:ea typeface="+mn-ea"/>
                <a:cs typeface="+mn-cs"/>
              </a:rPr>
              <a:t>Unified management</a:t>
            </a:r>
          </a:p>
          <a:p>
            <a:pPr marL="713232" marR="0" lvl="1" indent="-342900" algn="l" defTabSz="914400" rtl="0" eaLnBrk="1" fontAlgn="base" latinLnBrk="0" hangingPunct="1">
              <a:lnSpc>
                <a:spcPct val="100000"/>
              </a:lnSpc>
              <a:spcBef>
                <a:spcPct val="0"/>
              </a:spcBef>
              <a:spcAft>
                <a:spcPts val="600"/>
              </a:spcAft>
              <a:buClrTx/>
              <a:buSzTx/>
              <a:buFont typeface="Lucida Grande"/>
              <a:buChar char="-"/>
              <a:tabLst/>
              <a:defRPr/>
            </a:pPr>
            <a:endParaRPr kumimoji="0" lang="en-US" sz="600" b="0" i="0" u="none" strike="noStrike" kern="1200" cap="none" spc="0" normalizeH="0" baseline="0" noProof="0" dirty="0">
              <a:ln>
                <a:noFill/>
              </a:ln>
              <a:solidFill>
                <a:srgbClr val="4C4948"/>
              </a:solidFill>
              <a:effectLst/>
              <a:uLnTx/>
              <a:uFillTx/>
              <a:latin typeface="Arial" charset="0"/>
              <a:ea typeface="+mn-ea"/>
              <a:cs typeface="+mn-cs"/>
            </a:endParaRPr>
          </a:p>
          <a:p>
            <a:pPr marL="342900" marR="0" lvl="0" indent="-342900" algn="l" defTabSz="914400" rtl="0" eaLnBrk="1" fontAlgn="base" latinLnBrk="0" hangingPunct="1">
              <a:lnSpc>
                <a:spcPct val="100000"/>
              </a:lnSpc>
              <a:spcBef>
                <a:spcPct val="0"/>
              </a:spcBef>
              <a:spcAft>
                <a:spcPts val="600"/>
              </a:spcAft>
              <a:buClr>
                <a:srgbClr val="83AC3E"/>
              </a:buClr>
              <a:buSzTx/>
              <a:buFont typeface="Wingdings" pitchFamily="2" charset="2"/>
              <a:buChar char="§"/>
              <a:tabLst/>
              <a:defRPr/>
            </a:pPr>
            <a:r>
              <a:rPr kumimoji="0" lang="en-US" sz="1800" b="0" i="0" u="none" strike="noStrike" kern="1200" cap="none" spc="0" normalizeH="0" baseline="0" noProof="0" dirty="0">
                <a:ln>
                  <a:noFill/>
                </a:ln>
                <a:solidFill>
                  <a:srgbClr val="4C4948"/>
                </a:solidFill>
                <a:effectLst/>
                <a:uLnTx/>
                <a:uFillTx/>
                <a:latin typeface="Arial" charset="0"/>
                <a:ea typeface="+mn-ea"/>
                <a:cs typeface="+mn-cs"/>
              </a:rPr>
              <a:t>Cisco Nexus® switches</a:t>
            </a:r>
          </a:p>
          <a:p>
            <a:pPr marL="713232" marR="0" lvl="1" indent="-342900" algn="l" defTabSz="914400" rtl="0" eaLnBrk="1" fontAlgn="base" latinLnBrk="0" hangingPunct="1">
              <a:lnSpc>
                <a:spcPct val="100000"/>
              </a:lnSpc>
              <a:spcBef>
                <a:spcPct val="0"/>
              </a:spcBef>
              <a:spcAft>
                <a:spcPts val="1800"/>
              </a:spcAft>
              <a:buClrTx/>
              <a:buSzTx/>
              <a:buFont typeface="Lucida Grande"/>
              <a:buChar char="-"/>
              <a:tabLst/>
              <a:defRPr/>
            </a:pPr>
            <a:r>
              <a:rPr kumimoji="0" lang="en-US" sz="1600" b="0" i="0" u="none" strike="noStrike" kern="1200" cap="none" spc="0" normalizeH="0" baseline="0" noProof="0" dirty="0">
                <a:ln>
                  <a:noFill/>
                </a:ln>
                <a:solidFill>
                  <a:srgbClr val="4C4948"/>
                </a:solidFill>
                <a:effectLst/>
                <a:uLnTx/>
                <a:uFillTx/>
                <a:latin typeface="Arial" charset="0"/>
                <a:ea typeface="+mn-ea"/>
                <a:cs typeface="+mn-cs"/>
              </a:rPr>
              <a:t>Unified fabric</a:t>
            </a:r>
          </a:p>
          <a:p>
            <a:pPr marL="342900" lvl="0" indent="-342900">
              <a:spcAft>
                <a:spcPts val="600"/>
              </a:spcAft>
              <a:buClr>
                <a:srgbClr val="83AC3E"/>
              </a:buClr>
              <a:buFont typeface="Wingdings" charset="2"/>
              <a:buChar char="§"/>
              <a:defRPr/>
            </a:pPr>
            <a:r>
              <a:rPr lang="en-US" sz="1800" dirty="0">
                <a:solidFill>
                  <a:srgbClr val="4C4948"/>
                </a:solidFill>
              </a:rPr>
              <a:t>NetApp ONTAP® Storage Systems</a:t>
            </a:r>
            <a:endParaRPr kumimoji="0" lang="en-US" sz="1800" b="0" i="0" u="none" strike="noStrike" kern="1200" cap="none" spc="0" normalizeH="0" baseline="0" noProof="0" dirty="0">
              <a:ln>
                <a:noFill/>
              </a:ln>
              <a:solidFill>
                <a:srgbClr val="4C4948"/>
              </a:solidFill>
              <a:effectLst/>
              <a:uLnTx/>
              <a:uFillTx/>
              <a:latin typeface="Arial" charset="0"/>
              <a:ea typeface="+mn-ea"/>
              <a:cs typeface="+mn-cs"/>
            </a:endParaRPr>
          </a:p>
          <a:p>
            <a:pPr marL="713232" marR="0" lvl="0" indent="-342900" algn="l" defTabSz="914400" rtl="0" eaLnBrk="1" fontAlgn="base" latinLnBrk="0" hangingPunct="1">
              <a:lnSpc>
                <a:spcPct val="100000"/>
              </a:lnSpc>
              <a:spcBef>
                <a:spcPct val="0"/>
              </a:spcBef>
              <a:spcAft>
                <a:spcPts val="600"/>
              </a:spcAft>
              <a:buClrTx/>
              <a:buSzTx/>
              <a:buFont typeface="Lucida Grande"/>
              <a:buChar char="-"/>
              <a:tabLst/>
              <a:defRPr/>
            </a:pPr>
            <a:r>
              <a:rPr kumimoji="0" lang="en-US" sz="1600" b="0" i="0" u="none" strike="noStrike" kern="1200" cap="none" spc="0" normalizeH="0" baseline="0" noProof="0" dirty="0">
                <a:ln>
                  <a:noFill/>
                </a:ln>
                <a:solidFill>
                  <a:srgbClr val="4C4948"/>
                </a:solidFill>
                <a:effectLst/>
                <a:uLnTx/>
                <a:uFillTx/>
                <a:latin typeface="Arial" charset="0"/>
                <a:ea typeface="+mn-ea"/>
                <a:cs typeface="+mn-cs"/>
              </a:rPr>
              <a:t>Unified storage</a:t>
            </a:r>
          </a:p>
          <a:p>
            <a:pPr marL="713232" marR="0" lvl="0" indent="-342900" algn="l" defTabSz="914400" rtl="0" eaLnBrk="1" fontAlgn="base" latinLnBrk="0" hangingPunct="1">
              <a:lnSpc>
                <a:spcPct val="100000"/>
              </a:lnSpc>
              <a:spcBef>
                <a:spcPct val="0"/>
              </a:spcBef>
              <a:spcAft>
                <a:spcPct val="0"/>
              </a:spcAft>
              <a:buClrTx/>
              <a:buSzTx/>
              <a:buFont typeface="Lucida Grande"/>
              <a:buChar char="-"/>
              <a:tabLst/>
              <a:defRPr/>
            </a:pPr>
            <a:r>
              <a:rPr kumimoji="0" lang="en-US" sz="1600" b="0" i="0" u="none" strike="noStrike" kern="1200" cap="none" spc="0" normalizeH="0" baseline="0" noProof="0" dirty="0">
                <a:ln>
                  <a:noFill/>
                </a:ln>
                <a:solidFill>
                  <a:srgbClr val="4C4948"/>
                </a:solidFill>
                <a:effectLst/>
                <a:uLnTx/>
                <a:uFillTx/>
                <a:latin typeface="Arial" charset="0"/>
                <a:ea typeface="+mn-ea"/>
                <a:cs typeface="+mn-cs"/>
              </a:rPr>
              <a:t>Intelligent data management</a:t>
            </a:r>
          </a:p>
          <a:p>
            <a:pPr marL="0" marR="0" lvl="0" indent="0" algn="l" defTabSz="914400" rtl="0" eaLnBrk="1" fontAlgn="base" latinLnBrk="0" hangingPunct="1">
              <a:lnSpc>
                <a:spcPct val="100000"/>
              </a:lnSpc>
              <a:spcBef>
                <a:spcPct val="0"/>
              </a:spcBef>
              <a:spcAft>
                <a:spcPct val="0"/>
              </a:spcAft>
              <a:buClr>
                <a:srgbClr val="83AC3E"/>
              </a:buClr>
              <a:buSzTx/>
              <a:buFontTx/>
              <a:buNone/>
              <a:tabLst/>
              <a:defRPr/>
            </a:pPr>
            <a:endParaRPr kumimoji="0" lang="en-US" sz="1800" b="0" i="0" u="none" strike="noStrike" kern="1200" cap="none" spc="0" normalizeH="0" baseline="0" noProof="0" dirty="0">
              <a:ln>
                <a:noFill/>
              </a:ln>
              <a:solidFill>
                <a:srgbClr val="4C4948"/>
              </a:solidFill>
              <a:effectLst/>
              <a:uLnTx/>
              <a:uFillTx/>
              <a:latin typeface="Arial" charset="0"/>
              <a:ea typeface="+mn-ea"/>
              <a:cs typeface="+mn-cs"/>
            </a:endParaRPr>
          </a:p>
        </p:txBody>
      </p:sp>
      <p:sp>
        <p:nvSpPr>
          <p:cNvPr id="17" name="Rectangle 4"/>
          <p:cNvSpPr txBox="1">
            <a:spLocks noChangeArrowheads="1"/>
          </p:cNvSpPr>
          <p:nvPr/>
        </p:nvSpPr>
        <p:spPr bwMode="auto">
          <a:xfrm>
            <a:off x="457200" y="188772"/>
            <a:ext cx="8337550" cy="5357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b="0">
                <a:solidFill>
                  <a:schemeClr val="tx1"/>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200" algn="l" rtl="0" fontAlgn="base">
              <a:spcBef>
                <a:spcPct val="0"/>
              </a:spcBef>
              <a:spcAft>
                <a:spcPct val="0"/>
              </a:spcAft>
              <a:defRPr sz="3000" b="1">
                <a:solidFill>
                  <a:schemeClr val="tx1"/>
                </a:solidFill>
                <a:latin typeface="Arial" charset="0"/>
              </a:defRPr>
            </a:lvl6pPr>
            <a:lvl7pPr marL="914400" algn="l" rtl="0" fontAlgn="base">
              <a:spcBef>
                <a:spcPct val="0"/>
              </a:spcBef>
              <a:spcAft>
                <a:spcPct val="0"/>
              </a:spcAft>
              <a:defRPr sz="3000" b="1">
                <a:solidFill>
                  <a:schemeClr val="tx1"/>
                </a:solidFill>
                <a:latin typeface="Arial" charset="0"/>
              </a:defRPr>
            </a:lvl7pPr>
            <a:lvl8pPr marL="1371600" algn="l" rtl="0" fontAlgn="base">
              <a:spcBef>
                <a:spcPct val="0"/>
              </a:spcBef>
              <a:spcAft>
                <a:spcPct val="0"/>
              </a:spcAft>
              <a:defRPr sz="3000" b="1">
                <a:solidFill>
                  <a:schemeClr val="tx1"/>
                </a:solidFill>
                <a:latin typeface="Arial" charset="0"/>
              </a:defRPr>
            </a:lvl8pPr>
            <a:lvl9pPr marL="1828800"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chemeClr val="tx2"/>
                </a:solidFill>
                <a:effectLst/>
                <a:uLnTx/>
                <a:uFillTx/>
                <a:latin typeface="Arial" charset="0"/>
                <a:ea typeface="+mj-ea"/>
                <a:cs typeface="+mj-cs"/>
              </a:rPr>
              <a:t>FlexPod Converged Infrastructure</a:t>
            </a:r>
            <a:endParaRPr kumimoji="0" lang="en-US" sz="3000" b="1" i="0" u="none" strike="noStrike" kern="1200" cap="none" spc="0" normalizeH="0" baseline="0" noProof="0" dirty="0">
              <a:ln>
                <a:noFill/>
              </a:ln>
              <a:solidFill>
                <a:schemeClr val="tx2"/>
              </a:solidFill>
              <a:effectLst/>
              <a:uLnTx/>
              <a:uFillTx/>
              <a:latin typeface="Arial"/>
              <a:ea typeface="+mj-ea"/>
              <a:cs typeface="+mj-cs"/>
            </a:endParaRPr>
          </a:p>
        </p:txBody>
      </p:sp>
      <p:pic>
        <p:nvPicPr>
          <p:cNvPr id="11" name="Picture 13" descr="A close up of a sign&#10;&#10;Description generated with high confidence">
            <a:extLst>
              <a:ext uri="{FF2B5EF4-FFF2-40B4-BE49-F238E27FC236}">
                <a16:creationId xmlns:a16="http://schemas.microsoft.com/office/drawing/2014/main" id="{96B0A1B2-2B54-DF4A-B3C4-47C252C2B1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2009" y="1021537"/>
            <a:ext cx="1762786" cy="3544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9905418"/>
      </p:ext>
    </p:extLst>
  </p:cSld>
  <p:clrMapOvr>
    <a:masterClrMapping/>
  </p:clrMapOvr>
  <p:transition spd="slow">
    <p:circl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Title 2">
            <a:extLst>
              <a:ext uri="{FF2B5EF4-FFF2-40B4-BE49-F238E27FC236}">
                <a16:creationId xmlns:a16="http://schemas.microsoft.com/office/drawing/2014/main" id="{926BCDD5-DCCA-634F-8713-8BF988BE6954}"/>
              </a:ext>
            </a:extLst>
          </p:cNvPr>
          <p:cNvSpPr>
            <a:spLocks noGrp="1" noChangeArrowheads="1"/>
          </p:cNvSpPr>
          <p:nvPr>
            <p:ph type="ctrTitle" idx="4294967295"/>
          </p:nvPr>
        </p:nvSpPr>
        <p:spPr>
          <a:xfrm>
            <a:off x="411061" y="216818"/>
            <a:ext cx="7521575" cy="438150"/>
          </a:xfrm>
        </p:spPr>
        <p:txBody>
          <a:bodyPr/>
          <a:lstStyle/>
          <a:p>
            <a:r>
              <a:rPr altLang="en-US" sz="2800" b="1" dirty="0"/>
              <a:t>FlexPod is the Fabric </a:t>
            </a:r>
          </a:p>
        </p:txBody>
      </p:sp>
      <p:grpSp>
        <p:nvGrpSpPr>
          <p:cNvPr id="117763" name="Group 60">
            <a:extLst>
              <a:ext uri="{FF2B5EF4-FFF2-40B4-BE49-F238E27FC236}">
                <a16:creationId xmlns:a16="http://schemas.microsoft.com/office/drawing/2014/main" id="{4370DB7E-958B-4743-9AED-2E79899FC697}"/>
              </a:ext>
            </a:extLst>
          </p:cNvPr>
          <p:cNvGrpSpPr>
            <a:grpSpLocks/>
          </p:cNvGrpSpPr>
          <p:nvPr/>
        </p:nvGrpSpPr>
        <p:grpSpPr bwMode="auto">
          <a:xfrm>
            <a:off x="338138" y="2008188"/>
            <a:ext cx="2001837" cy="1795462"/>
            <a:chOff x="497630" y="2981887"/>
            <a:chExt cx="2656401" cy="2332511"/>
          </a:xfrm>
        </p:grpSpPr>
        <p:pic>
          <p:nvPicPr>
            <p:cNvPr id="117808" name="Picture 21">
              <a:extLst>
                <a:ext uri="{FF2B5EF4-FFF2-40B4-BE49-F238E27FC236}">
                  <a16:creationId xmlns:a16="http://schemas.microsoft.com/office/drawing/2014/main" id="{569E1125-EDB3-B14E-AFF9-4A6FD569A4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0305" y="2981887"/>
              <a:ext cx="1493726" cy="2332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1D440A98-DEB4-A44A-B712-B63EBCF00314}"/>
                </a:ext>
              </a:extLst>
            </p:cNvPr>
            <p:cNvSpPr/>
            <p:nvPr/>
          </p:nvSpPr>
          <p:spPr>
            <a:xfrm>
              <a:off x="497630" y="3489224"/>
              <a:ext cx="1232351" cy="1253905"/>
            </a:xfrm>
            <a:prstGeom prst="rect">
              <a:avLst/>
            </a:prstGeom>
          </p:spPr>
          <p:txBody>
            <a:bodyPr>
              <a:spAutoFit/>
            </a:bodyPr>
            <a:lstStyle/>
            <a:p>
              <a:pPr indent="-140494">
                <a:lnSpc>
                  <a:spcPct val="90000"/>
                </a:lnSpc>
                <a:spcBef>
                  <a:spcPts val="150"/>
                </a:spcBef>
                <a:spcAft>
                  <a:spcPts val="150"/>
                </a:spcAft>
                <a:defRPr/>
              </a:pPr>
              <a:r>
                <a:rPr lang="en-US" sz="1050" dirty="0">
                  <a:solidFill>
                    <a:srgbClr val="000000"/>
                  </a:solidFill>
                </a:rPr>
                <a:t>Fabric architecture is the one </a:t>
              </a:r>
              <a:r>
                <a:rPr lang="en-US" sz="1050" b="1" i="1" dirty="0">
                  <a:solidFill>
                    <a:srgbClr val="008000"/>
                  </a:solidFill>
                </a:rPr>
                <a:t>fixed</a:t>
              </a:r>
              <a:r>
                <a:rPr lang="en-US" sz="1050" dirty="0">
                  <a:solidFill>
                    <a:srgbClr val="000000"/>
                  </a:solidFill>
                </a:rPr>
                <a:t> FlexPod element </a:t>
              </a:r>
            </a:p>
          </p:txBody>
        </p:sp>
      </p:grpSp>
      <p:grpSp>
        <p:nvGrpSpPr>
          <p:cNvPr id="117764" name="Group 58">
            <a:extLst>
              <a:ext uri="{FF2B5EF4-FFF2-40B4-BE49-F238E27FC236}">
                <a16:creationId xmlns:a16="http://schemas.microsoft.com/office/drawing/2014/main" id="{C51AB1DE-5328-9E4A-B819-D73184BC5A33}"/>
              </a:ext>
            </a:extLst>
          </p:cNvPr>
          <p:cNvGrpSpPr>
            <a:grpSpLocks/>
          </p:cNvGrpSpPr>
          <p:nvPr/>
        </p:nvGrpSpPr>
        <p:grpSpPr bwMode="auto">
          <a:xfrm>
            <a:off x="5969000" y="1577975"/>
            <a:ext cx="2874963" cy="2392363"/>
            <a:chOff x="8188010" y="2295919"/>
            <a:chExt cx="3676271" cy="3037143"/>
          </a:xfrm>
        </p:grpSpPr>
        <p:sp>
          <p:nvSpPr>
            <p:cNvPr id="19" name="TextBox 18">
              <a:extLst>
                <a:ext uri="{FF2B5EF4-FFF2-40B4-BE49-F238E27FC236}">
                  <a16:creationId xmlns:a16="http://schemas.microsoft.com/office/drawing/2014/main" id="{0F3B21BC-322B-5143-93DA-DE9B2D7AA0CE}"/>
                </a:ext>
              </a:extLst>
            </p:cNvPr>
            <p:cNvSpPr txBox="1"/>
            <p:nvPr/>
          </p:nvSpPr>
          <p:spPr>
            <a:xfrm>
              <a:off x="8188010" y="4831238"/>
              <a:ext cx="1144901" cy="501824"/>
            </a:xfrm>
            <a:prstGeom prst="rect">
              <a:avLst/>
            </a:prstGeom>
          </p:spPr>
          <p:txBody>
            <a:bodyPr lIns="68580" tIns="34290" rIns="68580" bIns="34290" anchor="ctr"/>
            <a:lstStyle/>
            <a:p>
              <a:pPr defTabSz="685800">
                <a:lnSpc>
                  <a:spcPct val="95000"/>
                </a:lnSpc>
                <a:spcBef>
                  <a:spcPts val="300"/>
                </a:spcBef>
                <a:spcAft>
                  <a:spcPts val="150"/>
                </a:spcAft>
                <a:defRPr/>
              </a:pPr>
              <a:r>
                <a:rPr lang="en-US" sz="1050" dirty="0">
                  <a:solidFill>
                    <a:sysClr val="windowText" lastClr="000000"/>
                  </a:solidFill>
                  <a:latin typeface="Arial"/>
                </a:rPr>
                <a:t>Any AFF/ FAS Controller</a:t>
              </a:r>
            </a:p>
          </p:txBody>
        </p:sp>
        <p:sp>
          <p:nvSpPr>
            <p:cNvPr id="20" name="TextBox 19">
              <a:extLst>
                <a:ext uri="{FF2B5EF4-FFF2-40B4-BE49-F238E27FC236}">
                  <a16:creationId xmlns:a16="http://schemas.microsoft.com/office/drawing/2014/main" id="{964F2C28-8E2C-1341-9495-C4050A8AF6AC}"/>
                </a:ext>
              </a:extLst>
            </p:cNvPr>
            <p:cNvSpPr txBox="1"/>
            <p:nvPr/>
          </p:nvSpPr>
          <p:spPr>
            <a:xfrm>
              <a:off x="8188010" y="3710699"/>
              <a:ext cx="1144901" cy="570347"/>
            </a:xfrm>
            <a:prstGeom prst="rect">
              <a:avLst/>
            </a:prstGeom>
          </p:spPr>
          <p:txBody>
            <a:bodyPr lIns="68580" tIns="34290" rIns="68580" bIns="34290" anchor="ctr"/>
            <a:lstStyle/>
            <a:p>
              <a:pPr defTabSz="685800">
                <a:lnSpc>
                  <a:spcPct val="95000"/>
                </a:lnSpc>
                <a:spcBef>
                  <a:spcPts val="300"/>
                </a:spcBef>
                <a:spcAft>
                  <a:spcPts val="150"/>
                </a:spcAft>
                <a:defRPr/>
              </a:pPr>
              <a:r>
                <a:rPr lang="en-US" sz="1050" dirty="0">
                  <a:solidFill>
                    <a:sysClr val="windowText" lastClr="000000"/>
                  </a:solidFill>
                  <a:latin typeface="Arial"/>
                </a:rPr>
                <a:t>Any Nexus Switch </a:t>
              </a:r>
            </a:p>
          </p:txBody>
        </p:sp>
        <p:sp>
          <p:nvSpPr>
            <p:cNvPr id="21" name="TextBox 20">
              <a:extLst>
                <a:ext uri="{FF2B5EF4-FFF2-40B4-BE49-F238E27FC236}">
                  <a16:creationId xmlns:a16="http://schemas.microsoft.com/office/drawing/2014/main" id="{3124A71C-1416-9E4B-8966-F1441FE2910D}"/>
                </a:ext>
              </a:extLst>
            </p:cNvPr>
            <p:cNvSpPr txBox="1"/>
            <p:nvPr/>
          </p:nvSpPr>
          <p:spPr>
            <a:xfrm>
              <a:off x="8188010" y="2676822"/>
              <a:ext cx="1128662" cy="568331"/>
            </a:xfrm>
            <a:prstGeom prst="rect">
              <a:avLst/>
            </a:prstGeom>
          </p:spPr>
          <p:txBody>
            <a:bodyPr lIns="68580" tIns="34290" rIns="68580" bIns="34290" anchor="ctr"/>
            <a:lstStyle/>
            <a:p>
              <a:pPr defTabSz="685800">
                <a:lnSpc>
                  <a:spcPct val="95000"/>
                </a:lnSpc>
                <a:spcBef>
                  <a:spcPts val="300"/>
                </a:spcBef>
                <a:spcAft>
                  <a:spcPts val="150"/>
                </a:spcAft>
                <a:defRPr/>
              </a:pPr>
              <a:r>
                <a:rPr lang="en-US" sz="1050" dirty="0">
                  <a:solidFill>
                    <a:sysClr val="windowText" lastClr="000000"/>
                  </a:solidFill>
                  <a:latin typeface="Arial"/>
                </a:rPr>
                <a:t>Any UCS  Server </a:t>
              </a:r>
            </a:p>
          </p:txBody>
        </p:sp>
        <p:pic>
          <p:nvPicPr>
            <p:cNvPr id="117790" name="Picture 24">
              <a:extLst>
                <a:ext uri="{FF2B5EF4-FFF2-40B4-BE49-F238E27FC236}">
                  <a16:creationId xmlns:a16="http://schemas.microsoft.com/office/drawing/2014/main" id="{548D8D2E-6B05-7F4B-8FB4-D469E28A36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2949" y="4699069"/>
              <a:ext cx="669789" cy="63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7791" name="Group 8">
              <a:extLst>
                <a:ext uri="{FF2B5EF4-FFF2-40B4-BE49-F238E27FC236}">
                  <a16:creationId xmlns:a16="http://schemas.microsoft.com/office/drawing/2014/main" id="{2FFCBDD8-E16E-B94B-8F27-EE92D35267C4}"/>
                </a:ext>
              </a:extLst>
            </p:cNvPr>
            <p:cNvGrpSpPr>
              <a:grpSpLocks/>
            </p:cNvGrpSpPr>
            <p:nvPr/>
          </p:nvGrpSpPr>
          <p:grpSpPr bwMode="auto">
            <a:xfrm>
              <a:off x="9608125" y="2295919"/>
              <a:ext cx="2256156" cy="2941435"/>
              <a:chOff x="9111015" y="1915706"/>
              <a:chExt cx="2620543" cy="3513630"/>
            </a:xfrm>
          </p:grpSpPr>
          <p:pic>
            <p:nvPicPr>
              <p:cNvPr id="117794" name="Picture 11">
                <a:extLst>
                  <a:ext uri="{FF2B5EF4-FFF2-40B4-BE49-F238E27FC236}">
                    <a16:creationId xmlns:a16="http://schemas.microsoft.com/office/drawing/2014/main" id="{5825DC66-CCC7-F745-A648-70D1D9E3FA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7288" y="2544287"/>
                <a:ext cx="1775531" cy="277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7795" name="Group 13">
                <a:extLst>
                  <a:ext uri="{FF2B5EF4-FFF2-40B4-BE49-F238E27FC236}">
                    <a16:creationId xmlns:a16="http://schemas.microsoft.com/office/drawing/2014/main" id="{55DEF5A6-C225-6A4F-BD67-365DC45A39E0}"/>
                  </a:ext>
                </a:extLst>
              </p:cNvPr>
              <p:cNvGrpSpPr>
                <a:grpSpLocks/>
              </p:cNvGrpSpPr>
              <p:nvPr/>
            </p:nvGrpSpPr>
            <p:grpSpPr bwMode="auto">
              <a:xfrm>
                <a:off x="9479243" y="2361203"/>
                <a:ext cx="1901031" cy="581733"/>
                <a:chOff x="2213919" y="2802023"/>
                <a:chExt cx="1901031" cy="581733"/>
              </a:xfrm>
            </p:grpSpPr>
            <p:pic>
              <p:nvPicPr>
                <p:cNvPr id="117806" name="Picture 29">
                  <a:extLst>
                    <a:ext uri="{FF2B5EF4-FFF2-40B4-BE49-F238E27FC236}">
                      <a16:creationId xmlns:a16="http://schemas.microsoft.com/office/drawing/2014/main" id="{30DD0541-1E32-2941-8B1C-CFBBA4C3FE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2309" y="2802023"/>
                  <a:ext cx="532641" cy="58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807" name="Picture 30">
                  <a:extLst>
                    <a:ext uri="{FF2B5EF4-FFF2-40B4-BE49-F238E27FC236}">
                      <a16:creationId xmlns:a16="http://schemas.microsoft.com/office/drawing/2014/main" id="{E2EA50BC-E7C4-2940-8ECD-57C749DC6E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3919" y="2802023"/>
                  <a:ext cx="532641" cy="58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796" name="Group 14">
                <a:extLst>
                  <a:ext uri="{FF2B5EF4-FFF2-40B4-BE49-F238E27FC236}">
                    <a16:creationId xmlns:a16="http://schemas.microsoft.com/office/drawing/2014/main" id="{E080CD42-6F29-094D-BA3C-678DC7374966}"/>
                  </a:ext>
                </a:extLst>
              </p:cNvPr>
              <p:cNvGrpSpPr>
                <a:grpSpLocks/>
              </p:cNvGrpSpPr>
              <p:nvPr/>
            </p:nvGrpSpPr>
            <p:grpSpPr bwMode="auto">
              <a:xfrm>
                <a:off x="9456313" y="3666128"/>
                <a:ext cx="1923960" cy="562871"/>
                <a:chOff x="2190989" y="4106948"/>
                <a:chExt cx="1923960" cy="562871"/>
              </a:xfrm>
            </p:grpSpPr>
            <p:pic>
              <p:nvPicPr>
                <p:cNvPr id="117804" name="Picture 27">
                  <a:extLst>
                    <a:ext uri="{FF2B5EF4-FFF2-40B4-BE49-F238E27FC236}">
                      <a16:creationId xmlns:a16="http://schemas.microsoft.com/office/drawing/2014/main" id="{25AF5654-8F4F-CD44-9CA7-4F8EDDFE47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9578" y="4106948"/>
                  <a:ext cx="515371" cy="56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805" name="Picture 28">
                  <a:extLst>
                    <a:ext uri="{FF2B5EF4-FFF2-40B4-BE49-F238E27FC236}">
                      <a16:creationId xmlns:a16="http://schemas.microsoft.com/office/drawing/2014/main" id="{AFEFC475-D0FF-A34A-8769-FE91D7CA5A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0989" y="4106948"/>
                  <a:ext cx="515371" cy="56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797" name="Group 15">
                <a:extLst>
                  <a:ext uri="{FF2B5EF4-FFF2-40B4-BE49-F238E27FC236}">
                    <a16:creationId xmlns:a16="http://schemas.microsoft.com/office/drawing/2014/main" id="{09BBE4DF-72BA-DF44-B264-7BFF09E34C90}"/>
                  </a:ext>
                </a:extLst>
              </p:cNvPr>
              <p:cNvGrpSpPr>
                <a:grpSpLocks/>
              </p:cNvGrpSpPr>
              <p:nvPr/>
            </p:nvGrpSpPr>
            <p:grpSpPr bwMode="auto">
              <a:xfrm>
                <a:off x="9111015" y="1915706"/>
                <a:ext cx="2620543" cy="310626"/>
                <a:chOff x="1845691" y="2491626"/>
                <a:chExt cx="2620543" cy="310626"/>
              </a:xfrm>
            </p:grpSpPr>
            <p:pic>
              <p:nvPicPr>
                <p:cNvPr id="117802" name="Picture 25">
                  <a:extLst>
                    <a:ext uri="{FF2B5EF4-FFF2-40B4-BE49-F238E27FC236}">
                      <a16:creationId xmlns:a16="http://schemas.microsoft.com/office/drawing/2014/main" id="{EC2350C4-3424-EA42-B1F7-B2948C98C3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5691" y="2491626"/>
                  <a:ext cx="1211620" cy="2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803" name="Picture 26">
                  <a:extLst>
                    <a:ext uri="{FF2B5EF4-FFF2-40B4-BE49-F238E27FC236}">
                      <a16:creationId xmlns:a16="http://schemas.microsoft.com/office/drawing/2014/main" id="{8341A82B-410B-244B-8037-1E9B6704EF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4614" y="2505737"/>
                  <a:ext cx="1211620" cy="2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Trapezoid 16">
                <a:extLst>
                  <a:ext uri="{FF2B5EF4-FFF2-40B4-BE49-F238E27FC236}">
                    <a16:creationId xmlns:a16="http://schemas.microsoft.com/office/drawing/2014/main" id="{11B8149A-BA79-8B48-AE01-A8C09EA6E520}"/>
                  </a:ext>
                </a:extLst>
              </p:cNvPr>
              <p:cNvSpPr/>
              <p:nvPr/>
            </p:nvSpPr>
            <p:spPr>
              <a:xfrm flipV="1">
                <a:off x="10503132" y="2226262"/>
                <a:ext cx="1211921" cy="134815"/>
              </a:xfrm>
              <a:prstGeom prst="trapezoid">
                <a:avLst>
                  <a:gd name="adj" fmla="val 360924"/>
                </a:avLst>
              </a:prstGeom>
              <a:solidFill>
                <a:schemeClr val="bg2">
                  <a:lumMod val="20000"/>
                  <a:lumOff val="80000"/>
                </a:schemeClr>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68574" tIns="34288" rIns="68574" bIns="34288" anchor="ctr"/>
              <a:lstStyle/>
              <a:p>
                <a:pPr algn="ctr" defTabSz="686298">
                  <a:lnSpc>
                    <a:spcPct val="95000"/>
                  </a:lnSpc>
                  <a:defRPr/>
                </a:pPr>
                <a:endParaRPr lang="en-US" sz="1500" dirty="0" err="1">
                  <a:solidFill>
                    <a:prstClr val="black"/>
                  </a:solidFill>
                </a:endParaRPr>
              </a:p>
            </p:txBody>
          </p:sp>
          <p:sp>
            <p:nvSpPr>
              <p:cNvPr id="18" name="Trapezoid 17">
                <a:extLst>
                  <a:ext uri="{FF2B5EF4-FFF2-40B4-BE49-F238E27FC236}">
                    <a16:creationId xmlns:a16="http://schemas.microsoft.com/office/drawing/2014/main" id="{AABB976E-500E-8146-ADF7-15A214374CFA}"/>
                  </a:ext>
                </a:extLst>
              </p:cNvPr>
              <p:cNvSpPr/>
              <p:nvPr/>
            </p:nvSpPr>
            <p:spPr>
              <a:xfrm flipV="1">
                <a:off x="9128522" y="2216632"/>
                <a:ext cx="1211921" cy="134815"/>
              </a:xfrm>
              <a:prstGeom prst="trapezoid">
                <a:avLst>
                  <a:gd name="adj" fmla="val 360924"/>
                </a:avLst>
              </a:prstGeom>
              <a:solidFill>
                <a:schemeClr val="bg2">
                  <a:lumMod val="20000"/>
                  <a:lumOff val="80000"/>
                </a:schemeClr>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68574" tIns="34288" rIns="68574" bIns="34288" anchor="ctr"/>
              <a:lstStyle/>
              <a:p>
                <a:pPr algn="ctr" defTabSz="686298">
                  <a:lnSpc>
                    <a:spcPct val="95000"/>
                  </a:lnSpc>
                  <a:defRPr/>
                </a:pPr>
                <a:endParaRPr lang="en-US" sz="1500" dirty="0" err="1">
                  <a:solidFill>
                    <a:prstClr val="black"/>
                  </a:solidFill>
                </a:endParaRPr>
              </a:p>
            </p:txBody>
          </p:sp>
          <p:pic>
            <p:nvPicPr>
              <p:cNvPr id="117800" name="Picture 51" descr="ontap-9.png">
                <a:extLst>
                  <a:ext uri="{FF2B5EF4-FFF2-40B4-BE49-F238E27FC236}">
                    <a16:creationId xmlns:a16="http://schemas.microsoft.com/office/drawing/2014/main" id="{4A8B4B40-29E4-3A43-A364-43492D288F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81860" y="4926633"/>
                <a:ext cx="502998" cy="50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801" name="Picture 52" descr="ontap-9.png">
                <a:extLst>
                  <a:ext uri="{FF2B5EF4-FFF2-40B4-BE49-F238E27FC236}">
                    <a16:creationId xmlns:a16="http://schemas.microsoft.com/office/drawing/2014/main" id="{4F1DF050-D97D-0B4C-8B8B-CB540AB62F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77275" y="4926633"/>
                <a:ext cx="502998" cy="50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7792" name="Picture 53">
              <a:extLst>
                <a:ext uri="{FF2B5EF4-FFF2-40B4-BE49-F238E27FC236}">
                  <a16:creationId xmlns:a16="http://schemas.microsoft.com/office/drawing/2014/main" id="{505330D0-8936-F645-BCFD-24674F3AF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2949" y="3668131"/>
              <a:ext cx="669789" cy="63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93" name="Picture 54">
              <a:extLst>
                <a:ext uri="{FF2B5EF4-FFF2-40B4-BE49-F238E27FC236}">
                  <a16:creationId xmlns:a16="http://schemas.microsoft.com/office/drawing/2014/main" id="{1E18EE79-76B0-8641-ADC1-3D3BE62FC2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2949" y="2622188"/>
              <a:ext cx="669789" cy="631098"/>
            </a:xfrm>
            <a:prstGeom prst="rect">
              <a:avLst/>
            </a:prstGeom>
            <a:solidFill>
              <a:srgbClr val="409BCC"/>
            </a:solid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117765" name="Group 59">
            <a:extLst>
              <a:ext uri="{FF2B5EF4-FFF2-40B4-BE49-F238E27FC236}">
                <a16:creationId xmlns:a16="http://schemas.microsoft.com/office/drawing/2014/main" id="{D0125DB7-60B7-9B42-970D-4E7505668499}"/>
              </a:ext>
            </a:extLst>
          </p:cNvPr>
          <p:cNvGrpSpPr>
            <a:grpSpLocks/>
          </p:cNvGrpSpPr>
          <p:nvPr/>
        </p:nvGrpSpPr>
        <p:grpSpPr bwMode="auto">
          <a:xfrm>
            <a:off x="3017838" y="1622425"/>
            <a:ext cx="2408237" cy="2273300"/>
            <a:chOff x="3413810" y="2362751"/>
            <a:chExt cx="3195494" cy="2953765"/>
          </a:xfrm>
        </p:grpSpPr>
        <p:grpSp>
          <p:nvGrpSpPr>
            <p:cNvPr id="117768" name="Group 5">
              <a:extLst>
                <a:ext uri="{FF2B5EF4-FFF2-40B4-BE49-F238E27FC236}">
                  <a16:creationId xmlns:a16="http://schemas.microsoft.com/office/drawing/2014/main" id="{62EFE583-758D-F347-84CB-DE8DC98B7E93}"/>
                </a:ext>
              </a:extLst>
            </p:cNvPr>
            <p:cNvGrpSpPr>
              <a:grpSpLocks/>
            </p:cNvGrpSpPr>
            <p:nvPr/>
          </p:nvGrpSpPr>
          <p:grpSpPr bwMode="auto">
            <a:xfrm>
              <a:off x="4343808" y="2362751"/>
              <a:ext cx="2265496" cy="2953765"/>
              <a:chOff x="2803191" y="1752801"/>
              <a:chExt cx="2620543" cy="3476088"/>
            </a:xfrm>
          </p:grpSpPr>
          <p:grpSp>
            <p:nvGrpSpPr>
              <p:cNvPr id="117772" name="Group 32">
                <a:extLst>
                  <a:ext uri="{FF2B5EF4-FFF2-40B4-BE49-F238E27FC236}">
                    <a16:creationId xmlns:a16="http://schemas.microsoft.com/office/drawing/2014/main" id="{0E279EB4-133E-A043-B523-CF11E8C30758}"/>
                  </a:ext>
                </a:extLst>
              </p:cNvPr>
              <p:cNvGrpSpPr>
                <a:grpSpLocks/>
              </p:cNvGrpSpPr>
              <p:nvPr/>
            </p:nvGrpSpPr>
            <p:grpSpPr bwMode="auto">
              <a:xfrm>
                <a:off x="2803191" y="1752801"/>
                <a:ext cx="2620543" cy="3401142"/>
                <a:chOff x="2326813" y="2144861"/>
                <a:chExt cx="2620543" cy="3401142"/>
              </a:xfrm>
            </p:grpSpPr>
            <p:pic>
              <p:nvPicPr>
                <p:cNvPr id="117775" name="Picture 37">
                  <a:extLst>
                    <a:ext uri="{FF2B5EF4-FFF2-40B4-BE49-F238E27FC236}">
                      <a16:creationId xmlns:a16="http://schemas.microsoft.com/office/drawing/2014/main" id="{BA74F05E-B7A0-DC40-BB1C-D0A4957BB3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3086" y="2773442"/>
                  <a:ext cx="1775531" cy="277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7776" name="Group 38">
                  <a:extLst>
                    <a:ext uri="{FF2B5EF4-FFF2-40B4-BE49-F238E27FC236}">
                      <a16:creationId xmlns:a16="http://schemas.microsoft.com/office/drawing/2014/main" id="{6F5A272F-2203-424A-A3C8-1D25830FD9EE}"/>
                    </a:ext>
                  </a:extLst>
                </p:cNvPr>
                <p:cNvGrpSpPr>
                  <a:grpSpLocks/>
                </p:cNvGrpSpPr>
                <p:nvPr/>
              </p:nvGrpSpPr>
              <p:grpSpPr bwMode="auto">
                <a:xfrm>
                  <a:off x="2695041" y="2590358"/>
                  <a:ext cx="1901031" cy="581733"/>
                  <a:chOff x="2213919" y="2802023"/>
                  <a:chExt cx="1901031" cy="581733"/>
                </a:xfrm>
              </p:grpSpPr>
              <p:pic>
                <p:nvPicPr>
                  <p:cNvPr id="117785" name="Picture 47">
                    <a:extLst>
                      <a:ext uri="{FF2B5EF4-FFF2-40B4-BE49-F238E27FC236}">
                        <a16:creationId xmlns:a16="http://schemas.microsoft.com/office/drawing/2014/main" id="{AB088DC8-0C48-F845-B400-34AD9D67C6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2309" y="2802023"/>
                    <a:ext cx="532641" cy="58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86" name="Picture 48">
                    <a:extLst>
                      <a:ext uri="{FF2B5EF4-FFF2-40B4-BE49-F238E27FC236}">
                        <a16:creationId xmlns:a16="http://schemas.microsoft.com/office/drawing/2014/main" id="{26FFA5AA-C6CC-644D-A783-AC741025CB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3919" y="2802023"/>
                    <a:ext cx="532641" cy="58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777" name="Group 39">
                  <a:extLst>
                    <a:ext uri="{FF2B5EF4-FFF2-40B4-BE49-F238E27FC236}">
                      <a16:creationId xmlns:a16="http://schemas.microsoft.com/office/drawing/2014/main" id="{D16B66D0-B410-234B-A1B6-6AC24223F27A}"/>
                    </a:ext>
                  </a:extLst>
                </p:cNvPr>
                <p:cNvGrpSpPr>
                  <a:grpSpLocks/>
                </p:cNvGrpSpPr>
                <p:nvPr/>
              </p:nvGrpSpPr>
              <p:grpSpPr bwMode="auto">
                <a:xfrm>
                  <a:off x="2672111" y="3895283"/>
                  <a:ext cx="1923960" cy="562871"/>
                  <a:chOff x="2190989" y="4106948"/>
                  <a:chExt cx="1923960" cy="562871"/>
                </a:xfrm>
              </p:grpSpPr>
              <p:pic>
                <p:nvPicPr>
                  <p:cNvPr id="117783" name="Picture 45">
                    <a:extLst>
                      <a:ext uri="{FF2B5EF4-FFF2-40B4-BE49-F238E27FC236}">
                        <a16:creationId xmlns:a16="http://schemas.microsoft.com/office/drawing/2014/main" id="{F1471849-3E3E-654B-A5F5-4420982039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9578" y="4106948"/>
                    <a:ext cx="515371" cy="56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84" name="Picture 46">
                    <a:extLst>
                      <a:ext uri="{FF2B5EF4-FFF2-40B4-BE49-F238E27FC236}">
                        <a16:creationId xmlns:a16="http://schemas.microsoft.com/office/drawing/2014/main" id="{EEBB7E5B-5253-AF45-AFA3-B116C2CEEC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0989" y="4106948"/>
                    <a:ext cx="515371" cy="56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778" name="Group 40">
                  <a:extLst>
                    <a:ext uri="{FF2B5EF4-FFF2-40B4-BE49-F238E27FC236}">
                      <a16:creationId xmlns:a16="http://schemas.microsoft.com/office/drawing/2014/main" id="{C60301CA-78DC-8847-A1EE-46B0FB39AA4F}"/>
                    </a:ext>
                  </a:extLst>
                </p:cNvPr>
                <p:cNvGrpSpPr>
                  <a:grpSpLocks/>
                </p:cNvGrpSpPr>
                <p:nvPr/>
              </p:nvGrpSpPr>
              <p:grpSpPr bwMode="auto">
                <a:xfrm>
                  <a:off x="2326813" y="2144861"/>
                  <a:ext cx="2620543" cy="310626"/>
                  <a:chOff x="1845691" y="2491626"/>
                  <a:chExt cx="2620543" cy="310626"/>
                </a:xfrm>
              </p:grpSpPr>
              <p:pic>
                <p:nvPicPr>
                  <p:cNvPr id="117781" name="Picture 43">
                    <a:extLst>
                      <a:ext uri="{FF2B5EF4-FFF2-40B4-BE49-F238E27FC236}">
                        <a16:creationId xmlns:a16="http://schemas.microsoft.com/office/drawing/2014/main" id="{55B9F42A-4452-5E4D-A12C-D2E68D5CE2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5691" y="2491626"/>
                    <a:ext cx="1211620" cy="2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82" name="Picture 44">
                    <a:extLst>
                      <a:ext uri="{FF2B5EF4-FFF2-40B4-BE49-F238E27FC236}">
                        <a16:creationId xmlns:a16="http://schemas.microsoft.com/office/drawing/2014/main" id="{94BEB34B-440D-E74B-B874-8EEEDCC224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4614" y="2505737"/>
                    <a:ext cx="1211620" cy="2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2" name="Trapezoid 41">
                  <a:extLst>
                    <a:ext uri="{FF2B5EF4-FFF2-40B4-BE49-F238E27FC236}">
                      <a16:creationId xmlns:a16="http://schemas.microsoft.com/office/drawing/2014/main" id="{A9902D97-10E8-5744-AF0A-30547C9D525B}"/>
                    </a:ext>
                  </a:extLst>
                </p:cNvPr>
                <p:cNvSpPr/>
                <p:nvPr/>
              </p:nvSpPr>
              <p:spPr>
                <a:xfrm flipV="1">
                  <a:off x="3716885" y="2455573"/>
                  <a:ext cx="1213416" cy="135936"/>
                </a:xfrm>
                <a:prstGeom prst="trapezoid">
                  <a:avLst>
                    <a:gd name="adj" fmla="val 360924"/>
                  </a:avLst>
                </a:prstGeom>
                <a:solidFill>
                  <a:schemeClr val="bg2">
                    <a:lumMod val="20000"/>
                    <a:lumOff val="80000"/>
                  </a:schemeClr>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68574" tIns="34288" rIns="68574" bIns="34288" anchor="ctr"/>
                <a:lstStyle/>
                <a:p>
                  <a:pPr algn="ctr" defTabSz="686298">
                    <a:lnSpc>
                      <a:spcPct val="95000"/>
                    </a:lnSpc>
                    <a:defRPr/>
                  </a:pPr>
                  <a:endParaRPr lang="en-US" sz="1500" dirty="0" err="1">
                    <a:solidFill>
                      <a:prstClr val="black"/>
                    </a:solidFill>
                  </a:endParaRPr>
                </a:p>
              </p:txBody>
            </p:sp>
            <p:sp>
              <p:nvSpPr>
                <p:cNvPr id="43" name="Trapezoid 42">
                  <a:extLst>
                    <a:ext uri="{FF2B5EF4-FFF2-40B4-BE49-F238E27FC236}">
                      <a16:creationId xmlns:a16="http://schemas.microsoft.com/office/drawing/2014/main" id="{CAD5D5F0-B6D3-AB46-BC90-47CA080B6B0F}"/>
                    </a:ext>
                  </a:extLst>
                </p:cNvPr>
                <p:cNvSpPr/>
                <p:nvPr/>
              </p:nvSpPr>
              <p:spPr>
                <a:xfrm flipV="1">
                  <a:off x="2342654" y="2445863"/>
                  <a:ext cx="1213416" cy="135936"/>
                </a:xfrm>
                <a:prstGeom prst="trapezoid">
                  <a:avLst>
                    <a:gd name="adj" fmla="val 360924"/>
                  </a:avLst>
                </a:prstGeom>
                <a:solidFill>
                  <a:schemeClr val="bg2">
                    <a:lumMod val="20000"/>
                    <a:lumOff val="80000"/>
                  </a:schemeClr>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68574" tIns="34288" rIns="68574" bIns="34288" anchor="ctr"/>
                <a:lstStyle/>
                <a:p>
                  <a:pPr algn="ctr" defTabSz="686298">
                    <a:lnSpc>
                      <a:spcPct val="95000"/>
                    </a:lnSpc>
                    <a:defRPr/>
                  </a:pPr>
                  <a:endParaRPr lang="en-US" sz="1500" dirty="0" err="1">
                    <a:solidFill>
                      <a:schemeClr val="accent4"/>
                    </a:solidFill>
                  </a:endParaRPr>
                </a:p>
              </p:txBody>
            </p:sp>
          </p:grpSp>
          <p:pic>
            <p:nvPicPr>
              <p:cNvPr id="117773" name="Picture 49" descr="ontap-9.png">
                <a:extLst>
                  <a:ext uri="{FF2B5EF4-FFF2-40B4-BE49-F238E27FC236}">
                    <a16:creationId xmlns:a16="http://schemas.microsoft.com/office/drawing/2014/main" id="{C2A0233D-4069-D442-8BEA-1A6EED6550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74036" y="4726186"/>
                <a:ext cx="502998" cy="50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74" name="Picture 50" descr="ontap-9.png">
                <a:extLst>
                  <a:ext uri="{FF2B5EF4-FFF2-40B4-BE49-F238E27FC236}">
                    <a16:creationId xmlns:a16="http://schemas.microsoft.com/office/drawing/2014/main" id="{A0D0B30D-F46B-FF4E-A589-C7B8E4B0D1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69451" y="4726186"/>
                <a:ext cx="502998" cy="50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TextBox 55">
              <a:extLst>
                <a:ext uri="{FF2B5EF4-FFF2-40B4-BE49-F238E27FC236}">
                  <a16:creationId xmlns:a16="http://schemas.microsoft.com/office/drawing/2014/main" id="{9C2D22C1-AA6D-684A-A0DF-7EF11E561970}"/>
                </a:ext>
              </a:extLst>
            </p:cNvPr>
            <p:cNvSpPr txBox="1"/>
            <p:nvPr/>
          </p:nvSpPr>
          <p:spPr>
            <a:xfrm>
              <a:off x="3413810" y="3524043"/>
              <a:ext cx="1236489" cy="1068471"/>
            </a:xfrm>
            <a:prstGeom prst="rect">
              <a:avLst/>
            </a:prstGeom>
          </p:spPr>
          <p:txBody>
            <a:bodyPr lIns="68580" tIns="34290" rIns="68580" bIns="34290" anchor="ctr"/>
            <a:lstStyle/>
            <a:p>
              <a:pPr algn="ctr" defTabSz="685800">
                <a:lnSpc>
                  <a:spcPct val="95000"/>
                </a:lnSpc>
                <a:spcBef>
                  <a:spcPts val="300"/>
                </a:spcBef>
                <a:spcAft>
                  <a:spcPts val="150"/>
                </a:spcAft>
                <a:defRPr/>
              </a:pPr>
              <a:r>
                <a:rPr lang="en-US" sz="1050" dirty="0">
                  <a:solidFill>
                    <a:sysClr val="windowText" lastClr="000000"/>
                  </a:solidFill>
                  <a:latin typeface="Arial"/>
                </a:rPr>
                <a:t>E2E Protocol Inter-operability Testing</a:t>
              </a:r>
              <a:endParaRPr lang="en-US" sz="1050" dirty="0" err="1">
                <a:solidFill>
                  <a:sysClr val="windowText" lastClr="000000"/>
                </a:solidFill>
                <a:latin typeface="Arial"/>
              </a:endParaRPr>
            </a:p>
          </p:txBody>
        </p:sp>
        <p:cxnSp>
          <p:nvCxnSpPr>
            <p:cNvPr id="57" name="Straight Arrow Connector 56">
              <a:extLst>
                <a:ext uri="{FF2B5EF4-FFF2-40B4-BE49-F238E27FC236}">
                  <a16:creationId xmlns:a16="http://schemas.microsoft.com/office/drawing/2014/main" id="{724D1FB2-D422-F040-8C7E-F6EEE2965F83}"/>
                </a:ext>
              </a:extLst>
            </p:cNvPr>
            <p:cNvCxnSpPr/>
            <p:nvPr/>
          </p:nvCxnSpPr>
          <p:spPr>
            <a:xfrm>
              <a:off x="4026788" y="4611078"/>
              <a:ext cx="0" cy="674499"/>
            </a:xfrm>
            <a:prstGeom prst="straightConnector1">
              <a:avLst/>
            </a:prstGeom>
            <a:ln w="38100" cmpd="sng">
              <a:solidFill>
                <a:schemeClr val="accent4"/>
              </a:solidFill>
              <a:tailEnd type="arrow"/>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998C415B-7C39-BE4C-BE78-0487CDB275F2}"/>
                </a:ext>
              </a:extLst>
            </p:cNvPr>
            <p:cNvCxnSpPr/>
            <p:nvPr/>
          </p:nvCxnSpPr>
          <p:spPr>
            <a:xfrm flipV="1">
              <a:off x="4031001" y="2797978"/>
              <a:ext cx="0" cy="668310"/>
            </a:xfrm>
            <a:prstGeom prst="straightConnector1">
              <a:avLst/>
            </a:prstGeom>
            <a:ln w="38100" cmpd="sng">
              <a:solidFill>
                <a:schemeClr val="accent4"/>
              </a:solidFill>
              <a:tailEnd type="arrow"/>
            </a:ln>
          </p:spPr>
          <p:style>
            <a:lnRef idx="2">
              <a:schemeClr val="accent1"/>
            </a:lnRef>
            <a:fillRef idx="0">
              <a:schemeClr val="accent1"/>
            </a:fillRef>
            <a:effectRef idx="1">
              <a:schemeClr val="accent1"/>
            </a:effectRef>
            <a:fontRef idx="minor">
              <a:schemeClr val="tx1"/>
            </a:fontRef>
          </p:style>
        </p:cxnSp>
      </p:grpSp>
      <p:sp>
        <p:nvSpPr>
          <p:cNvPr id="10" name="Right Arrow 9">
            <a:extLst>
              <a:ext uri="{FF2B5EF4-FFF2-40B4-BE49-F238E27FC236}">
                <a16:creationId xmlns:a16="http://schemas.microsoft.com/office/drawing/2014/main" id="{38E8F48C-0340-C749-8B2C-FD00FBC44EEE}"/>
              </a:ext>
            </a:extLst>
          </p:cNvPr>
          <p:cNvSpPr/>
          <p:nvPr/>
        </p:nvSpPr>
        <p:spPr>
          <a:xfrm>
            <a:off x="2551113" y="2311400"/>
            <a:ext cx="419100" cy="1058863"/>
          </a:xfrm>
          <a:prstGeom prst="rightArrow">
            <a:avLst/>
          </a:prstGeom>
          <a:solidFill>
            <a:srgbClr val="409BC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lnSpc>
                <a:spcPct val="95000"/>
              </a:lnSpc>
              <a:defRPr/>
            </a:pPr>
            <a:endParaRPr lang="en-US" sz="1500" dirty="0" err="1">
              <a:solidFill>
                <a:srgbClr val="FFFFFF"/>
              </a:solidFill>
            </a:endParaRPr>
          </a:p>
        </p:txBody>
      </p:sp>
      <p:sp>
        <p:nvSpPr>
          <p:cNvPr id="62" name="Right Arrow 61">
            <a:extLst>
              <a:ext uri="{FF2B5EF4-FFF2-40B4-BE49-F238E27FC236}">
                <a16:creationId xmlns:a16="http://schemas.microsoft.com/office/drawing/2014/main" id="{E1AE6915-8E47-1E4F-98D0-9693E22949E8}"/>
              </a:ext>
            </a:extLst>
          </p:cNvPr>
          <p:cNvSpPr/>
          <p:nvPr/>
        </p:nvSpPr>
        <p:spPr>
          <a:xfrm>
            <a:off x="5387975" y="2319338"/>
            <a:ext cx="417513" cy="1058862"/>
          </a:xfrm>
          <a:prstGeom prst="rightArrow">
            <a:avLst/>
          </a:prstGeom>
          <a:solidFill>
            <a:srgbClr val="409BC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lnSpc>
                <a:spcPct val="95000"/>
              </a:lnSpc>
              <a:defRPr/>
            </a:pPr>
            <a:endParaRPr lang="en-US" sz="1500" dirty="0" err="1">
              <a:solidFill>
                <a:srgbClr val="FFFFFF"/>
              </a:solidFill>
            </a:endParaRPr>
          </a:p>
        </p:txBody>
      </p:sp>
    </p:spTree>
    <p:extLst>
      <p:ext uri="{BB962C8B-B14F-4D97-AF65-F5344CB8AC3E}">
        <p14:creationId xmlns:p14="http://schemas.microsoft.com/office/powerpoint/2010/main" val="309914223"/>
      </p:ext>
    </p:extLst>
  </p:cSld>
  <p:clrMapOvr>
    <a:masterClrMapping/>
  </p:clrMapOvr>
  <p:transition spd="slow">
    <p:circl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ounded Rectangle 100">
            <a:extLst>
              <a:ext uri="{FF2B5EF4-FFF2-40B4-BE49-F238E27FC236}">
                <a16:creationId xmlns:a16="http://schemas.microsoft.com/office/drawing/2014/main" id="{FE7E3126-AEF6-4E0F-8FC7-77F4B73ADCCC}"/>
              </a:ext>
            </a:extLst>
          </p:cNvPr>
          <p:cNvSpPr/>
          <p:nvPr/>
        </p:nvSpPr>
        <p:spPr bwMode="auto">
          <a:xfrm>
            <a:off x="7026762" y="1191635"/>
            <a:ext cx="1232755" cy="3048000"/>
          </a:xfrm>
          <a:prstGeom prst="roundRect">
            <a:avLst>
              <a:gd name="adj" fmla="val 7497"/>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0DB12"/>
              </a:buClr>
              <a:buSzTx/>
              <a:buFont typeface="Wingdings 2" pitchFamily="18" charset="2"/>
              <a:buNone/>
              <a:tabLst/>
              <a:defRPr/>
            </a:pPr>
            <a:endParaRPr kumimoji="0" lang="en-US" sz="1800" b="0" i="0" u="none" strike="noStrike" kern="0" cap="none" spc="0" normalizeH="0" baseline="0" noProof="0">
              <a:ln>
                <a:noFill/>
              </a:ln>
              <a:solidFill>
                <a:srgbClr val="4C4948"/>
              </a:solidFill>
              <a:effectLst/>
              <a:uLnTx/>
              <a:uFillTx/>
              <a:latin typeface="Arial" charset="0"/>
            </a:endParaRPr>
          </a:p>
        </p:txBody>
      </p:sp>
      <p:sp>
        <p:nvSpPr>
          <p:cNvPr id="183" name="Rounded Rectangle 1">
            <a:extLst>
              <a:ext uri="{FF2B5EF4-FFF2-40B4-BE49-F238E27FC236}">
                <a16:creationId xmlns:a16="http://schemas.microsoft.com/office/drawing/2014/main" id="{641FAC8D-0B43-46F7-B234-D94CEF250E9D}"/>
              </a:ext>
            </a:extLst>
          </p:cNvPr>
          <p:cNvSpPr/>
          <p:nvPr/>
        </p:nvSpPr>
        <p:spPr bwMode="auto">
          <a:xfrm>
            <a:off x="4380239" y="1218280"/>
            <a:ext cx="1270000" cy="3048000"/>
          </a:xfrm>
          <a:prstGeom prst="roundRect">
            <a:avLst>
              <a:gd name="adj" fmla="val 9674"/>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0DB12"/>
              </a:buClr>
              <a:buSzTx/>
              <a:buFont typeface="Wingdings 2" pitchFamily="18" charset="2"/>
              <a:buNone/>
              <a:tabLst/>
              <a:defRPr/>
            </a:pPr>
            <a:endParaRPr kumimoji="0" lang="en-US" sz="1800" b="0" i="0" u="none" strike="noStrike" kern="0" cap="none" spc="0" normalizeH="0" baseline="0" noProof="0">
              <a:ln>
                <a:noFill/>
              </a:ln>
              <a:solidFill>
                <a:srgbClr val="4C4948"/>
              </a:solidFill>
              <a:effectLst/>
              <a:uLnTx/>
              <a:uFillTx/>
              <a:latin typeface="Arial" charset="0"/>
            </a:endParaRPr>
          </a:p>
        </p:txBody>
      </p:sp>
      <p:sp>
        <p:nvSpPr>
          <p:cNvPr id="184" name="Rounded Rectangle 59">
            <a:extLst>
              <a:ext uri="{FF2B5EF4-FFF2-40B4-BE49-F238E27FC236}">
                <a16:creationId xmlns:a16="http://schemas.microsoft.com/office/drawing/2014/main" id="{168D2750-99D9-408F-A763-DC9E89BE97C5}"/>
              </a:ext>
            </a:extLst>
          </p:cNvPr>
          <p:cNvSpPr/>
          <p:nvPr/>
        </p:nvSpPr>
        <p:spPr bwMode="auto">
          <a:xfrm>
            <a:off x="5648960" y="1197960"/>
            <a:ext cx="741680" cy="3048000"/>
          </a:xfrm>
          <a:prstGeom prst="roundRect">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0DB12"/>
              </a:buClr>
              <a:buSzTx/>
              <a:buFont typeface="Wingdings 2" pitchFamily="18" charset="2"/>
              <a:buNone/>
              <a:tabLst/>
              <a:defRPr/>
            </a:pPr>
            <a:endParaRPr kumimoji="0" lang="en-US" sz="1800" b="0" i="0" u="none" strike="noStrike" kern="0" cap="none" spc="0" normalizeH="0" baseline="0" noProof="0" dirty="0">
              <a:ln>
                <a:noFill/>
              </a:ln>
              <a:solidFill>
                <a:srgbClr val="4C4948"/>
              </a:solidFill>
              <a:effectLst/>
              <a:uLnTx/>
              <a:uFillTx/>
              <a:latin typeface="Arial" charset="0"/>
            </a:endParaRPr>
          </a:p>
        </p:txBody>
      </p:sp>
      <p:sp>
        <p:nvSpPr>
          <p:cNvPr id="185" name="Rounded Rectangle 60">
            <a:extLst>
              <a:ext uri="{FF2B5EF4-FFF2-40B4-BE49-F238E27FC236}">
                <a16:creationId xmlns:a16="http://schemas.microsoft.com/office/drawing/2014/main" id="{A9DDA500-3867-4884-A112-277E87B7EBD9}"/>
              </a:ext>
            </a:extLst>
          </p:cNvPr>
          <p:cNvSpPr/>
          <p:nvPr/>
        </p:nvSpPr>
        <p:spPr bwMode="auto">
          <a:xfrm>
            <a:off x="6390640" y="1197960"/>
            <a:ext cx="640080" cy="3048000"/>
          </a:xfrm>
          <a:prstGeom prst="roundRect">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0DB12"/>
              </a:buClr>
              <a:buSzTx/>
              <a:buFont typeface="Wingdings 2" pitchFamily="18" charset="2"/>
              <a:buNone/>
              <a:tabLst/>
              <a:defRPr/>
            </a:pPr>
            <a:endParaRPr kumimoji="0" lang="en-US" sz="1800" b="0" i="0" u="none" strike="noStrike" kern="0" cap="none" spc="0" normalizeH="0" baseline="0" noProof="0">
              <a:ln>
                <a:noFill/>
              </a:ln>
              <a:solidFill>
                <a:srgbClr val="4C4948"/>
              </a:solidFill>
              <a:effectLst/>
              <a:uLnTx/>
              <a:uFillTx/>
              <a:latin typeface="Arial" charset="0"/>
            </a:endParaRPr>
          </a:p>
        </p:txBody>
      </p:sp>
      <p:grpSp>
        <p:nvGrpSpPr>
          <p:cNvPr id="186" name="Group 185">
            <a:extLst>
              <a:ext uri="{FF2B5EF4-FFF2-40B4-BE49-F238E27FC236}">
                <a16:creationId xmlns:a16="http://schemas.microsoft.com/office/drawing/2014/main" id="{A10E23FF-A64F-4ECB-B068-BF54B49CF793}"/>
              </a:ext>
            </a:extLst>
          </p:cNvPr>
          <p:cNvGrpSpPr>
            <a:grpSpLocks noChangeAspect="1"/>
          </p:cNvGrpSpPr>
          <p:nvPr/>
        </p:nvGrpSpPr>
        <p:grpSpPr>
          <a:xfrm>
            <a:off x="4864884" y="4009255"/>
            <a:ext cx="3065760" cy="584662"/>
            <a:chOff x="2984500" y="1956480"/>
            <a:chExt cx="4410625" cy="1121520"/>
          </a:xfrm>
        </p:grpSpPr>
        <p:grpSp>
          <p:nvGrpSpPr>
            <p:cNvPr id="187" name="Group 186">
              <a:extLst>
                <a:ext uri="{FF2B5EF4-FFF2-40B4-BE49-F238E27FC236}">
                  <a16:creationId xmlns:a16="http://schemas.microsoft.com/office/drawing/2014/main" id="{208AE2B2-8EAD-41E6-9B42-0A8AF70C58BF}"/>
                </a:ext>
              </a:extLst>
            </p:cNvPr>
            <p:cNvGrpSpPr/>
            <p:nvPr/>
          </p:nvGrpSpPr>
          <p:grpSpPr>
            <a:xfrm>
              <a:off x="3565199" y="1956480"/>
              <a:ext cx="3391725" cy="279562"/>
              <a:chOff x="3565199" y="1956480"/>
              <a:chExt cx="3391725" cy="279562"/>
            </a:xfrm>
          </p:grpSpPr>
          <p:pic>
            <p:nvPicPr>
              <p:cNvPr id="196" name="Picture 195" descr="x.png">
                <a:extLst>
                  <a:ext uri="{FF2B5EF4-FFF2-40B4-BE49-F238E27FC236}">
                    <a16:creationId xmlns:a16="http://schemas.microsoft.com/office/drawing/2014/main" id="{9DD7B690-4D64-47A6-983A-D38D63229CD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65199" y="1967744"/>
                <a:ext cx="542193" cy="253583"/>
              </a:xfrm>
              <a:prstGeom prst="rect">
                <a:avLst/>
              </a:prstGeom>
            </p:spPr>
          </p:pic>
          <p:pic>
            <p:nvPicPr>
              <p:cNvPr id="197" name="Picture 196" descr="z.png">
                <a:extLst>
                  <a:ext uri="{FF2B5EF4-FFF2-40B4-BE49-F238E27FC236}">
                    <a16:creationId xmlns:a16="http://schemas.microsoft.com/office/drawing/2014/main" id="{C63073C8-20A8-4746-A751-C6915BD513A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97587" y="1962282"/>
                <a:ext cx="1383251" cy="256265"/>
              </a:xfrm>
              <a:prstGeom prst="rect">
                <a:avLst/>
              </a:prstGeom>
            </p:spPr>
          </p:pic>
          <p:pic>
            <p:nvPicPr>
              <p:cNvPr id="198" name="Picture 197" descr="y.png">
                <a:extLst>
                  <a:ext uri="{FF2B5EF4-FFF2-40B4-BE49-F238E27FC236}">
                    <a16:creationId xmlns:a16="http://schemas.microsoft.com/office/drawing/2014/main" id="{0AD9C09A-E3E9-43F5-9986-70E687E1B0B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7225"/>
              <a:stretch/>
            </p:blipFill>
            <p:spPr>
              <a:xfrm>
                <a:off x="6038851" y="1956480"/>
                <a:ext cx="918073" cy="279562"/>
              </a:xfrm>
              <a:prstGeom prst="rect">
                <a:avLst/>
              </a:prstGeom>
            </p:spPr>
          </p:pic>
        </p:grpSp>
        <p:grpSp>
          <p:nvGrpSpPr>
            <p:cNvPr id="188" name="Group 187">
              <a:extLst>
                <a:ext uri="{FF2B5EF4-FFF2-40B4-BE49-F238E27FC236}">
                  <a16:creationId xmlns:a16="http://schemas.microsoft.com/office/drawing/2014/main" id="{6EE56EBA-81B3-4CD2-B7C7-FD7C885EC312}"/>
                </a:ext>
              </a:extLst>
            </p:cNvPr>
            <p:cNvGrpSpPr/>
            <p:nvPr/>
          </p:nvGrpSpPr>
          <p:grpSpPr>
            <a:xfrm>
              <a:off x="2984500" y="2216150"/>
              <a:ext cx="4410625" cy="861850"/>
              <a:chOff x="2984500" y="2216150"/>
              <a:chExt cx="4410625" cy="861850"/>
            </a:xfrm>
          </p:grpSpPr>
          <p:grpSp>
            <p:nvGrpSpPr>
              <p:cNvPr id="189" name="Group 188">
                <a:extLst>
                  <a:ext uri="{FF2B5EF4-FFF2-40B4-BE49-F238E27FC236}">
                    <a16:creationId xmlns:a16="http://schemas.microsoft.com/office/drawing/2014/main" id="{2070C3A0-CACF-40FF-ADB7-7C29509DFE50}"/>
                  </a:ext>
                </a:extLst>
              </p:cNvPr>
              <p:cNvGrpSpPr/>
              <p:nvPr/>
            </p:nvGrpSpPr>
            <p:grpSpPr>
              <a:xfrm>
                <a:off x="5762625" y="2555724"/>
                <a:ext cx="257175" cy="59901"/>
                <a:chOff x="5702300" y="2465387"/>
                <a:chExt cx="204469" cy="47625"/>
              </a:xfrm>
            </p:grpSpPr>
            <p:sp>
              <p:nvSpPr>
                <p:cNvPr id="193" name="Oval 192">
                  <a:extLst>
                    <a:ext uri="{FF2B5EF4-FFF2-40B4-BE49-F238E27FC236}">
                      <a16:creationId xmlns:a16="http://schemas.microsoft.com/office/drawing/2014/main" id="{FE43B67C-4F51-40B4-8B79-5718C922BF29}"/>
                    </a:ext>
                  </a:extLst>
                </p:cNvPr>
                <p:cNvSpPr/>
                <p:nvPr/>
              </p:nvSpPr>
              <p:spPr bwMode="auto">
                <a:xfrm>
                  <a:off x="5702300" y="2465387"/>
                  <a:ext cx="45719" cy="47625"/>
                </a:xfrm>
                <a:prstGeom prst="ellipse">
                  <a:avLst/>
                </a:prstGeom>
                <a:solidFill>
                  <a:srgbClr val="00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4BD00"/>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194" name="Oval 193">
                  <a:extLst>
                    <a:ext uri="{FF2B5EF4-FFF2-40B4-BE49-F238E27FC236}">
                      <a16:creationId xmlns:a16="http://schemas.microsoft.com/office/drawing/2014/main" id="{A7799148-CBB7-44CC-A754-3F091227D30E}"/>
                    </a:ext>
                  </a:extLst>
                </p:cNvPr>
                <p:cNvSpPr/>
                <p:nvPr/>
              </p:nvSpPr>
              <p:spPr bwMode="auto">
                <a:xfrm>
                  <a:off x="5781675" y="2465387"/>
                  <a:ext cx="45719" cy="47625"/>
                </a:xfrm>
                <a:prstGeom prst="ellipse">
                  <a:avLst/>
                </a:prstGeom>
                <a:solidFill>
                  <a:srgbClr val="00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4BD00"/>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195" name="Oval 194">
                  <a:extLst>
                    <a:ext uri="{FF2B5EF4-FFF2-40B4-BE49-F238E27FC236}">
                      <a16:creationId xmlns:a16="http://schemas.microsoft.com/office/drawing/2014/main" id="{E00911E1-32EB-4B73-90C4-138011C4238C}"/>
                    </a:ext>
                  </a:extLst>
                </p:cNvPr>
                <p:cNvSpPr/>
                <p:nvPr/>
              </p:nvSpPr>
              <p:spPr bwMode="auto">
                <a:xfrm>
                  <a:off x="5861050" y="2465387"/>
                  <a:ext cx="45719" cy="47625"/>
                </a:xfrm>
                <a:prstGeom prst="ellipse">
                  <a:avLst/>
                </a:prstGeom>
                <a:solidFill>
                  <a:srgbClr val="00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4BD00"/>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grpSp>
          <p:pic>
            <p:nvPicPr>
              <p:cNvPr id="190" name="Picture 189">
                <a:extLst>
                  <a:ext uri="{FF2B5EF4-FFF2-40B4-BE49-F238E27FC236}">
                    <a16:creationId xmlns:a16="http://schemas.microsoft.com/office/drawing/2014/main" id="{5784B042-0922-44EB-A6E2-3F5F9D1460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84500" y="2216150"/>
                <a:ext cx="1292775" cy="861850"/>
              </a:xfrm>
              <a:prstGeom prst="rect">
                <a:avLst/>
              </a:prstGeom>
            </p:spPr>
          </p:pic>
          <p:pic>
            <p:nvPicPr>
              <p:cNvPr id="191" name="Picture 190">
                <a:extLst>
                  <a:ext uri="{FF2B5EF4-FFF2-40B4-BE49-F238E27FC236}">
                    <a16:creationId xmlns:a16="http://schemas.microsoft.com/office/drawing/2014/main" id="{1BF0391D-40FD-4AC4-8F5D-35F26F8B4B3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37"/>
              <a:stretch/>
            </p:blipFill>
            <p:spPr>
              <a:xfrm>
                <a:off x="4410074" y="2216150"/>
                <a:ext cx="1283251" cy="861850"/>
              </a:xfrm>
              <a:prstGeom prst="rect">
                <a:avLst/>
              </a:prstGeom>
            </p:spPr>
          </p:pic>
          <p:pic>
            <p:nvPicPr>
              <p:cNvPr id="192" name="Picture 191">
                <a:extLst>
                  <a:ext uri="{FF2B5EF4-FFF2-40B4-BE49-F238E27FC236}">
                    <a16:creationId xmlns:a16="http://schemas.microsoft.com/office/drawing/2014/main" id="{0EEB6F5D-8845-43BC-94FB-23ACDAD0FFD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02350" y="2216150"/>
                <a:ext cx="1292775" cy="861850"/>
              </a:xfrm>
              <a:prstGeom prst="rect">
                <a:avLst/>
              </a:prstGeom>
            </p:spPr>
          </p:pic>
        </p:grpSp>
      </p:grpSp>
      <p:sp>
        <p:nvSpPr>
          <p:cNvPr id="199" name="Striped Right Arrow 42">
            <a:extLst>
              <a:ext uri="{FF2B5EF4-FFF2-40B4-BE49-F238E27FC236}">
                <a16:creationId xmlns:a16="http://schemas.microsoft.com/office/drawing/2014/main" id="{BF7C530C-B571-4B1B-AD42-381ED57AACE2}"/>
              </a:ext>
            </a:extLst>
          </p:cNvPr>
          <p:cNvSpPr/>
          <p:nvPr/>
        </p:nvSpPr>
        <p:spPr bwMode="auto">
          <a:xfrm>
            <a:off x="8305862" y="1979340"/>
            <a:ext cx="762000" cy="685800"/>
          </a:xfrm>
          <a:prstGeom prst="stripedRightArrow">
            <a:avLst>
              <a:gd name="adj1" fmla="val 79630"/>
              <a:gd name="adj2" fmla="val 38310"/>
            </a:avLst>
          </a:prstGeom>
          <a:solidFill>
            <a:srgbClr val="84BD00"/>
          </a:solidFill>
          <a:ln w="28575" cap="flat" cmpd="sng" algn="ctr">
            <a:solidFill>
              <a:srgbClr val="85C128"/>
            </a:solidFill>
            <a:prstDash val="solid"/>
            <a:round/>
            <a:headEnd type="none" w="med" len="med"/>
            <a:tailEnd type="none" w="med" len="med"/>
          </a:ln>
          <a:effectLst/>
        </p:spPr>
        <p:txBody>
          <a:bodyPr vert="horz" wrap="square" lIns="68589" tIns="34295" rIns="68589" bIns="34295" numCol="1" rtlCol="0" anchor="ctr" anchorCtr="0" compatLnSpc="1">
            <a:prstTxWarp prst="textNoShape">
              <a:avLst/>
            </a:prstTxWarp>
          </a:bodyPr>
          <a:lstStyle/>
          <a:p>
            <a:pPr algn="ctr" eaLnBrk="1" hangingPunct="1">
              <a:defRPr/>
            </a:pPr>
            <a:endParaRPr lang="en-US" sz="900" b="1" dirty="0">
              <a:solidFill>
                <a:prstClr val="white"/>
              </a:solidFill>
              <a:latin typeface="Arial" pitchFamily="-65" charset="0"/>
              <a:ea typeface="Arial" pitchFamily="-65" charset="0"/>
              <a:cs typeface="Arial" pitchFamily="-65" charset="0"/>
            </a:endParaRPr>
          </a:p>
        </p:txBody>
      </p:sp>
      <p:sp>
        <p:nvSpPr>
          <p:cNvPr id="200" name="Rounded Rectangle 28">
            <a:extLst>
              <a:ext uri="{FF2B5EF4-FFF2-40B4-BE49-F238E27FC236}">
                <a16:creationId xmlns:a16="http://schemas.microsoft.com/office/drawing/2014/main" id="{D90A783E-78F3-4EAE-9C7D-83FBD92A5DBF}"/>
              </a:ext>
            </a:extLst>
          </p:cNvPr>
          <p:cNvSpPr/>
          <p:nvPr/>
        </p:nvSpPr>
        <p:spPr>
          <a:xfrm>
            <a:off x="4457762" y="2024730"/>
            <a:ext cx="3810000" cy="571500"/>
          </a:xfrm>
          <a:prstGeom prst="roundRect">
            <a:avLst/>
          </a:prstGeom>
          <a:solidFill>
            <a:srgbClr val="84BD0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defRPr/>
            </a:pPr>
            <a:endParaRPr lang="en-US" sz="1400" b="1" dirty="0">
              <a:solidFill>
                <a:prstClr val="white"/>
              </a:solidFill>
              <a:latin typeface="Arial" pitchFamily="-65" charset="0"/>
              <a:ea typeface="Arial" pitchFamily="-65" charset="0"/>
              <a:cs typeface="Arial" pitchFamily="-65" charset="0"/>
            </a:endParaRPr>
          </a:p>
          <a:p>
            <a:pPr algn="ctr" eaLnBrk="1" hangingPunct="1">
              <a:defRPr/>
            </a:pPr>
            <a:endParaRPr lang="en-US" sz="1400" b="1" dirty="0">
              <a:solidFill>
                <a:prstClr val="white"/>
              </a:solidFill>
              <a:latin typeface="Arial" pitchFamily="-65" charset="0"/>
              <a:ea typeface="Arial" pitchFamily="-65" charset="0"/>
              <a:cs typeface="Arial" pitchFamily="-65" charset="0"/>
            </a:endParaRPr>
          </a:p>
          <a:p>
            <a:pPr algn="ctr" eaLnBrk="1" hangingPunct="1">
              <a:defRPr/>
            </a:pPr>
            <a:endParaRPr lang="en-US" sz="600" b="1" dirty="0">
              <a:solidFill>
                <a:prstClr val="white"/>
              </a:solidFill>
              <a:latin typeface="Arial" pitchFamily="-65" charset="0"/>
              <a:ea typeface="Arial" pitchFamily="-65" charset="0"/>
              <a:cs typeface="Arial" pitchFamily="-65" charset="0"/>
            </a:endParaRPr>
          </a:p>
          <a:p>
            <a:pPr algn="ctr" eaLnBrk="1" hangingPunct="1">
              <a:defRPr/>
            </a:pPr>
            <a:r>
              <a:rPr lang="en-US" sz="1400" b="1" dirty="0">
                <a:solidFill>
                  <a:prstClr val="white"/>
                </a:solidFill>
                <a:latin typeface="Arial" pitchFamily="-65" charset="0"/>
                <a:ea typeface="Arial" pitchFamily="-65" charset="0"/>
                <a:cs typeface="Arial" pitchFamily="-65" charset="0"/>
              </a:rPr>
              <a:t>Virtualized Compute Pool</a:t>
            </a:r>
          </a:p>
          <a:p>
            <a:pPr algn="ctr" eaLnBrk="1" hangingPunct="1">
              <a:defRPr/>
            </a:pPr>
            <a:endParaRPr lang="en-US" sz="1400" b="1" dirty="0">
              <a:solidFill>
                <a:prstClr val="white"/>
              </a:solidFill>
              <a:latin typeface="Arial" pitchFamily="-65" charset="0"/>
              <a:ea typeface="Arial" pitchFamily="-65" charset="0"/>
              <a:cs typeface="Arial" pitchFamily="-65" charset="0"/>
            </a:endParaRPr>
          </a:p>
        </p:txBody>
      </p:sp>
      <p:sp>
        <p:nvSpPr>
          <p:cNvPr id="201" name="Rounded Rectangle 5">
            <a:extLst>
              <a:ext uri="{FF2B5EF4-FFF2-40B4-BE49-F238E27FC236}">
                <a16:creationId xmlns:a16="http://schemas.microsoft.com/office/drawing/2014/main" id="{33F7A5B6-FD48-49C4-9F46-C3F89A2FDB98}"/>
              </a:ext>
            </a:extLst>
          </p:cNvPr>
          <p:cNvSpPr/>
          <p:nvPr/>
        </p:nvSpPr>
        <p:spPr bwMode="auto">
          <a:xfrm>
            <a:off x="5772588" y="1796134"/>
            <a:ext cx="2424486" cy="180898"/>
          </a:xfrm>
          <a:prstGeom prst="round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Virtualization</a:t>
            </a:r>
          </a:p>
        </p:txBody>
      </p:sp>
      <p:sp>
        <p:nvSpPr>
          <p:cNvPr id="202" name="Rounded Rectangle 40">
            <a:extLst>
              <a:ext uri="{FF2B5EF4-FFF2-40B4-BE49-F238E27FC236}">
                <a16:creationId xmlns:a16="http://schemas.microsoft.com/office/drawing/2014/main" id="{298FFB12-5411-448B-AFE8-DF70F262452F}"/>
              </a:ext>
            </a:extLst>
          </p:cNvPr>
          <p:cNvSpPr/>
          <p:nvPr/>
        </p:nvSpPr>
        <p:spPr bwMode="auto">
          <a:xfrm>
            <a:off x="4564784" y="1777101"/>
            <a:ext cx="883578" cy="155543"/>
          </a:xfrm>
          <a:prstGeom prst="roundRect">
            <a:avLst/>
          </a:prstGeom>
          <a:solidFill>
            <a:srgbClr val="FFFFFF"/>
          </a:solidFill>
          <a:ln w="9525" cap="flat" cmpd="sng" algn="ctr">
            <a:no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algn="ctr" eaLnBrk="1" hangingPunct="1">
              <a:buClr>
                <a:srgbClr val="FEC60B"/>
              </a:buClr>
              <a:buFont typeface="Wingdings 2" pitchFamily="18" charset="2"/>
              <a:buNone/>
              <a:defRPr/>
            </a:pPr>
            <a:r>
              <a:rPr lang="en-US" sz="1100" dirty="0">
                <a:solidFill>
                  <a:prstClr val="black"/>
                </a:solidFill>
                <a:latin typeface="Arial" charset="0"/>
              </a:rPr>
              <a:t>Bare Metal</a:t>
            </a:r>
          </a:p>
        </p:txBody>
      </p:sp>
      <p:sp>
        <p:nvSpPr>
          <p:cNvPr id="203" name="Striped Right Arrow 8">
            <a:extLst>
              <a:ext uri="{FF2B5EF4-FFF2-40B4-BE49-F238E27FC236}">
                <a16:creationId xmlns:a16="http://schemas.microsoft.com/office/drawing/2014/main" id="{B5E646A8-D36D-493C-B096-560F12BCDF3E}"/>
              </a:ext>
            </a:extLst>
          </p:cNvPr>
          <p:cNvSpPr/>
          <p:nvPr/>
        </p:nvSpPr>
        <p:spPr bwMode="auto">
          <a:xfrm>
            <a:off x="8305862" y="3428526"/>
            <a:ext cx="762000" cy="714375"/>
          </a:xfrm>
          <a:prstGeom prst="stripedRightArrow">
            <a:avLst>
              <a:gd name="adj1" fmla="val 79630"/>
              <a:gd name="adj2" fmla="val 31199"/>
            </a:avLst>
          </a:prstGeom>
          <a:solidFill>
            <a:srgbClr val="84BD00"/>
          </a:solidFill>
          <a:ln w="28575" cap="flat" cmpd="sng" algn="ctr">
            <a:solidFill>
              <a:srgbClr val="85C128"/>
            </a:solidFill>
            <a:prstDash val="solid"/>
            <a:round/>
            <a:headEnd type="none" w="med" len="med"/>
            <a:tailEnd type="none" w="med" len="med"/>
          </a:ln>
          <a:effectLst/>
        </p:spPr>
        <p:txBody>
          <a:bodyPr vert="vert" wrap="square" lIns="68589" tIns="34295" rIns="68589" bIns="34295" numCol="1" rtlCol="0" anchor="ctr" anchorCtr="0" compatLnSpc="1">
            <a:prstTxWarp prst="textNoShape">
              <a:avLst/>
            </a:prstTxWarp>
          </a:bodyPr>
          <a:lstStyle/>
          <a:p>
            <a:pPr algn="ctr" eaLnBrk="1" hangingPunct="1">
              <a:defRPr/>
            </a:pPr>
            <a:r>
              <a:rPr lang="en-US" sz="900" b="1" dirty="0">
                <a:solidFill>
                  <a:prstClr val="white"/>
                </a:solidFill>
                <a:latin typeface="Arial" pitchFamily="-65" charset="0"/>
                <a:ea typeface="Arial" pitchFamily="-65" charset="0"/>
                <a:cs typeface="Arial" pitchFamily="-65" charset="0"/>
              </a:rPr>
              <a:t>100’s of  PB</a:t>
            </a:r>
          </a:p>
        </p:txBody>
      </p:sp>
      <p:sp>
        <p:nvSpPr>
          <p:cNvPr id="204" name="Rounded Rectangle 52">
            <a:extLst>
              <a:ext uri="{FF2B5EF4-FFF2-40B4-BE49-F238E27FC236}">
                <a16:creationId xmlns:a16="http://schemas.microsoft.com/office/drawing/2014/main" id="{8E81BBC1-8E09-417C-87D4-C884F06356BA}"/>
              </a:ext>
            </a:extLst>
          </p:cNvPr>
          <p:cNvSpPr/>
          <p:nvPr/>
        </p:nvSpPr>
        <p:spPr>
          <a:xfrm>
            <a:off x="4457762" y="3471260"/>
            <a:ext cx="3810000" cy="628650"/>
          </a:xfrm>
          <a:prstGeom prst="roundRect">
            <a:avLst/>
          </a:prstGeom>
          <a:solidFill>
            <a:srgbClr val="85C128"/>
          </a:solidFill>
          <a:ln w="28575" cap="flat" cmpd="sng" algn="ctr">
            <a:solidFill>
              <a:srgbClr val="85C128"/>
            </a:solidFill>
            <a:prstDash val="solid"/>
            <a:round/>
            <a:headEnd type="none" w="med" len="med"/>
            <a:tailEnd type="none" w="med" len="med"/>
          </a:ln>
          <a:effectLst/>
        </p:spPr>
        <p:txBody>
          <a:bodyPr vert="horz" wrap="square" lIns="68589" tIns="34295" rIns="68589" bIns="34295" numCol="1" rtlCol="0" anchor="ctr" anchorCtr="0" compatLnSpc="1">
            <a:prstTxWarp prst="textNoShape">
              <a:avLst/>
            </a:prstTxWarp>
          </a:bodyPr>
          <a:lstStyle/>
          <a:p>
            <a:pPr algn="ctr" eaLnBrk="1" hangingPunct="1">
              <a:defRPr/>
            </a:pPr>
            <a:endParaRPr lang="en-US" sz="2400" b="1" dirty="0">
              <a:solidFill>
                <a:prstClr val="white"/>
              </a:solidFill>
              <a:latin typeface="Arial" pitchFamily="-65" charset="0"/>
              <a:ea typeface="Arial" pitchFamily="-65" charset="0"/>
              <a:cs typeface="Arial" pitchFamily="-65" charset="0"/>
            </a:endParaRPr>
          </a:p>
          <a:p>
            <a:pPr algn="ctr" eaLnBrk="1" hangingPunct="1">
              <a:defRPr/>
            </a:pPr>
            <a:r>
              <a:rPr lang="en-US" sz="1400" b="1" dirty="0">
                <a:solidFill>
                  <a:prstClr val="white"/>
                </a:solidFill>
                <a:latin typeface="Arial" pitchFamily="-65" charset="0"/>
                <a:ea typeface="Arial" pitchFamily="-65" charset="0"/>
                <a:cs typeface="Arial" pitchFamily="-65" charset="0"/>
              </a:rPr>
              <a:t>Virtualized Storage Pool</a:t>
            </a:r>
          </a:p>
        </p:txBody>
      </p:sp>
      <p:sp>
        <p:nvSpPr>
          <p:cNvPr id="205" name="Can 9">
            <a:extLst>
              <a:ext uri="{FF2B5EF4-FFF2-40B4-BE49-F238E27FC236}">
                <a16:creationId xmlns:a16="http://schemas.microsoft.com/office/drawing/2014/main" id="{F35C8C0B-A24F-4782-B5CB-DBEB1F521818}"/>
              </a:ext>
            </a:extLst>
          </p:cNvPr>
          <p:cNvSpPr/>
          <p:nvPr/>
        </p:nvSpPr>
        <p:spPr bwMode="auto">
          <a:xfrm>
            <a:off x="4686362" y="3528410"/>
            <a:ext cx="762000" cy="285750"/>
          </a:xfrm>
          <a:prstGeom prst="can">
            <a:avLst/>
          </a:prstGeom>
          <a:solidFill>
            <a:srgbClr val="8DC8E8">
              <a:lumMod val="60000"/>
              <a:lumOff val="40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100" b="0" i="0" u="none" strike="noStrike" kern="0" cap="none" spc="0" normalizeH="0" baseline="0" noProof="0">
              <a:ln>
                <a:noFill/>
              </a:ln>
              <a:solidFill>
                <a:prstClr val="black"/>
              </a:solidFill>
              <a:effectLst/>
              <a:uLnTx/>
              <a:uFillTx/>
              <a:latin typeface="Arial" charset="0"/>
            </a:endParaRPr>
          </a:p>
        </p:txBody>
      </p:sp>
      <p:sp>
        <p:nvSpPr>
          <p:cNvPr id="206" name="Can 61">
            <a:extLst>
              <a:ext uri="{FF2B5EF4-FFF2-40B4-BE49-F238E27FC236}">
                <a16:creationId xmlns:a16="http://schemas.microsoft.com/office/drawing/2014/main" id="{F8C47AD2-9C50-4BF9-9038-98D52EE26D1C}"/>
              </a:ext>
            </a:extLst>
          </p:cNvPr>
          <p:cNvSpPr/>
          <p:nvPr/>
        </p:nvSpPr>
        <p:spPr bwMode="auto">
          <a:xfrm>
            <a:off x="5737922" y="3528410"/>
            <a:ext cx="533400" cy="285750"/>
          </a:xfrm>
          <a:prstGeom prst="can">
            <a:avLst/>
          </a:prstGeom>
          <a:solidFill>
            <a:srgbClr val="D45D00">
              <a:lumMod val="60000"/>
              <a:lumOff val="40000"/>
            </a:srgbClr>
          </a:solidFill>
          <a:ln w="9525" cap="flat" cmpd="sng" algn="ctr">
            <a:solidFill>
              <a:srgbClr val="D45D0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solidFill>
                  <a:srgbClr val="4EA5D1"/>
                </a:solidFill>
              </a:ln>
              <a:solidFill>
                <a:prstClr val="black"/>
              </a:solidFill>
              <a:effectLst/>
              <a:uLnTx/>
              <a:uFillTx/>
              <a:latin typeface="Arial" charset="0"/>
            </a:endParaRPr>
          </a:p>
        </p:txBody>
      </p:sp>
      <p:sp>
        <p:nvSpPr>
          <p:cNvPr id="207" name="Can 62">
            <a:extLst>
              <a:ext uri="{FF2B5EF4-FFF2-40B4-BE49-F238E27FC236}">
                <a16:creationId xmlns:a16="http://schemas.microsoft.com/office/drawing/2014/main" id="{77F5AC59-F1B8-43F5-B059-060F67A98C9B}"/>
              </a:ext>
            </a:extLst>
          </p:cNvPr>
          <p:cNvSpPr/>
          <p:nvPr/>
        </p:nvSpPr>
        <p:spPr bwMode="auto">
          <a:xfrm>
            <a:off x="6499921" y="3528410"/>
            <a:ext cx="381000" cy="285750"/>
          </a:xfrm>
          <a:prstGeom prst="can">
            <a:avLst/>
          </a:prstGeom>
          <a:solidFill>
            <a:srgbClr val="C8102E">
              <a:lumMod val="60000"/>
              <a:lumOff val="40000"/>
            </a:srgbClr>
          </a:solidFill>
          <a:ln w="9525" cap="flat" cmpd="sng" algn="ctr">
            <a:solidFill>
              <a:srgbClr val="C8102E"/>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sp>
        <p:nvSpPr>
          <p:cNvPr id="208" name="Can 63">
            <a:extLst>
              <a:ext uri="{FF2B5EF4-FFF2-40B4-BE49-F238E27FC236}">
                <a16:creationId xmlns:a16="http://schemas.microsoft.com/office/drawing/2014/main" id="{B16C70B5-AF55-46D8-8DB3-C918F3C2B842}"/>
              </a:ext>
            </a:extLst>
          </p:cNvPr>
          <p:cNvSpPr/>
          <p:nvPr/>
        </p:nvSpPr>
        <p:spPr bwMode="auto">
          <a:xfrm>
            <a:off x="7048562" y="3528410"/>
            <a:ext cx="1143000" cy="285750"/>
          </a:xfrm>
          <a:prstGeom prst="can">
            <a:avLst/>
          </a:prstGeom>
          <a:solidFill>
            <a:srgbClr val="8246AF">
              <a:lumMod val="60000"/>
              <a:lumOff val="40000"/>
            </a:srgbClr>
          </a:solidFill>
          <a:ln w="9525" cap="flat" cmpd="sng" algn="ctr">
            <a:solidFill>
              <a:srgbClr val="8246AF"/>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nvGrpSpPr>
          <p:cNvPr id="209" name="Group 208">
            <a:extLst>
              <a:ext uri="{FF2B5EF4-FFF2-40B4-BE49-F238E27FC236}">
                <a16:creationId xmlns:a16="http://schemas.microsoft.com/office/drawing/2014/main" id="{A96A524D-4251-40E0-A3C0-CA6B481B6825}"/>
              </a:ext>
            </a:extLst>
          </p:cNvPr>
          <p:cNvGrpSpPr/>
          <p:nvPr/>
        </p:nvGrpSpPr>
        <p:grpSpPr>
          <a:xfrm>
            <a:off x="4686384" y="2081880"/>
            <a:ext cx="380999" cy="285750"/>
            <a:chOff x="5334000" y="4648200"/>
            <a:chExt cx="1833563" cy="1399408"/>
          </a:xfrm>
        </p:grpSpPr>
        <p:pic>
          <p:nvPicPr>
            <p:cNvPr id="210" name="Picture 35" descr="Flash-Memory">
              <a:extLst>
                <a:ext uri="{FF2B5EF4-FFF2-40B4-BE49-F238E27FC236}">
                  <a16:creationId xmlns:a16="http://schemas.microsoft.com/office/drawing/2014/main" id="{07AA86FE-1CB9-438F-B35A-DE3F80F3D803}"/>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11" name="Rectangle 210">
              <a:extLst>
                <a:ext uri="{FF2B5EF4-FFF2-40B4-BE49-F238E27FC236}">
                  <a16:creationId xmlns:a16="http://schemas.microsoft.com/office/drawing/2014/main" id="{5F24F913-F481-468F-8A70-165D5BB5ECBF}"/>
                </a:ext>
              </a:extLst>
            </p:cNvPr>
            <p:cNvSpPr/>
            <p:nvPr/>
          </p:nvSpPr>
          <p:spPr bwMode="auto">
            <a:xfrm>
              <a:off x="5562600" y="4851400"/>
              <a:ext cx="1371600" cy="990600"/>
            </a:xfrm>
            <a:prstGeom prst="rect">
              <a:avLst/>
            </a:prstGeom>
            <a:solidFill>
              <a:srgbClr val="8DC8E8">
                <a:lumMod val="60000"/>
                <a:lumOff val="4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12" name="Group 211">
            <a:extLst>
              <a:ext uri="{FF2B5EF4-FFF2-40B4-BE49-F238E27FC236}">
                <a16:creationId xmlns:a16="http://schemas.microsoft.com/office/drawing/2014/main" id="{D1F8C155-C266-4484-B2E4-E2ACA69985DD}"/>
              </a:ext>
            </a:extLst>
          </p:cNvPr>
          <p:cNvGrpSpPr/>
          <p:nvPr/>
        </p:nvGrpSpPr>
        <p:grpSpPr>
          <a:xfrm>
            <a:off x="5086416" y="2081880"/>
            <a:ext cx="380999" cy="285750"/>
            <a:chOff x="5334000" y="4648200"/>
            <a:chExt cx="1833563" cy="1399408"/>
          </a:xfrm>
        </p:grpSpPr>
        <p:pic>
          <p:nvPicPr>
            <p:cNvPr id="213" name="Picture 35" descr="Flash-Memory">
              <a:extLst>
                <a:ext uri="{FF2B5EF4-FFF2-40B4-BE49-F238E27FC236}">
                  <a16:creationId xmlns:a16="http://schemas.microsoft.com/office/drawing/2014/main" id="{33DC8A7D-0689-4C4C-B517-6A86651A93F9}"/>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14" name="Rectangle 213">
              <a:extLst>
                <a:ext uri="{FF2B5EF4-FFF2-40B4-BE49-F238E27FC236}">
                  <a16:creationId xmlns:a16="http://schemas.microsoft.com/office/drawing/2014/main" id="{093F99F5-4DDF-4092-A78C-9277375D28E7}"/>
                </a:ext>
              </a:extLst>
            </p:cNvPr>
            <p:cNvSpPr/>
            <p:nvPr/>
          </p:nvSpPr>
          <p:spPr bwMode="auto">
            <a:xfrm>
              <a:off x="5562600" y="4851400"/>
              <a:ext cx="1371600" cy="990600"/>
            </a:xfrm>
            <a:prstGeom prst="rect">
              <a:avLst/>
            </a:prstGeom>
            <a:solidFill>
              <a:srgbClr val="FEDD6D"/>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15" name="Group 214">
            <a:extLst>
              <a:ext uri="{FF2B5EF4-FFF2-40B4-BE49-F238E27FC236}">
                <a16:creationId xmlns:a16="http://schemas.microsoft.com/office/drawing/2014/main" id="{B6F1C018-A8CC-4AA1-A40B-1B937A7AE677}"/>
              </a:ext>
            </a:extLst>
          </p:cNvPr>
          <p:cNvGrpSpPr/>
          <p:nvPr/>
        </p:nvGrpSpPr>
        <p:grpSpPr>
          <a:xfrm>
            <a:off x="5791286" y="2081880"/>
            <a:ext cx="380999" cy="285750"/>
            <a:chOff x="5334000" y="4648200"/>
            <a:chExt cx="1833563" cy="1399408"/>
          </a:xfrm>
        </p:grpSpPr>
        <p:pic>
          <p:nvPicPr>
            <p:cNvPr id="216" name="Picture 35" descr="Flash-Memory">
              <a:extLst>
                <a:ext uri="{FF2B5EF4-FFF2-40B4-BE49-F238E27FC236}">
                  <a16:creationId xmlns:a16="http://schemas.microsoft.com/office/drawing/2014/main" id="{27041C21-9F48-4B27-8802-01A971815767}"/>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17" name="Rectangle 216">
              <a:extLst>
                <a:ext uri="{FF2B5EF4-FFF2-40B4-BE49-F238E27FC236}">
                  <a16:creationId xmlns:a16="http://schemas.microsoft.com/office/drawing/2014/main" id="{2458920F-F23B-46AB-BD3F-3D265978620E}"/>
                </a:ext>
              </a:extLst>
            </p:cNvPr>
            <p:cNvSpPr/>
            <p:nvPr/>
          </p:nvSpPr>
          <p:spPr bwMode="auto">
            <a:xfrm>
              <a:off x="5562600" y="4851400"/>
              <a:ext cx="1371600" cy="990600"/>
            </a:xfrm>
            <a:prstGeom prst="rect">
              <a:avLst/>
            </a:prstGeom>
            <a:solidFill>
              <a:srgbClr val="D45D00">
                <a:lumMod val="60000"/>
                <a:lumOff val="4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18" name="Group 217">
            <a:extLst>
              <a:ext uri="{FF2B5EF4-FFF2-40B4-BE49-F238E27FC236}">
                <a16:creationId xmlns:a16="http://schemas.microsoft.com/office/drawing/2014/main" id="{C8863DE3-C437-43F6-A6FB-722D64A572AA}"/>
              </a:ext>
            </a:extLst>
          </p:cNvPr>
          <p:cNvGrpSpPr/>
          <p:nvPr/>
        </p:nvGrpSpPr>
        <p:grpSpPr>
          <a:xfrm>
            <a:off x="6520256" y="2081880"/>
            <a:ext cx="380999" cy="285750"/>
            <a:chOff x="5334000" y="4648200"/>
            <a:chExt cx="1833563" cy="1399408"/>
          </a:xfrm>
        </p:grpSpPr>
        <p:pic>
          <p:nvPicPr>
            <p:cNvPr id="219" name="Picture 35" descr="Flash-Memory">
              <a:extLst>
                <a:ext uri="{FF2B5EF4-FFF2-40B4-BE49-F238E27FC236}">
                  <a16:creationId xmlns:a16="http://schemas.microsoft.com/office/drawing/2014/main" id="{C31B557D-6D96-4A67-9A92-2319A3B3EEB5}"/>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20" name="Rectangle 219">
              <a:extLst>
                <a:ext uri="{FF2B5EF4-FFF2-40B4-BE49-F238E27FC236}">
                  <a16:creationId xmlns:a16="http://schemas.microsoft.com/office/drawing/2014/main" id="{C31E764D-4C3A-4A7E-87AD-2782ED1889D4}"/>
                </a:ext>
              </a:extLst>
            </p:cNvPr>
            <p:cNvSpPr/>
            <p:nvPr/>
          </p:nvSpPr>
          <p:spPr bwMode="auto">
            <a:xfrm>
              <a:off x="5562600" y="4851400"/>
              <a:ext cx="1371600" cy="990600"/>
            </a:xfrm>
            <a:prstGeom prst="rect">
              <a:avLst/>
            </a:prstGeom>
            <a:solidFill>
              <a:srgbClr val="5785E0"/>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21" name="Group 220">
            <a:extLst>
              <a:ext uri="{FF2B5EF4-FFF2-40B4-BE49-F238E27FC236}">
                <a16:creationId xmlns:a16="http://schemas.microsoft.com/office/drawing/2014/main" id="{57B623ED-1855-48DC-B9B5-1E8A1D10171C}"/>
              </a:ext>
            </a:extLst>
          </p:cNvPr>
          <p:cNvGrpSpPr/>
          <p:nvPr/>
        </p:nvGrpSpPr>
        <p:grpSpPr>
          <a:xfrm>
            <a:off x="7086666" y="2081880"/>
            <a:ext cx="380999" cy="285750"/>
            <a:chOff x="5334000" y="4648200"/>
            <a:chExt cx="1833563" cy="1399408"/>
          </a:xfrm>
        </p:grpSpPr>
        <p:pic>
          <p:nvPicPr>
            <p:cNvPr id="222" name="Picture 35" descr="Flash-Memory">
              <a:extLst>
                <a:ext uri="{FF2B5EF4-FFF2-40B4-BE49-F238E27FC236}">
                  <a16:creationId xmlns:a16="http://schemas.microsoft.com/office/drawing/2014/main" id="{3A99615C-EBD2-4987-9D51-FAB4243EB1E4}"/>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23" name="Rectangle 222">
              <a:extLst>
                <a:ext uri="{FF2B5EF4-FFF2-40B4-BE49-F238E27FC236}">
                  <a16:creationId xmlns:a16="http://schemas.microsoft.com/office/drawing/2014/main" id="{C3EE6582-B078-4E5A-BAD2-EF3146D92DDD}"/>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24" name="Group 223">
            <a:extLst>
              <a:ext uri="{FF2B5EF4-FFF2-40B4-BE49-F238E27FC236}">
                <a16:creationId xmlns:a16="http://schemas.microsoft.com/office/drawing/2014/main" id="{D553B549-6A4D-47F0-8FD7-0AFE75633A2E}"/>
              </a:ext>
            </a:extLst>
          </p:cNvPr>
          <p:cNvGrpSpPr/>
          <p:nvPr/>
        </p:nvGrpSpPr>
        <p:grpSpPr>
          <a:xfrm>
            <a:off x="7486717" y="2081880"/>
            <a:ext cx="380999" cy="285750"/>
            <a:chOff x="5334000" y="4648200"/>
            <a:chExt cx="1833563" cy="1399408"/>
          </a:xfrm>
        </p:grpSpPr>
        <p:pic>
          <p:nvPicPr>
            <p:cNvPr id="225" name="Picture 35" descr="Flash-Memory">
              <a:extLst>
                <a:ext uri="{FF2B5EF4-FFF2-40B4-BE49-F238E27FC236}">
                  <a16:creationId xmlns:a16="http://schemas.microsoft.com/office/drawing/2014/main" id="{64B03FE4-2158-492B-8BF3-5A5C83B1A00A}"/>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26" name="Rectangle 225">
              <a:extLst>
                <a:ext uri="{FF2B5EF4-FFF2-40B4-BE49-F238E27FC236}">
                  <a16:creationId xmlns:a16="http://schemas.microsoft.com/office/drawing/2014/main" id="{39D623A1-3BA9-4AFD-BAC8-F8DBFF6D39C2}"/>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grpSp>
        <p:nvGrpSpPr>
          <p:cNvPr id="227" name="Group 226">
            <a:extLst>
              <a:ext uri="{FF2B5EF4-FFF2-40B4-BE49-F238E27FC236}">
                <a16:creationId xmlns:a16="http://schemas.microsoft.com/office/drawing/2014/main" id="{DCD57517-66D0-4B82-B122-5F0BF3C705B5}"/>
              </a:ext>
            </a:extLst>
          </p:cNvPr>
          <p:cNvGrpSpPr/>
          <p:nvPr/>
        </p:nvGrpSpPr>
        <p:grpSpPr>
          <a:xfrm>
            <a:off x="7886775" y="2081880"/>
            <a:ext cx="380999" cy="285750"/>
            <a:chOff x="5334000" y="4648200"/>
            <a:chExt cx="1833563" cy="1399408"/>
          </a:xfrm>
        </p:grpSpPr>
        <p:pic>
          <p:nvPicPr>
            <p:cNvPr id="228" name="Picture 35" descr="Flash-Memory">
              <a:extLst>
                <a:ext uri="{FF2B5EF4-FFF2-40B4-BE49-F238E27FC236}">
                  <a16:creationId xmlns:a16="http://schemas.microsoft.com/office/drawing/2014/main" id="{50469A96-830B-4844-B19C-894882E04740}"/>
                </a:ext>
              </a:extLst>
            </p:cNvPr>
            <p:cNvPicPr>
              <a:picLocks noChangeAspect="1" noChangeArrowheads="1"/>
            </p:cNvPicPr>
            <p:nvPr/>
          </p:nvPicPr>
          <p:blipFill>
            <a:blip r:embed="rId7" cstate="print"/>
            <a:srcRect/>
            <a:stretch>
              <a:fillRect/>
            </a:stretch>
          </p:blipFill>
          <p:spPr bwMode="auto">
            <a:xfrm>
              <a:off x="5334000" y="4648200"/>
              <a:ext cx="1833563" cy="1399408"/>
            </a:xfrm>
            <a:prstGeom prst="rect">
              <a:avLst/>
            </a:prstGeom>
            <a:noFill/>
            <a:ln w="9525">
              <a:noFill/>
              <a:miter lim="800000"/>
              <a:headEnd/>
              <a:tailEnd/>
            </a:ln>
          </p:spPr>
        </p:pic>
        <p:sp>
          <p:nvSpPr>
            <p:cNvPr id="229" name="Rectangle 228">
              <a:extLst>
                <a:ext uri="{FF2B5EF4-FFF2-40B4-BE49-F238E27FC236}">
                  <a16:creationId xmlns:a16="http://schemas.microsoft.com/office/drawing/2014/main" id="{6824944A-62D7-4863-8623-CE2D3CFF0507}"/>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latin typeface="Arial" charset="0"/>
              </a:endParaRPr>
            </a:p>
          </p:txBody>
        </p:sp>
      </p:grpSp>
      <p:sp>
        <p:nvSpPr>
          <p:cNvPr id="230" name="Striped Right Arrow 108">
            <a:extLst>
              <a:ext uri="{FF2B5EF4-FFF2-40B4-BE49-F238E27FC236}">
                <a16:creationId xmlns:a16="http://schemas.microsoft.com/office/drawing/2014/main" id="{58498F43-76F0-484C-BAE7-DED9078B15F3}"/>
              </a:ext>
            </a:extLst>
          </p:cNvPr>
          <p:cNvSpPr/>
          <p:nvPr/>
        </p:nvSpPr>
        <p:spPr bwMode="auto">
          <a:xfrm>
            <a:off x="8293162" y="2749719"/>
            <a:ext cx="762000" cy="571500"/>
          </a:xfrm>
          <a:prstGeom prst="stripedRightArrow">
            <a:avLst>
              <a:gd name="adj1" fmla="val 79630"/>
              <a:gd name="adj2" fmla="val 38310"/>
            </a:avLst>
          </a:prstGeom>
          <a:solidFill>
            <a:srgbClr val="84BD00"/>
          </a:solidFill>
          <a:ln w="28575" cap="flat" cmpd="sng" algn="ctr">
            <a:solidFill>
              <a:srgbClr val="85C128"/>
            </a:solidFill>
            <a:prstDash val="solid"/>
            <a:round/>
            <a:headEnd type="none" w="med" len="med"/>
            <a:tailEnd type="none" w="med" len="med"/>
          </a:ln>
          <a:effectLst/>
        </p:spPr>
        <p:txBody>
          <a:bodyPr vert="vert" wrap="square" lIns="68589" tIns="34295" rIns="68589" bIns="34295" numCol="1" rtlCol="0" anchor="ctr" anchorCtr="0" compatLnSpc="1">
            <a:prstTxWarp prst="textNoShape">
              <a:avLst/>
            </a:prstTxWarp>
          </a:bodyPr>
          <a:lstStyle/>
          <a:p>
            <a:pPr algn="ctr" eaLnBrk="1" hangingPunct="1">
              <a:defRPr/>
            </a:pPr>
            <a:r>
              <a:rPr lang="en-US" sz="900" b="1" dirty="0">
                <a:solidFill>
                  <a:prstClr val="white"/>
                </a:solidFill>
                <a:latin typeface="Arial" pitchFamily="-65" charset="0"/>
                <a:ea typeface="Arial" pitchFamily="-65" charset="0"/>
                <a:cs typeface="Arial" pitchFamily="-65" charset="0"/>
              </a:rPr>
              <a:t>1000s of VLANS</a:t>
            </a:r>
          </a:p>
        </p:txBody>
      </p:sp>
      <p:sp>
        <p:nvSpPr>
          <p:cNvPr id="231" name="Rounded Rectangle 109">
            <a:extLst>
              <a:ext uri="{FF2B5EF4-FFF2-40B4-BE49-F238E27FC236}">
                <a16:creationId xmlns:a16="http://schemas.microsoft.com/office/drawing/2014/main" id="{07375204-575D-4C93-8D09-0884231C754E}"/>
              </a:ext>
            </a:extLst>
          </p:cNvPr>
          <p:cNvSpPr/>
          <p:nvPr/>
        </p:nvSpPr>
        <p:spPr bwMode="auto">
          <a:xfrm>
            <a:off x="7079042" y="1396080"/>
            <a:ext cx="533400" cy="342900"/>
          </a:xfrm>
          <a:prstGeom prst="roundRect">
            <a:avLst/>
          </a:prstGeom>
          <a:solidFill>
            <a:srgbClr val="8246AF">
              <a:lumMod val="60000"/>
              <a:lumOff val="40000"/>
            </a:srgbClr>
          </a:solidFill>
          <a:ln w="9525" cap="flat" cmpd="sng" algn="ctr">
            <a:solidFill>
              <a:srgbClr val="542D9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2" name="Rounded Rectangle 110">
            <a:extLst>
              <a:ext uri="{FF2B5EF4-FFF2-40B4-BE49-F238E27FC236}">
                <a16:creationId xmlns:a16="http://schemas.microsoft.com/office/drawing/2014/main" id="{360D949E-C0EA-46E3-8F05-876712511326}"/>
              </a:ext>
            </a:extLst>
          </p:cNvPr>
          <p:cNvSpPr/>
          <p:nvPr/>
        </p:nvSpPr>
        <p:spPr bwMode="auto">
          <a:xfrm>
            <a:off x="7672195" y="1396080"/>
            <a:ext cx="533400" cy="342900"/>
          </a:xfrm>
          <a:prstGeom prst="roundRect">
            <a:avLst/>
          </a:prstGeom>
          <a:solidFill>
            <a:srgbClr val="8246AF">
              <a:lumMod val="60000"/>
              <a:lumOff val="40000"/>
            </a:srgbClr>
          </a:solidFill>
          <a:ln w="9525" cap="flat" cmpd="sng" algn="ctr">
            <a:solidFill>
              <a:srgbClr val="8246AF"/>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3" name="Rounded Rectangle 111">
            <a:extLst>
              <a:ext uri="{FF2B5EF4-FFF2-40B4-BE49-F238E27FC236}">
                <a16:creationId xmlns:a16="http://schemas.microsoft.com/office/drawing/2014/main" id="{B83C5322-87B8-499A-A786-9D4749AB85C7}"/>
              </a:ext>
            </a:extLst>
          </p:cNvPr>
          <p:cNvSpPr/>
          <p:nvPr/>
        </p:nvSpPr>
        <p:spPr bwMode="auto">
          <a:xfrm>
            <a:off x="6441484" y="1396080"/>
            <a:ext cx="533400" cy="342900"/>
          </a:xfrm>
          <a:prstGeom prst="roundRect">
            <a:avLst/>
          </a:prstGeom>
          <a:solidFill>
            <a:srgbClr val="C8102E">
              <a:lumMod val="60000"/>
              <a:lumOff val="40000"/>
            </a:srgbClr>
          </a:solidFill>
          <a:ln w="9525" cap="flat" cmpd="sng" algn="ctr">
            <a:solidFill>
              <a:srgbClr val="C8102E"/>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4" name="Rounded Rectangle 112">
            <a:extLst>
              <a:ext uri="{FF2B5EF4-FFF2-40B4-BE49-F238E27FC236}">
                <a16:creationId xmlns:a16="http://schemas.microsoft.com/office/drawing/2014/main" id="{FF5124C7-D596-47B1-9B33-6AF6FCD8A56B}"/>
              </a:ext>
            </a:extLst>
          </p:cNvPr>
          <p:cNvSpPr/>
          <p:nvPr/>
        </p:nvSpPr>
        <p:spPr bwMode="auto">
          <a:xfrm>
            <a:off x="5768402" y="1396080"/>
            <a:ext cx="533400" cy="342900"/>
          </a:xfrm>
          <a:prstGeom prst="roundRect">
            <a:avLst/>
          </a:prstGeom>
          <a:solidFill>
            <a:srgbClr val="D45D00">
              <a:lumMod val="60000"/>
              <a:lumOff val="40000"/>
            </a:srgbClr>
          </a:solidFill>
          <a:ln w="9525" cap="flat" cmpd="sng" algn="ctr">
            <a:solidFill>
              <a:srgbClr val="D45D0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5" name="Rounded Rectangle 113">
            <a:extLst>
              <a:ext uri="{FF2B5EF4-FFF2-40B4-BE49-F238E27FC236}">
                <a16:creationId xmlns:a16="http://schemas.microsoft.com/office/drawing/2014/main" id="{7D5D7076-8CE3-4129-BA50-0742D8630BE7}"/>
              </a:ext>
            </a:extLst>
          </p:cNvPr>
          <p:cNvSpPr/>
          <p:nvPr/>
        </p:nvSpPr>
        <p:spPr bwMode="auto">
          <a:xfrm>
            <a:off x="5059796" y="1396080"/>
            <a:ext cx="533400" cy="342900"/>
          </a:xfrm>
          <a:prstGeom prst="roundRect">
            <a:avLst/>
          </a:prstGeom>
          <a:solidFill>
            <a:srgbClr val="8DC8E8">
              <a:alpha val="51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6" name="Rounded Rectangle 114">
            <a:extLst>
              <a:ext uri="{FF2B5EF4-FFF2-40B4-BE49-F238E27FC236}">
                <a16:creationId xmlns:a16="http://schemas.microsoft.com/office/drawing/2014/main" id="{DDFDAF4E-6CE3-408C-A436-3E0FE06C47D2}"/>
              </a:ext>
            </a:extLst>
          </p:cNvPr>
          <p:cNvSpPr/>
          <p:nvPr/>
        </p:nvSpPr>
        <p:spPr bwMode="auto">
          <a:xfrm>
            <a:off x="4457762" y="1396080"/>
            <a:ext cx="533400" cy="342900"/>
          </a:xfrm>
          <a:prstGeom prst="roundRect">
            <a:avLst/>
          </a:prstGeom>
          <a:solidFill>
            <a:srgbClr val="8DC8E8">
              <a:alpha val="51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latin typeface="Arial" charset="0"/>
              </a:rPr>
              <a:t>App</a:t>
            </a:r>
          </a:p>
        </p:txBody>
      </p:sp>
      <p:sp>
        <p:nvSpPr>
          <p:cNvPr id="237" name="Rounded Rectangle 115">
            <a:extLst>
              <a:ext uri="{FF2B5EF4-FFF2-40B4-BE49-F238E27FC236}">
                <a16:creationId xmlns:a16="http://schemas.microsoft.com/office/drawing/2014/main" id="{58C06AFF-4CE9-4BE0-85DD-FFBA36244392}"/>
              </a:ext>
            </a:extLst>
          </p:cNvPr>
          <p:cNvSpPr/>
          <p:nvPr/>
        </p:nvSpPr>
        <p:spPr bwMode="auto">
          <a:xfrm rot="5400000">
            <a:off x="8258237" y="2043781"/>
            <a:ext cx="857250" cy="533400"/>
          </a:xfrm>
          <a:prstGeom prst="roundRect">
            <a:avLst/>
          </a:prstGeom>
          <a:noFill/>
          <a:ln w="9525" cap="flat" cmpd="sng" algn="ctr">
            <a:no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algn="ctr" eaLnBrk="1" hangingPunct="1">
              <a:buClr>
                <a:srgbClr val="FEC60B"/>
              </a:buClr>
              <a:buFont typeface="Wingdings 2" pitchFamily="18" charset="2"/>
              <a:buNone/>
              <a:defRPr/>
            </a:pPr>
            <a:r>
              <a:rPr lang="en-US" sz="900" b="1" dirty="0">
                <a:solidFill>
                  <a:prstClr val="white"/>
                </a:solidFill>
                <a:latin typeface="Arial" charset="0"/>
              </a:rPr>
              <a:t>10,000s</a:t>
            </a:r>
          </a:p>
          <a:p>
            <a:pPr algn="ctr" eaLnBrk="1" hangingPunct="1">
              <a:buClr>
                <a:srgbClr val="FEC60B"/>
              </a:buClr>
              <a:buFont typeface="Wingdings 2" pitchFamily="18" charset="2"/>
              <a:buNone/>
              <a:defRPr/>
            </a:pPr>
            <a:r>
              <a:rPr lang="en-US" sz="900" b="1" dirty="0">
                <a:solidFill>
                  <a:prstClr val="white"/>
                </a:solidFill>
                <a:latin typeface="Arial" charset="0"/>
              </a:rPr>
              <a:t>Cores</a:t>
            </a:r>
          </a:p>
          <a:p>
            <a:pPr algn="ctr" eaLnBrk="1" hangingPunct="1">
              <a:buClr>
                <a:srgbClr val="FEC60B"/>
              </a:buClr>
              <a:buFont typeface="Wingdings 2" pitchFamily="18" charset="2"/>
              <a:buNone/>
              <a:defRPr/>
            </a:pPr>
            <a:endParaRPr lang="en-US" sz="900" b="1" dirty="0">
              <a:solidFill>
                <a:prstClr val="white"/>
              </a:solidFill>
              <a:latin typeface="Arial" charset="0"/>
            </a:endParaRPr>
          </a:p>
        </p:txBody>
      </p:sp>
      <p:sp>
        <p:nvSpPr>
          <p:cNvPr id="238" name="Title 7">
            <a:extLst>
              <a:ext uri="{FF2B5EF4-FFF2-40B4-BE49-F238E27FC236}">
                <a16:creationId xmlns:a16="http://schemas.microsoft.com/office/drawing/2014/main" id="{AB88A3ED-1012-4222-A1A8-AC17A0FBFA7F}"/>
              </a:ext>
            </a:extLst>
          </p:cNvPr>
          <p:cNvSpPr txBox="1">
            <a:spLocks/>
          </p:cNvSpPr>
          <p:nvPr/>
        </p:nvSpPr>
        <p:spPr bwMode="auto">
          <a:xfrm>
            <a:off x="278058" y="259487"/>
            <a:ext cx="7521556" cy="437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lvl1pPr algn="l" defTabSz="685800" rtl="0" eaLnBrk="0" fontAlgn="base" hangingPunct="0">
              <a:lnSpc>
                <a:spcPct val="80000"/>
              </a:lnSpc>
              <a:spcBef>
                <a:spcPct val="0"/>
              </a:spcBef>
              <a:spcAft>
                <a:spcPct val="0"/>
              </a:spcAft>
              <a:defRPr sz="2800" b="1"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a:lstStyle>
          <a:p>
            <a:pPr marL="0" marR="0" lvl="0" indent="0" algn="l" defTabSz="685800" rtl="0" eaLnBrk="0" fontAlgn="base" latinLnBrk="0" hangingPunct="0">
              <a:lnSpc>
                <a:spcPct val="8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j-ea"/>
                <a:cs typeface="+mj-cs"/>
              </a:rPr>
              <a:t>Software Defined Architecture</a:t>
            </a:r>
            <a:endParaRPr kumimoji="0" lang="en-US" sz="2800" b="1" i="0" u="none" strike="noStrike" kern="1200" cap="none" spc="0" normalizeH="0" baseline="0" noProof="0" dirty="0">
              <a:ln>
                <a:noFill/>
              </a:ln>
              <a:solidFill>
                <a:srgbClr val="000000"/>
              </a:solidFill>
              <a:effectLst/>
              <a:uLnTx/>
              <a:uFillTx/>
              <a:latin typeface="Arial"/>
              <a:ea typeface="+mj-ea"/>
              <a:cs typeface="+mj-cs"/>
            </a:endParaRPr>
          </a:p>
        </p:txBody>
      </p:sp>
      <p:sp>
        <p:nvSpPr>
          <p:cNvPr id="239" name="TextBox 238">
            <a:extLst>
              <a:ext uri="{FF2B5EF4-FFF2-40B4-BE49-F238E27FC236}">
                <a16:creationId xmlns:a16="http://schemas.microsoft.com/office/drawing/2014/main" id="{7BEC2BBE-B2CD-4AB4-A703-BF8E0464D2DA}"/>
              </a:ext>
            </a:extLst>
          </p:cNvPr>
          <p:cNvSpPr txBox="1"/>
          <p:nvPr/>
        </p:nvSpPr>
        <p:spPr>
          <a:xfrm>
            <a:off x="5115695" y="826176"/>
            <a:ext cx="2440003" cy="307777"/>
          </a:xfrm>
          <a:prstGeom prst="rect">
            <a:avLst/>
          </a:prstGeom>
          <a:solidFill>
            <a:srgbClr val="FFFFFF"/>
          </a:solidFill>
        </p:spPr>
        <p:txBody>
          <a:bodyPr wrap="none" rtlCol="0">
            <a:spAutoFit/>
          </a:bodyPr>
          <a:lstStyle/>
          <a:p>
            <a:pPr eaLnBrk="1" hangingPunct="1">
              <a:buClr>
                <a:srgbClr val="83AC3E"/>
              </a:buClr>
              <a:defRPr/>
            </a:pPr>
            <a:r>
              <a:rPr lang="en-US" sz="1400" dirty="0">
                <a:solidFill>
                  <a:srgbClr val="4C4948"/>
                </a:solidFill>
                <a:latin typeface="Arial" charset="0"/>
              </a:rPr>
              <a:t>Secure Enclave Architecture</a:t>
            </a:r>
          </a:p>
        </p:txBody>
      </p:sp>
      <p:sp>
        <p:nvSpPr>
          <p:cNvPr id="240" name="Rounded Rectangle 99">
            <a:extLst>
              <a:ext uri="{FF2B5EF4-FFF2-40B4-BE49-F238E27FC236}">
                <a16:creationId xmlns:a16="http://schemas.microsoft.com/office/drawing/2014/main" id="{386B6A73-899A-4E66-8557-B64DE279D72B}"/>
              </a:ext>
            </a:extLst>
          </p:cNvPr>
          <p:cNvSpPr/>
          <p:nvPr/>
        </p:nvSpPr>
        <p:spPr>
          <a:xfrm>
            <a:off x="4456058" y="2804957"/>
            <a:ext cx="3799288" cy="457200"/>
          </a:xfrm>
          <a:prstGeom prst="roundRect">
            <a:avLst/>
          </a:prstGeom>
          <a:solidFill>
            <a:srgbClr val="84BD0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defRPr/>
            </a:pPr>
            <a:r>
              <a:rPr lang="en-US" sz="1400" b="1" dirty="0">
                <a:solidFill>
                  <a:prstClr val="white"/>
                </a:solidFill>
                <a:latin typeface="Arial" pitchFamily="-65" charset="0"/>
                <a:ea typeface="Arial" pitchFamily="-65" charset="0"/>
                <a:cs typeface="Arial" pitchFamily="-65" charset="0"/>
              </a:rPr>
              <a:t>Virtualized Network Pool</a:t>
            </a:r>
          </a:p>
        </p:txBody>
      </p:sp>
      <p:sp>
        <p:nvSpPr>
          <p:cNvPr id="241" name="Content Placeholder 14">
            <a:extLst>
              <a:ext uri="{FF2B5EF4-FFF2-40B4-BE49-F238E27FC236}">
                <a16:creationId xmlns:a16="http://schemas.microsoft.com/office/drawing/2014/main" id="{F4DC0357-ED85-49BD-9AE7-E8C20F911487}"/>
              </a:ext>
            </a:extLst>
          </p:cNvPr>
          <p:cNvSpPr txBox="1">
            <a:spLocks/>
          </p:cNvSpPr>
          <p:nvPr/>
        </p:nvSpPr>
        <p:spPr bwMode="auto">
          <a:xfrm>
            <a:off x="332192" y="938879"/>
            <a:ext cx="3886200" cy="3655037"/>
          </a:xfrm>
          <a:prstGeom prst="rect">
            <a:avLst/>
          </a:prstGeom>
          <a:solidFill>
            <a:srgbClr val="FFFFFF"/>
          </a:solidFill>
          <a:ln>
            <a:noFill/>
          </a:ln>
        </p:spPr>
        <p:txBody>
          <a:bodyPr/>
          <a:lstStyle>
            <a:lvl1pPr marL="298450" indent="-298450" eaLnBrk="0" hangingPunct="0">
              <a:defRPr sz="2000">
                <a:solidFill>
                  <a:schemeClr val="tx1"/>
                </a:solidFill>
                <a:latin typeface="Arial" pitchFamily="34" charset="0"/>
                <a:cs typeface="Arial" pitchFamily="34" charset="0"/>
              </a:defRPr>
            </a:lvl1pPr>
            <a:lvl2pPr marL="636588" indent="-3365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defTabSz="914400" eaLnBrk="0" fontAlgn="auto" latinLnBrk="0" hangingPunct="0">
              <a:lnSpc>
                <a:spcPct val="100000"/>
              </a:lnSpc>
              <a:spcBef>
                <a:spcPts val="300"/>
              </a:spcBef>
              <a:spcAft>
                <a:spcPts val="0"/>
              </a:spcAft>
              <a:buClr>
                <a:srgbClr val="84BD00"/>
              </a:buClr>
              <a:buSzTx/>
              <a:buFontTx/>
              <a:buNone/>
              <a:tabLst/>
              <a:defRPr/>
            </a:pPr>
            <a:r>
              <a:rPr kumimoji="0" lang="en-US" sz="1600" b="0" i="0" u="none" strike="noStrike" kern="0" cap="none" spc="0" normalizeH="0" baseline="0" noProof="0" dirty="0">
                <a:ln>
                  <a:noFill/>
                </a:ln>
                <a:solidFill>
                  <a:srgbClr val="1C4596"/>
                </a:solidFill>
                <a:effectLst/>
                <a:uLnTx/>
                <a:uFillTx/>
                <a:latin typeface="Arial" pitchFamily="34" charset="0"/>
                <a:cs typeface="Arial" pitchFamily="34" charset="0"/>
              </a:rPr>
              <a:t>Pool resources</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ingle server pool/storage pool</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ervice profiles for consistent policy-based Server deployments</a:t>
            </a:r>
          </a:p>
          <a:p>
            <a:pPr marL="0" marR="0" lvl="0" indent="-38100" defTabSz="914400" eaLnBrk="0" fontAlgn="auto" latinLnBrk="0" hangingPunct="0">
              <a:lnSpc>
                <a:spcPct val="100000"/>
              </a:lnSpc>
              <a:spcBef>
                <a:spcPts val="1800"/>
              </a:spcBef>
              <a:spcAft>
                <a:spcPts val="0"/>
              </a:spcAft>
              <a:buClrTx/>
              <a:buSzTx/>
              <a:buFontTx/>
              <a:buNone/>
              <a:tabLst/>
              <a:defRPr/>
            </a:pPr>
            <a:r>
              <a:rPr kumimoji="0" lang="en-US" sz="1600" b="0" i="0" u="none" strike="noStrike" kern="0" cap="none" spc="0" normalizeH="0" baseline="0" noProof="0" dirty="0">
                <a:ln>
                  <a:noFill/>
                </a:ln>
                <a:solidFill>
                  <a:srgbClr val="1C4596"/>
                </a:solidFill>
                <a:effectLst/>
                <a:uLnTx/>
                <a:uFillTx/>
                <a:latin typeface="Arial" pitchFamily="34" charset="0"/>
                <a:cs typeface="Arial" pitchFamily="34" charset="0"/>
              </a:rPr>
              <a:t>Abstract resources</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Virtualized servers and storage</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tateless computing</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Dynamic scalability; app, data mobility</a:t>
            </a:r>
          </a:p>
          <a:p>
            <a:pPr marL="0" marR="0" lvl="0" indent="-38100" defTabSz="914400" eaLnBrk="0" fontAlgn="auto" latinLnBrk="0" hangingPunct="0">
              <a:lnSpc>
                <a:spcPct val="100000"/>
              </a:lnSpc>
              <a:spcBef>
                <a:spcPts val="1800"/>
              </a:spcBef>
              <a:spcAft>
                <a:spcPts val="0"/>
              </a:spcAft>
              <a:buClrTx/>
              <a:buSzTx/>
              <a:buFontTx/>
              <a:buNone/>
              <a:tabLst/>
              <a:defRPr/>
            </a:pPr>
            <a:r>
              <a:rPr kumimoji="0" lang="en-US" sz="1600" b="0" i="0" u="none" strike="noStrike" kern="0" cap="none" spc="0" normalizeH="0" baseline="0" noProof="0" dirty="0">
                <a:ln>
                  <a:noFill/>
                </a:ln>
                <a:solidFill>
                  <a:srgbClr val="1C4596"/>
                </a:solidFill>
                <a:effectLst/>
                <a:uLnTx/>
                <a:uFillTx/>
                <a:latin typeface="Arial" pitchFamily="34" charset="0"/>
                <a:cs typeface="Arial" pitchFamily="34" charset="0"/>
              </a:rPr>
              <a:t>Consume resources</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ervice catalogs</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Rapid resource provisioning in </a:t>
            </a:r>
            <a:b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b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accordance with SLAs </a:t>
            </a:r>
          </a:p>
          <a:p>
            <a:pPr marL="298450" marR="0" lvl="0" indent="-298450" defTabSz="914400" eaLnBrk="0" fontAlgn="auto" latinLnBrk="0" hangingPunct="0">
              <a:lnSpc>
                <a:spcPct val="100000"/>
              </a:lnSpc>
              <a:spcBef>
                <a:spcPts val="300"/>
              </a:spcBef>
              <a:spcAft>
                <a:spcPts val="0"/>
              </a:spcAft>
              <a:buClr>
                <a:srgbClr val="84BD00"/>
              </a:buClr>
              <a:buSzTx/>
              <a:buFont typeface="Wingdings 2" pitchFamily="18" charset="2"/>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Open APIs for self-service/user-driven resource consumption </a:t>
            </a:r>
          </a:p>
        </p:txBody>
      </p:sp>
    </p:spTree>
    <p:extLst>
      <p:ext uri="{BB962C8B-B14F-4D97-AF65-F5344CB8AC3E}">
        <p14:creationId xmlns:p14="http://schemas.microsoft.com/office/powerpoint/2010/main" val="4271685506"/>
      </p:ext>
    </p:extLst>
  </p:cSld>
  <p:clrMapOvr>
    <a:masterClrMapping/>
  </p:clrMapOvr>
  <p:transition spd="slow">
    <p:circl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211">
            <a:extLst>
              <a:ext uri="{FF2B5EF4-FFF2-40B4-BE49-F238E27FC236}">
                <a16:creationId xmlns:a16="http://schemas.microsoft.com/office/drawing/2014/main" id="{7CE6DCB9-66FC-4B08-86C6-6759EC59E2BB}"/>
              </a:ext>
            </a:extLst>
          </p:cNvPr>
          <p:cNvSpPr/>
          <p:nvPr/>
        </p:nvSpPr>
        <p:spPr bwMode="auto">
          <a:xfrm>
            <a:off x="7666180" y="1497163"/>
            <a:ext cx="1232755" cy="3048000"/>
          </a:xfrm>
          <a:prstGeom prst="roundRect">
            <a:avLst>
              <a:gd name="adj" fmla="val 7497"/>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
        <p:nvSpPr>
          <p:cNvPr id="70" name="Title 3">
            <a:extLst>
              <a:ext uri="{FF2B5EF4-FFF2-40B4-BE49-F238E27FC236}">
                <a16:creationId xmlns:a16="http://schemas.microsoft.com/office/drawing/2014/main" id="{5A572A07-04F3-41D5-A1A0-058284895D30}"/>
              </a:ext>
            </a:extLst>
          </p:cNvPr>
          <p:cNvSpPr txBox="1">
            <a:spLocks/>
          </p:cNvSpPr>
          <p:nvPr/>
        </p:nvSpPr>
        <p:spPr bwMode="auto">
          <a:xfrm>
            <a:off x="278058" y="259487"/>
            <a:ext cx="7521556" cy="437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lvl1pPr algn="l" defTabSz="685800" rtl="0" eaLnBrk="0" fontAlgn="base" hangingPunct="0">
              <a:lnSpc>
                <a:spcPct val="80000"/>
              </a:lnSpc>
              <a:spcBef>
                <a:spcPct val="0"/>
              </a:spcBef>
              <a:spcAft>
                <a:spcPct val="0"/>
              </a:spcAft>
              <a:defRPr sz="2800" b="1"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a:lstStyle>
          <a:p>
            <a:pPr marL="0" marR="0" lvl="0" indent="0" algn="l" defTabSz="685800" rtl="0" eaLnBrk="0" fontAlgn="base" latinLnBrk="0" hangingPunct="0">
              <a:lnSpc>
                <a:spcPct val="8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j-ea"/>
                <a:cs typeface="+mj-cs"/>
              </a:rPr>
              <a:t>Easier to Operate</a:t>
            </a:r>
            <a:endParaRPr kumimoji="0" lang="en-US" sz="2800" b="1" i="0" u="none" strike="noStrike" kern="1200" cap="none" spc="0" normalizeH="0" baseline="0" noProof="0" dirty="0">
              <a:ln>
                <a:noFill/>
              </a:ln>
              <a:solidFill>
                <a:srgbClr val="000000"/>
              </a:solidFill>
              <a:effectLst/>
              <a:uLnTx/>
              <a:uFillTx/>
              <a:latin typeface="Arial"/>
              <a:ea typeface="+mj-ea"/>
              <a:cs typeface="+mj-cs"/>
            </a:endParaRPr>
          </a:p>
        </p:txBody>
      </p:sp>
      <p:sp>
        <p:nvSpPr>
          <p:cNvPr id="71" name="Content Placeholder 1">
            <a:extLst>
              <a:ext uri="{FF2B5EF4-FFF2-40B4-BE49-F238E27FC236}">
                <a16:creationId xmlns:a16="http://schemas.microsoft.com/office/drawing/2014/main" id="{C71D29CA-D8F8-42D0-A4AD-4741D1E4BB6A}"/>
              </a:ext>
            </a:extLst>
          </p:cNvPr>
          <p:cNvSpPr txBox="1">
            <a:spLocks/>
          </p:cNvSpPr>
          <p:nvPr/>
        </p:nvSpPr>
        <p:spPr bwMode="auto">
          <a:xfrm>
            <a:off x="444500" y="1518458"/>
            <a:ext cx="2989580" cy="234234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98450" indent="-298450" algn="l" rtl="0" eaLnBrk="0" fontAlgn="base" hangingPunct="0">
              <a:spcBef>
                <a:spcPts val="676"/>
              </a:spcBef>
              <a:spcAft>
                <a:spcPct val="0"/>
              </a:spcAft>
              <a:buClr>
                <a:schemeClr val="accent3"/>
              </a:buClr>
              <a:buFont typeface="Arial"/>
              <a:buChar char="•"/>
              <a:defRPr sz="2200">
                <a:solidFill>
                  <a:schemeClr val="tx1"/>
                </a:solidFill>
                <a:latin typeface="+mn-lt"/>
                <a:ea typeface="+mn-ea"/>
                <a:cs typeface="+mn-cs"/>
              </a:defRPr>
            </a:lvl1pPr>
            <a:lvl2pPr marL="636588" indent="-336550" algn="l" rtl="0" eaLnBrk="0" fontAlgn="base" hangingPunct="0">
              <a:spcBef>
                <a:spcPts val="624"/>
              </a:spcBef>
              <a:spcAft>
                <a:spcPct val="0"/>
              </a:spcAft>
              <a:buClr>
                <a:schemeClr val="tx1"/>
              </a:buClr>
              <a:buFont typeface="Lucida Grande"/>
              <a:buChar char="-"/>
              <a:defRPr sz="2000">
                <a:solidFill>
                  <a:schemeClr val="tx1"/>
                </a:solidFill>
                <a:latin typeface="+mn-lt"/>
              </a:defRPr>
            </a:lvl2pPr>
            <a:lvl3pPr marL="927100" indent="-288925" algn="l" rtl="0" eaLnBrk="0" fontAlgn="base" hangingPunct="0">
              <a:spcBef>
                <a:spcPts val="576"/>
              </a:spcBef>
              <a:spcAft>
                <a:spcPct val="0"/>
              </a:spcAft>
              <a:buClr>
                <a:schemeClr val="accent3"/>
              </a:buClr>
              <a:buFont typeface="Arial"/>
              <a:buChar char="•"/>
              <a:defRPr sz="2200">
                <a:solidFill>
                  <a:schemeClr val="tx1"/>
                </a:solidFill>
                <a:latin typeface="+mn-lt"/>
              </a:defRPr>
            </a:lvl3pPr>
            <a:lvl4pPr marL="1236663" indent="-307975" algn="l" rtl="0" eaLnBrk="0" fontAlgn="base" hangingPunct="0">
              <a:spcBef>
                <a:spcPts val="480"/>
              </a:spcBef>
              <a:spcAft>
                <a:spcPct val="0"/>
              </a:spcAft>
              <a:buClr>
                <a:schemeClr val="tx1"/>
              </a:buClr>
              <a:buFont typeface="Lucida Grande"/>
              <a:buChar char="-"/>
              <a:defRPr sz="1800">
                <a:solidFill>
                  <a:schemeClr val="tx1"/>
                </a:solidFill>
                <a:latin typeface="+mn-lt"/>
              </a:defRPr>
            </a:lvl4pPr>
            <a:lvl5pPr marL="1504950" indent="-266700" algn="l" rtl="0" eaLnBrk="0" fontAlgn="base" hangingPunct="0">
              <a:spcBef>
                <a:spcPts val="480"/>
              </a:spcBef>
              <a:spcAft>
                <a:spcPct val="0"/>
              </a:spcAft>
              <a:buClr>
                <a:schemeClr val="accent3"/>
              </a:buClr>
              <a:buFont typeface="Arial"/>
              <a:buChar char="•"/>
              <a:defRPr sz="1800">
                <a:solidFill>
                  <a:schemeClr val="tx1"/>
                </a:solidFill>
                <a:latin typeface="+mn-lt"/>
              </a:defRPr>
            </a:lvl5pPr>
            <a:lvl6pPr marL="1962150" indent="-266700" algn="l" rtl="0" fontAlgn="base">
              <a:spcBef>
                <a:spcPct val="20000"/>
              </a:spcBef>
              <a:spcAft>
                <a:spcPct val="0"/>
              </a:spcAft>
              <a:buFont typeface="Wingdings 2" pitchFamily="18" charset="2"/>
              <a:buChar char="¡"/>
              <a:defRPr sz="2000">
                <a:solidFill>
                  <a:schemeClr val="tx1"/>
                </a:solidFill>
                <a:latin typeface="+mn-lt"/>
              </a:defRPr>
            </a:lvl6pPr>
            <a:lvl7pPr marL="2419350" indent="-266700" algn="l" rtl="0" fontAlgn="base">
              <a:spcBef>
                <a:spcPct val="20000"/>
              </a:spcBef>
              <a:spcAft>
                <a:spcPct val="0"/>
              </a:spcAft>
              <a:buFont typeface="Wingdings 2" pitchFamily="18" charset="2"/>
              <a:buChar char="¡"/>
              <a:defRPr sz="2000">
                <a:solidFill>
                  <a:schemeClr val="tx1"/>
                </a:solidFill>
                <a:latin typeface="+mn-lt"/>
              </a:defRPr>
            </a:lvl7pPr>
            <a:lvl8pPr marL="2876550" indent="-266700" algn="l" rtl="0" fontAlgn="base">
              <a:spcBef>
                <a:spcPct val="20000"/>
              </a:spcBef>
              <a:spcAft>
                <a:spcPct val="0"/>
              </a:spcAft>
              <a:buFont typeface="Wingdings 2" pitchFamily="18" charset="2"/>
              <a:buChar char="¡"/>
              <a:defRPr sz="2000">
                <a:solidFill>
                  <a:schemeClr val="tx1"/>
                </a:solidFill>
                <a:latin typeface="+mn-lt"/>
              </a:defRPr>
            </a:lvl8pPr>
            <a:lvl9pPr marL="3333750" indent="-266700" algn="l" rtl="0" fontAlgn="base">
              <a:spcBef>
                <a:spcPct val="20000"/>
              </a:spcBef>
              <a:spcAft>
                <a:spcPct val="0"/>
              </a:spcAft>
              <a:buFont typeface="Wingdings 2" pitchFamily="18" charset="2"/>
              <a:buChar char="¡"/>
              <a:defRPr sz="2000">
                <a:solidFill>
                  <a:schemeClr val="tx1"/>
                </a:solidFill>
                <a:latin typeface="+mn-lt"/>
              </a:defRPr>
            </a:lvl9pPr>
          </a:lstStyle>
          <a:p>
            <a:pPr marL="169863" marR="0" lvl="0" indent="-169863" algn="l" defTabSz="914400" rtl="0" eaLnBrk="0" fontAlgn="base" latinLnBrk="0" hangingPunct="0">
              <a:lnSpc>
                <a:spcPct val="100000"/>
              </a:lnSpc>
              <a:spcBef>
                <a:spcPts val="1600"/>
              </a:spcBef>
              <a:spcAft>
                <a:spcPct val="0"/>
              </a:spcAft>
              <a:buClr>
                <a:srgbClr val="0067C5"/>
              </a:buClr>
              <a:buSzTx/>
              <a:buFont typeface="Arial"/>
              <a:buChar char="•"/>
              <a:tabLst/>
              <a:defRPr/>
            </a:pPr>
            <a:r>
              <a:rPr kumimoji="0" lang="en-US" sz="2100" b="0" i="0" u="none" strike="noStrike" kern="0" cap="none" spc="0" normalizeH="0" baseline="0" noProof="0" dirty="0">
                <a:ln>
                  <a:noFill/>
                </a:ln>
                <a:solidFill>
                  <a:srgbClr val="000000"/>
                </a:solidFill>
                <a:effectLst/>
                <a:uLnTx/>
                <a:uFillTx/>
                <a:latin typeface="Arial"/>
                <a:ea typeface="+mn-ea"/>
                <a:cs typeface="+mn-cs"/>
              </a:rPr>
              <a:t>Programmable infrastructure</a:t>
            </a:r>
          </a:p>
          <a:p>
            <a:pPr marL="169863" marR="0" lvl="0" indent="-169863" algn="l" defTabSz="914400" rtl="0" eaLnBrk="0" fontAlgn="base" latinLnBrk="0" hangingPunct="0">
              <a:lnSpc>
                <a:spcPct val="100000"/>
              </a:lnSpc>
              <a:spcBef>
                <a:spcPts val="1600"/>
              </a:spcBef>
              <a:spcAft>
                <a:spcPct val="0"/>
              </a:spcAft>
              <a:buClr>
                <a:srgbClr val="0067C5"/>
              </a:buClr>
              <a:buSzTx/>
              <a:buFont typeface="Arial"/>
              <a:buChar char="•"/>
              <a:tabLst/>
              <a:defRPr/>
            </a:pPr>
            <a:r>
              <a:rPr kumimoji="0" lang="en-US" sz="2100" b="0" i="0" u="none" strike="noStrike" kern="0" cap="none" spc="0" normalizeH="0" baseline="0" noProof="0" dirty="0">
                <a:ln>
                  <a:noFill/>
                </a:ln>
                <a:solidFill>
                  <a:srgbClr val="000000"/>
                </a:solidFill>
                <a:effectLst/>
                <a:uLnTx/>
                <a:uFillTx/>
                <a:latin typeface="Arial"/>
                <a:ea typeface="+mn-ea"/>
                <a:cs typeface="+mn-cs"/>
              </a:rPr>
              <a:t>Validated unified management</a:t>
            </a:r>
          </a:p>
          <a:p>
            <a:pPr marL="169863" marR="0" lvl="0" indent="-169863" algn="l" defTabSz="914400" rtl="0" eaLnBrk="0" fontAlgn="base" latinLnBrk="0" hangingPunct="0">
              <a:lnSpc>
                <a:spcPct val="100000"/>
              </a:lnSpc>
              <a:spcBef>
                <a:spcPts val="1600"/>
              </a:spcBef>
              <a:spcAft>
                <a:spcPct val="0"/>
              </a:spcAft>
              <a:buClr>
                <a:srgbClr val="0067C5"/>
              </a:buClr>
              <a:buSzTx/>
              <a:buFont typeface="Arial"/>
              <a:buChar char="•"/>
              <a:tabLst/>
              <a:defRPr/>
            </a:pPr>
            <a:r>
              <a:rPr kumimoji="0" lang="en-US" sz="2100" b="0" i="0" u="none" strike="noStrike" kern="0" cap="none" spc="0" normalizeH="0" baseline="0" noProof="0" dirty="0">
                <a:ln>
                  <a:noFill/>
                </a:ln>
                <a:solidFill>
                  <a:srgbClr val="000000"/>
                </a:solidFill>
                <a:effectLst/>
                <a:uLnTx/>
                <a:uFillTx/>
                <a:latin typeface="Arial"/>
                <a:ea typeface="+mn-ea"/>
                <a:cs typeface="+mn-cs"/>
              </a:rPr>
              <a:t>Customized workflows</a:t>
            </a:r>
          </a:p>
        </p:txBody>
      </p:sp>
      <p:sp>
        <p:nvSpPr>
          <p:cNvPr id="72" name="TextBox 71">
            <a:extLst>
              <a:ext uri="{FF2B5EF4-FFF2-40B4-BE49-F238E27FC236}">
                <a16:creationId xmlns:a16="http://schemas.microsoft.com/office/drawing/2014/main" id="{A7D120C2-F677-4952-A704-EC523EB1A03D}"/>
              </a:ext>
            </a:extLst>
          </p:cNvPr>
          <p:cNvSpPr txBox="1"/>
          <p:nvPr/>
        </p:nvSpPr>
        <p:spPr>
          <a:xfrm>
            <a:off x="3696176" y="743693"/>
            <a:ext cx="1048624" cy="246221"/>
          </a:xfrm>
          <a:prstGeom prst="rect">
            <a:avLst/>
          </a:prstGeom>
          <a:noFill/>
        </p:spPr>
        <p:txBody>
          <a:bodyPr wrap="square" lIns="0" rIns="0" rtlCol="0">
            <a:spAutoFit/>
          </a:bodyPr>
          <a:lstStyle/>
          <a:p>
            <a:r>
              <a:rPr lang="en-US" sz="1000" dirty="0">
                <a:solidFill>
                  <a:srgbClr val="000000"/>
                </a:solidFill>
                <a:latin typeface="Arial"/>
                <a:cs typeface="Arial"/>
              </a:rPr>
              <a:t>Service Catalog</a:t>
            </a:r>
          </a:p>
        </p:txBody>
      </p:sp>
      <p:sp>
        <p:nvSpPr>
          <p:cNvPr id="73" name="Rectangle 72">
            <a:extLst>
              <a:ext uri="{FF2B5EF4-FFF2-40B4-BE49-F238E27FC236}">
                <a16:creationId xmlns:a16="http://schemas.microsoft.com/office/drawing/2014/main" id="{FF636ED6-3E64-46CD-84E8-30D327E356A8}"/>
              </a:ext>
            </a:extLst>
          </p:cNvPr>
          <p:cNvSpPr/>
          <p:nvPr/>
        </p:nvSpPr>
        <p:spPr bwMode="auto">
          <a:xfrm>
            <a:off x="4216344" y="985656"/>
            <a:ext cx="362394"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74" name="Rectangle 73">
            <a:extLst>
              <a:ext uri="{FF2B5EF4-FFF2-40B4-BE49-F238E27FC236}">
                <a16:creationId xmlns:a16="http://schemas.microsoft.com/office/drawing/2014/main" id="{CA147931-893F-492A-B36E-125147A312BF}"/>
              </a:ext>
            </a:extLst>
          </p:cNvPr>
          <p:cNvSpPr/>
          <p:nvPr/>
        </p:nvSpPr>
        <p:spPr bwMode="auto">
          <a:xfrm>
            <a:off x="4276744" y="1044162"/>
            <a:ext cx="362394"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75" name="Rectangle 74">
            <a:extLst>
              <a:ext uri="{FF2B5EF4-FFF2-40B4-BE49-F238E27FC236}">
                <a16:creationId xmlns:a16="http://schemas.microsoft.com/office/drawing/2014/main" id="{5378E4F7-8A44-48AB-9688-C33E42BEC017}"/>
              </a:ext>
            </a:extLst>
          </p:cNvPr>
          <p:cNvSpPr/>
          <p:nvPr/>
        </p:nvSpPr>
        <p:spPr bwMode="auto">
          <a:xfrm>
            <a:off x="4337143" y="1102665"/>
            <a:ext cx="362394"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76" name="Rectangle 75">
            <a:extLst>
              <a:ext uri="{FF2B5EF4-FFF2-40B4-BE49-F238E27FC236}">
                <a16:creationId xmlns:a16="http://schemas.microsoft.com/office/drawing/2014/main" id="{46CBDFE3-538D-40FA-8474-38CB1D4CF5E5}"/>
              </a:ext>
            </a:extLst>
          </p:cNvPr>
          <p:cNvSpPr/>
          <p:nvPr/>
        </p:nvSpPr>
        <p:spPr bwMode="auto">
          <a:xfrm>
            <a:off x="4397542" y="1161168"/>
            <a:ext cx="362394"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pic>
        <p:nvPicPr>
          <p:cNvPr id="77" name="Picture 21" descr="flatscreen_monitor">
            <a:extLst>
              <a:ext uri="{FF2B5EF4-FFF2-40B4-BE49-F238E27FC236}">
                <a16:creationId xmlns:a16="http://schemas.microsoft.com/office/drawing/2014/main" id="{0E44A6F7-051B-48EC-92BD-D56770883F63}"/>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576637" y="946792"/>
            <a:ext cx="517550" cy="46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77">
            <a:extLst>
              <a:ext uri="{FF2B5EF4-FFF2-40B4-BE49-F238E27FC236}">
                <a16:creationId xmlns:a16="http://schemas.microsoft.com/office/drawing/2014/main" id="{13179483-C201-4228-949E-5F9E337D2C62}"/>
              </a:ext>
            </a:extLst>
          </p:cNvPr>
          <p:cNvSpPr txBox="1"/>
          <p:nvPr/>
        </p:nvSpPr>
        <p:spPr>
          <a:xfrm>
            <a:off x="5039360" y="965225"/>
            <a:ext cx="56363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
                <a:srgbClr val="FEDB00"/>
              </a:buClr>
              <a:buSzTx/>
              <a:buFontTx/>
              <a:buNone/>
              <a:tabLst/>
              <a:defRPr/>
            </a:pPr>
            <a:r>
              <a:rPr kumimoji="0" lang="en-US" sz="1400" b="0" i="0" u="none" strike="noStrike" kern="0" cap="none" spc="0" normalizeH="0" baseline="0" noProof="0" dirty="0">
                <a:ln>
                  <a:noFill/>
                </a:ln>
                <a:solidFill>
                  <a:srgbClr val="000000"/>
                </a:solidFill>
                <a:effectLst/>
                <a:uLnTx/>
                <a:uFillTx/>
              </a:rPr>
              <a:t>- or -</a:t>
            </a:r>
          </a:p>
        </p:txBody>
      </p:sp>
      <p:sp>
        <p:nvSpPr>
          <p:cNvPr id="79" name="TextBox 78">
            <a:extLst>
              <a:ext uri="{FF2B5EF4-FFF2-40B4-BE49-F238E27FC236}">
                <a16:creationId xmlns:a16="http://schemas.microsoft.com/office/drawing/2014/main" id="{5F790363-8B31-4B44-994F-B53BA5913037}"/>
              </a:ext>
            </a:extLst>
          </p:cNvPr>
          <p:cNvSpPr txBox="1"/>
          <p:nvPr/>
        </p:nvSpPr>
        <p:spPr>
          <a:xfrm>
            <a:off x="3665696" y="1414276"/>
            <a:ext cx="1048624" cy="276999"/>
          </a:xfrm>
          <a:prstGeom prst="rect">
            <a:avLst/>
          </a:prstGeom>
          <a:noFill/>
        </p:spPr>
        <p:txBody>
          <a:bodyPr wrap="square" lIns="0" rIns="0" rtlCol="0">
            <a:spAutoFit/>
          </a:bodyPr>
          <a:lstStyle/>
          <a:p>
            <a:pPr algn="ctr"/>
            <a:r>
              <a:rPr lang="en-US" sz="1200" dirty="0">
                <a:solidFill>
                  <a:srgbClr val="000000"/>
                </a:solidFill>
                <a:latin typeface="Arial"/>
                <a:cs typeface="Arial"/>
              </a:rPr>
              <a:t>UCS Director</a:t>
            </a:r>
          </a:p>
        </p:txBody>
      </p:sp>
      <p:sp>
        <p:nvSpPr>
          <p:cNvPr id="80" name="Rectangle 79">
            <a:extLst>
              <a:ext uri="{FF2B5EF4-FFF2-40B4-BE49-F238E27FC236}">
                <a16:creationId xmlns:a16="http://schemas.microsoft.com/office/drawing/2014/main" id="{69A87A68-9622-42BB-B1DF-C7EDF6287C92}"/>
              </a:ext>
            </a:extLst>
          </p:cNvPr>
          <p:cNvSpPr/>
          <p:nvPr/>
        </p:nvSpPr>
        <p:spPr bwMode="auto">
          <a:xfrm>
            <a:off x="4353304" y="3897642"/>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1" name="Rectangle 80">
            <a:extLst>
              <a:ext uri="{FF2B5EF4-FFF2-40B4-BE49-F238E27FC236}">
                <a16:creationId xmlns:a16="http://schemas.microsoft.com/office/drawing/2014/main" id="{8B6D8331-DA36-44B1-AC01-0F48998C7591}"/>
              </a:ext>
            </a:extLst>
          </p:cNvPr>
          <p:cNvSpPr/>
          <p:nvPr/>
        </p:nvSpPr>
        <p:spPr bwMode="auto">
          <a:xfrm>
            <a:off x="4413662" y="3956145"/>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2" name="Rectangle 81">
            <a:extLst>
              <a:ext uri="{FF2B5EF4-FFF2-40B4-BE49-F238E27FC236}">
                <a16:creationId xmlns:a16="http://schemas.microsoft.com/office/drawing/2014/main" id="{B8781BE2-4313-4A42-9D73-546A1650D2DC}"/>
              </a:ext>
            </a:extLst>
          </p:cNvPr>
          <p:cNvSpPr/>
          <p:nvPr/>
        </p:nvSpPr>
        <p:spPr bwMode="auto">
          <a:xfrm>
            <a:off x="4474076" y="4014651"/>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3" name="Rectangle 82">
            <a:extLst>
              <a:ext uri="{FF2B5EF4-FFF2-40B4-BE49-F238E27FC236}">
                <a16:creationId xmlns:a16="http://schemas.microsoft.com/office/drawing/2014/main" id="{1AB5F91D-AA39-47B7-9214-D00C1C009C88}"/>
              </a:ext>
            </a:extLst>
          </p:cNvPr>
          <p:cNvSpPr/>
          <p:nvPr/>
        </p:nvSpPr>
        <p:spPr bwMode="auto">
          <a:xfrm>
            <a:off x="4534464" y="4073154"/>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4" name="Rectangle 83">
            <a:extLst>
              <a:ext uri="{FF2B5EF4-FFF2-40B4-BE49-F238E27FC236}">
                <a16:creationId xmlns:a16="http://schemas.microsoft.com/office/drawing/2014/main" id="{18DC60B7-26E6-4443-85FE-0FE1BAB0966C}"/>
              </a:ext>
            </a:extLst>
          </p:cNvPr>
          <p:cNvSpPr/>
          <p:nvPr/>
        </p:nvSpPr>
        <p:spPr bwMode="auto">
          <a:xfrm>
            <a:off x="4364025" y="2395074"/>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5" name="Rectangle 84">
            <a:extLst>
              <a:ext uri="{FF2B5EF4-FFF2-40B4-BE49-F238E27FC236}">
                <a16:creationId xmlns:a16="http://schemas.microsoft.com/office/drawing/2014/main" id="{C00D4DE7-CBDB-4516-B7C7-C45FC8755EF9}"/>
              </a:ext>
            </a:extLst>
          </p:cNvPr>
          <p:cNvSpPr/>
          <p:nvPr/>
        </p:nvSpPr>
        <p:spPr bwMode="auto">
          <a:xfrm>
            <a:off x="4424387" y="2453577"/>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6" name="Rectangle 85">
            <a:extLst>
              <a:ext uri="{FF2B5EF4-FFF2-40B4-BE49-F238E27FC236}">
                <a16:creationId xmlns:a16="http://schemas.microsoft.com/office/drawing/2014/main" id="{6609D73D-2F3B-4D84-9211-C2472962DC31}"/>
              </a:ext>
            </a:extLst>
          </p:cNvPr>
          <p:cNvSpPr/>
          <p:nvPr/>
        </p:nvSpPr>
        <p:spPr bwMode="auto">
          <a:xfrm>
            <a:off x="4484775" y="2512083"/>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7" name="Rectangle 86">
            <a:extLst>
              <a:ext uri="{FF2B5EF4-FFF2-40B4-BE49-F238E27FC236}">
                <a16:creationId xmlns:a16="http://schemas.microsoft.com/office/drawing/2014/main" id="{1BC678EB-569B-4F58-B39B-E449F73B6B2F}"/>
              </a:ext>
            </a:extLst>
          </p:cNvPr>
          <p:cNvSpPr/>
          <p:nvPr/>
        </p:nvSpPr>
        <p:spPr bwMode="auto">
          <a:xfrm>
            <a:off x="4545189" y="2570586"/>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8" name="Right Arrow 238">
            <a:extLst>
              <a:ext uri="{FF2B5EF4-FFF2-40B4-BE49-F238E27FC236}">
                <a16:creationId xmlns:a16="http://schemas.microsoft.com/office/drawing/2014/main" id="{6915873E-F9FF-4F4F-B211-3C3377B7A562}"/>
              </a:ext>
            </a:extLst>
          </p:cNvPr>
          <p:cNvSpPr/>
          <p:nvPr/>
        </p:nvSpPr>
        <p:spPr bwMode="auto">
          <a:xfrm>
            <a:off x="3811812" y="2433257"/>
            <a:ext cx="536675" cy="292521"/>
          </a:xfrm>
          <a:prstGeom prst="rightArrow">
            <a:avLst/>
          </a:prstGeom>
          <a:solidFill>
            <a:srgbClr val="0067C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r>
              <a:rPr kumimoji="0" lang="en-US" sz="1000" b="0" i="0" u="none" strike="noStrike" kern="0" cap="none" spc="0" normalizeH="0" baseline="0" noProof="0" dirty="0">
                <a:ln>
                  <a:noFill/>
                </a:ln>
                <a:solidFill>
                  <a:srgbClr val="FFFFFF"/>
                </a:solidFill>
                <a:effectLst/>
                <a:uLnTx/>
                <a:uFillTx/>
                <a:latin typeface="Arial" charset="0"/>
              </a:rPr>
              <a:t>APIs</a:t>
            </a:r>
          </a:p>
        </p:txBody>
      </p:sp>
      <p:sp>
        <p:nvSpPr>
          <p:cNvPr id="89" name="Rectangle 88">
            <a:extLst>
              <a:ext uri="{FF2B5EF4-FFF2-40B4-BE49-F238E27FC236}">
                <a16:creationId xmlns:a16="http://schemas.microsoft.com/office/drawing/2014/main" id="{0EACB778-D1EA-449A-BDF3-8B05866FA3F2}"/>
              </a:ext>
            </a:extLst>
          </p:cNvPr>
          <p:cNvSpPr/>
          <p:nvPr/>
        </p:nvSpPr>
        <p:spPr bwMode="auto">
          <a:xfrm>
            <a:off x="3658401" y="1686561"/>
            <a:ext cx="151615" cy="2428240"/>
          </a:xfrm>
          <a:prstGeom prst="rect">
            <a:avLst/>
          </a:prstGeom>
          <a:solidFill>
            <a:srgbClr val="0067C5"/>
          </a:solidFill>
          <a:ln w="9525"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90" name="Right Arrow 240">
            <a:extLst>
              <a:ext uri="{FF2B5EF4-FFF2-40B4-BE49-F238E27FC236}">
                <a16:creationId xmlns:a16="http://schemas.microsoft.com/office/drawing/2014/main" id="{807A98B1-261F-4859-8FAF-C74EC8ACE315}"/>
              </a:ext>
            </a:extLst>
          </p:cNvPr>
          <p:cNvSpPr/>
          <p:nvPr/>
        </p:nvSpPr>
        <p:spPr bwMode="auto">
          <a:xfrm>
            <a:off x="3719345" y="3897644"/>
            <a:ext cx="644510" cy="292521"/>
          </a:xfrm>
          <a:prstGeom prst="rightArrow">
            <a:avLst/>
          </a:prstGeom>
          <a:solidFill>
            <a:srgbClr val="0067C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r>
              <a:rPr kumimoji="0" lang="en-US" sz="1000" b="0" i="0" u="none" strike="noStrike" kern="0" cap="none" spc="0" normalizeH="0" baseline="0" noProof="0" dirty="0">
                <a:ln>
                  <a:noFill/>
                </a:ln>
                <a:solidFill>
                  <a:srgbClr val="FFFFFF"/>
                </a:solidFill>
                <a:effectLst/>
                <a:uLnTx/>
                <a:uFillTx/>
                <a:latin typeface="Arial" charset="0"/>
              </a:rPr>
              <a:t>APIs</a:t>
            </a:r>
          </a:p>
        </p:txBody>
      </p:sp>
      <p:sp>
        <p:nvSpPr>
          <p:cNvPr id="91" name="Rectangle 90">
            <a:extLst>
              <a:ext uri="{FF2B5EF4-FFF2-40B4-BE49-F238E27FC236}">
                <a16:creationId xmlns:a16="http://schemas.microsoft.com/office/drawing/2014/main" id="{086BC82F-1A50-4826-ACA7-6AD32EA0D8A9}"/>
              </a:ext>
            </a:extLst>
          </p:cNvPr>
          <p:cNvSpPr/>
          <p:nvPr/>
        </p:nvSpPr>
        <p:spPr bwMode="auto">
          <a:xfrm>
            <a:off x="4364025" y="3116433"/>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2" name="Rectangle 91">
            <a:extLst>
              <a:ext uri="{FF2B5EF4-FFF2-40B4-BE49-F238E27FC236}">
                <a16:creationId xmlns:a16="http://schemas.microsoft.com/office/drawing/2014/main" id="{E972E44B-D6EC-4A44-B74A-F2A159F47A59}"/>
              </a:ext>
            </a:extLst>
          </p:cNvPr>
          <p:cNvSpPr/>
          <p:nvPr/>
        </p:nvSpPr>
        <p:spPr bwMode="auto">
          <a:xfrm>
            <a:off x="4424387" y="3174939"/>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3" name="Rectangle 92">
            <a:extLst>
              <a:ext uri="{FF2B5EF4-FFF2-40B4-BE49-F238E27FC236}">
                <a16:creationId xmlns:a16="http://schemas.microsoft.com/office/drawing/2014/main" id="{0225736D-8488-404B-B0EF-5B2B8FF8B7AE}"/>
              </a:ext>
            </a:extLst>
          </p:cNvPr>
          <p:cNvSpPr/>
          <p:nvPr/>
        </p:nvSpPr>
        <p:spPr bwMode="auto">
          <a:xfrm>
            <a:off x="4484775" y="3233442"/>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4" name="Rectangle 93">
            <a:extLst>
              <a:ext uri="{FF2B5EF4-FFF2-40B4-BE49-F238E27FC236}">
                <a16:creationId xmlns:a16="http://schemas.microsoft.com/office/drawing/2014/main" id="{52CC8D6A-9EBC-4D66-82CA-D04BB4F7450B}"/>
              </a:ext>
            </a:extLst>
          </p:cNvPr>
          <p:cNvSpPr/>
          <p:nvPr/>
        </p:nvSpPr>
        <p:spPr bwMode="auto">
          <a:xfrm>
            <a:off x="4545189" y="3291945"/>
            <a:ext cx="362395" cy="234016"/>
          </a:xfrm>
          <a:prstGeom prst="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5" name="Right Arrow 245">
            <a:extLst>
              <a:ext uri="{FF2B5EF4-FFF2-40B4-BE49-F238E27FC236}">
                <a16:creationId xmlns:a16="http://schemas.microsoft.com/office/drawing/2014/main" id="{20B14FFF-1BF3-4537-A56E-DF91179B71BD}"/>
              </a:ext>
            </a:extLst>
          </p:cNvPr>
          <p:cNvSpPr/>
          <p:nvPr/>
        </p:nvSpPr>
        <p:spPr bwMode="auto">
          <a:xfrm>
            <a:off x="3769380" y="3154619"/>
            <a:ext cx="553975" cy="292521"/>
          </a:xfrm>
          <a:prstGeom prst="rightArrow">
            <a:avLst/>
          </a:prstGeom>
          <a:solidFill>
            <a:srgbClr val="0067C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r>
              <a:rPr kumimoji="0" lang="en-US" sz="1000" b="0" i="0" u="none" strike="noStrike" kern="0" cap="none" spc="0" normalizeH="0" baseline="0" noProof="0" dirty="0">
                <a:ln>
                  <a:noFill/>
                </a:ln>
                <a:solidFill>
                  <a:srgbClr val="FFFFFF"/>
                </a:solidFill>
                <a:effectLst/>
                <a:uLnTx/>
                <a:uFillTx/>
                <a:latin typeface="Arial" charset="0"/>
              </a:rPr>
              <a:t>APIs</a:t>
            </a:r>
          </a:p>
        </p:txBody>
      </p:sp>
      <p:sp>
        <p:nvSpPr>
          <p:cNvPr id="96" name="Rounded Rectangle 161">
            <a:extLst>
              <a:ext uri="{FF2B5EF4-FFF2-40B4-BE49-F238E27FC236}">
                <a16:creationId xmlns:a16="http://schemas.microsoft.com/office/drawing/2014/main" id="{ACF7DDD5-EF03-4990-87BA-326F05C4E819}"/>
              </a:ext>
            </a:extLst>
          </p:cNvPr>
          <p:cNvSpPr/>
          <p:nvPr/>
        </p:nvSpPr>
        <p:spPr bwMode="auto">
          <a:xfrm>
            <a:off x="5019671" y="1523808"/>
            <a:ext cx="1270000" cy="3048000"/>
          </a:xfrm>
          <a:prstGeom prst="roundRect">
            <a:avLst>
              <a:gd name="adj" fmla="val 9674"/>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
        <p:nvSpPr>
          <p:cNvPr id="97" name="Rounded Rectangle 162">
            <a:extLst>
              <a:ext uri="{FF2B5EF4-FFF2-40B4-BE49-F238E27FC236}">
                <a16:creationId xmlns:a16="http://schemas.microsoft.com/office/drawing/2014/main" id="{6E7E5D5C-CFFC-45A4-BF56-13F8B21A20EF}"/>
              </a:ext>
            </a:extLst>
          </p:cNvPr>
          <p:cNvSpPr/>
          <p:nvPr/>
        </p:nvSpPr>
        <p:spPr bwMode="auto">
          <a:xfrm>
            <a:off x="6288392" y="1503488"/>
            <a:ext cx="741680" cy="3048000"/>
          </a:xfrm>
          <a:prstGeom prst="roundRect">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8" name="Rounded Rectangle 163">
            <a:extLst>
              <a:ext uri="{FF2B5EF4-FFF2-40B4-BE49-F238E27FC236}">
                <a16:creationId xmlns:a16="http://schemas.microsoft.com/office/drawing/2014/main" id="{E0EE18D4-09C8-4109-9547-FB47458B2FD0}"/>
              </a:ext>
            </a:extLst>
          </p:cNvPr>
          <p:cNvSpPr/>
          <p:nvPr/>
        </p:nvSpPr>
        <p:spPr bwMode="auto">
          <a:xfrm>
            <a:off x="7030072" y="1503488"/>
            <a:ext cx="640080" cy="3048000"/>
          </a:xfrm>
          <a:prstGeom prst="roundRect">
            <a:avLst/>
          </a:prstGeom>
          <a:noFill/>
          <a:ln w="19050" cap="flat" cmpd="sng" algn="ctr">
            <a:solidFill>
              <a:srgbClr val="9EA2A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8DC8E8"/>
              </a:buClr>
              <a:buSzTx/>
              <a:buFont typeface="Wingdings 2" pitchFamily="18" charset="2"/>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
        <p:nvSpPr>
          <p:cNvPr id="99" name="Rounded Rectangle 164">
            <a:extLst>
              <a:ext uri="{FF2B5EF4-FFF2-40B4-BE49-F238E27FC236}">
                <a16:creationId xmlns:a16="http://schemas.microsoft.com/office/drawing/2014/main" id="{B7F600DC-B514-442A-BFE8-3F75EBAB7DC5}"/>
              </a:ext>
            </a:extLst>
          </p:cNvPr>
          <p:cNvSpPr/>
          <p:nvPr/>
        </p:nvSpPr>
        <p:spPr>
          <a:xfrm>
            <a:off x="5097194" y="2330258"/>
            <a:ext cx="3810000" cy="571500"/>
          </a:xfrm>
          <a:prstGeom prst="roundRect">
            <a:avLst/>
          </a:prstGeom>
          <a:solidFill>
            <a:srgbClr val="84BD0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400" b="1" dirty="0">
              <a:solidFill>
                <a:prstClr val="white"/>
              </a:solidFill>
              <a:latin typeface="Arial" pitchFamily="-65" charset="0"/>
              <a:ea typeface="Arial" pitchFamily="-65" charset="0"/>
              <a:cs typeface="Arial" pitchFamily="-65" charset="0"/>
            </a:endParaRPr>
          </a:p>
          <a:p>
            <a:pPr algn="ctr"/>
            <a:endParaRPr lang="en-US" sz="1400" b="1" dirty="0">
              <a:solidFill>
                <a:prstClr val="white"/>
              </a:solidFill>
              <a:latin typeface="Arial" pitchFamily="-65" charset="0"/>
              <a:ea typeface="Arial" pitchFamily="-65" charset="0"/>
              <a:cs typeface="Arial" pitchFamily="-65" charset="0"/>
            </a:endParaRPr>
          </a:p>
          <a:p>
            <a:pPr algn="ctr"/>
            <a:endParaRPr lang="en-US" sz="600" b="1" dirty="0">
              <a:solidFill>
                <a:prstClr val="white"/>
              </a:solidFill>
              <a:latin typeface="Arial" pitchFamily="-65" charset="0"/>
              <a:ea typeface="Arial" pitchFamily="-65" charset="0"/>
              <a:cs typeface="Arial" pitchFamily="-65" charset="0"/>
            </a:endParaRPr>
          </a:p>
          <a:p>
            <a:pPr algn="ctr"/>
            <a:r>
              <a:rPr lang="en-US" sz="1400" b="1" dirty="0">
                <a:solidFill>
                  <a:prstClr val="white"/>
                </a:solidFill>
                <a:latin typeface="Arial" pitchFamily="-65" charset="0"/>
                <a:ea typeface="Arial" pitchFamily="-65" charset="0"/>
                <a:cs typeface="Arial" pitchFamily="-65" charset="0"/>
              </a:rPr>
              <a:t>Virtualized Compute Pool</a:t>
            </a:r>
          </a:p>
          <a:p>
            <a:pPr algn="ctr"/>
            <a:endParaRPr lang="en-US" sz="1400" b="1" dirty="0">
              <a:solidFill>
                <a:prstClr val="white"/>
              </a:solidFill>
              <a:latin typeface="Arial" pitchFamily="-65" charset="0"/>
              <a:ea typeface="Arial" pitchFamily="-65" charset="0"/>
              <a:cs typeface="Arial" pitchFamily="-65" charset="0"/>
            </a:endParaRPr>
          </a:p>
        </p:txBody>
      </p:sp>
      <p:sp>
        <p:nvSpPr>
          <p:cNvPr id="100" name="Rounded Rectangle 165">
            <a:extLst>
              <a:ext uri="{FF2B5EF4-FFF2-40B4-BE49-F238E27FC236}">
                <a16:creationId xmlns:a16="http://schemas.microsoft.com/office/drawing/2014/main" id="{BBCC6044-280F-4C63-9E0E-2D12C24534B1}"/>
              </a:ext>
            </a:extLst>
          </p:cNvPr>
          <p:cNvSpPr/>
          <p:nvPr/>
        </p:nvSpPr>
        <p:spPr bwMode="auto">
          <a:xfrm>
            <a:off x="6412020" y="2101662"/>
            <a:ext cx="2424486" cy="180898"/>
          </a:xfrm>
          <a:prstGeom prst="roundRect">
            <a:avLst/>
          </a:prstGeom>
          <a:solidFill>
            <a:srgbClr val="9EA2A2">
              <a:lumMod val="20000"/>
              <a:lumOff val="80000"/>
            </a:srgbClr>
          </a:solidFill>
          <a:ln w="9525" cap="flat" cmpd="sng" algn="ctr">
            <a:solidFill>
              <a:srgbClr val="9EA2A2"/>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Virtualization</a:t>
            </a:r>
          </a:p>
        </p:txBody>
      </p:sp>
      <p:sp>
        <p:nvSpPr>
          <p:cNvPr id="101" name="Rounded Rectangle 166">
            <a:extLst>
              <a:ext uri="{FF2B5EF4-FFF2-40B4-BE49-F238E27FC236}">
                <a16:creationId xmlns:a16="http://schemas.microsoft.com/office/drawing/2014/main" id="{90DEAA7E-0C00-430A-92A1-C6595CA226B3}"/>
              </a:ext>
            </a:extLst>
          </p:cNvPr>
          <p:cNvSpPr/>
          <p:nvPr/>
        </p:nvSpPr>
        <p:spPr bwMode="auto">
          <a:xfrm>
            <a:off x="5204216" y="2082629"/>
            <a:ext cx="883578" cy="155543"/>
          </a:xfrm>
          <a:prstGeom prst="roundRect">
            <a:avLst/>
          </a:prstGeom>
          <a:solidFill>
            <a:srgbClr val="FFFFFF"/>
          </a:solidFill>
          <a:ln w="9525" cap="flat" cmpd="sng" algn="ctr">
            <a:no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Bare Metal</a:t>
            </a:r>
          </a:p>
        </p:txBody>
      </p:sp>
      <p:sp>
        <p:nvSpPr>
          <p:cNvPr id="102" name="Rounded Rectangle 167">
            <a:extLst>
              <a:ext uri="{FF2B5EF4-FFF2-40B4-BE49-F238E27FC236}">
                <a16:creationId xmlns:a16="http://schemas.microsoft.com/office/drawing/2014/main" id="{F97E078D-24A6-451B-AF5F-98A58AC32823}"/>
              </a:ext>
            </a:extLst>
          </p:cNvPr>
          <p:cNvSpPr/>
          <p:nvPr/>
        </p:nvSpPr>
        <p:spPr>
          <a:xfrm>
            <a:off x="5097194" y="3776788"/>
            <a:ext cx="3810000" cy="628650"/>
          </a:xfrm>
          <a:prstGeom prst="roundRect">
            <a:avLst/>
          </a:prstGeom>
          <a:solidFill>
            <a:srgbClr val="85C128"/>
          </a:solidFill>
          <a:ln w="28575" cap="flat" cmpd="sng" algn="ctr">
            <a:solidFill>
              <a:srgbClr val="85C128"/>
            </a:solidFill>
            <a:prstDash val="solid"/>
            <a:round/>
            <a:headEnd type="none" w="med" len="med"/>
            <a:tailEnd type="none" w="med" len="med"/>
          </a:ln>
          <a:effectLst/>
        </p:spPr>
        <p:txBody>
          <a:bodyPr vert="horz" wrap="square" lIns="68589" tIns="34295" rIns="68589" bIns="34295" numCol="1" rtlCol="0" anchor="ctr" anchorCtr="0" compatLnSpc="1">
            <a:prstTxWarp prst="textNoShape">
              <a:avLst/>
            </a:prstTxWarp>
          </a:bodyPr>
          <a:lstStyle/>
          <a:p>
            <a:pPr algn="ctr"/>
            <a:endParaRPr lang="en-US" sz="2400" b="1" dirty="0">
              <a:solidFill>
                <a:prstClr val="white"/>
              </a:solidFill>
              <a:latin typeface="Arial" pitchFamily="-65" charset="0"/>
              <a:ea typeface="Arial" pitchFamily="-65" charset="0"/>
              <a:cs typeface="Arial" pitchFamily="-65" charset="0"/>
            </a:endParaRPr>
          </a:p>
          <a:p>
            <a:pPr algn="ctr"/>
            <a:r>
              <a:rPr lang="en-US" sz="1400" b="1" dirty="0">
                <a:solidFill>
                  <a:prstClr val="white"/>
                </a:solidFill>
                <a:latin typeface="Arial" pitchFamily="-65" charset="0"/>
                <a:ea typeface="Arial" pitchFamily="-65" charset="0"/>
                <a:cs typeface="Arial" pitchFamily="-65" charset="0"/>
              </a:rPr>
              <a:t>Virtualized Storage Pool</a:t>
            </a:r>
          </a:p>
        </p:txBody>
      </p:sp>
      <p:sp>
        <p:nvSpPr>
          <p:cNvPr id="103" name="Can 168">
            <a:extLst>
              <a:ext uri="{FF2B5EF4-FFF2-40B4-BE49-F238E27FC236}">
                <a16:creationId xmlns:a16="http://schemas.microsoft.com/office/drawing/2014/main" id="{C89AAF7B-574C-453F-BB33-69FDC554EA46}"/>
              </a:ext>
            </a:extLst>
          </p:cNvPr>
          <p:cNvSpPr/>
          <p:nvPr/>
        </p:nvSpPr>
        <p:spPr bwMode="auto">
          <a:xfrm>
            <a:off x="5325794" y="3833938"/>
            <a:ext cx="762000" cy="285750"/>
          </a:xfrm>
          <a:prstGeom prst="can">
            <a:avLst/>
          </a:prstGeom>
          <a:solidFill>
            <a:srgbClr val="8DC8E8">
              <a:lumMod val="60000"/>
              <a:lumOff val="40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100" b="0" i="0" u="none" strike="noStrike" kern="0" cap="none" spc="0" normalizeH="0" baseline="0" noProof="0">
              <a:ln>
                <a:noFill/>
              </a:ln>
              <a:solidFill>
                <a:prstClr val="black"/>
              </a:solidFill>
              <a:effectLst/>
              <a:uLnTx/>
              <a:uFillTx/>
            </a:endParaRPr>
          </a:p>
        </p:txBody>
      </p:sp>
      <p:sp>
        <p:nvSpPr>
          <p:cNvPr id="104" name="Can 169">
            <a:extLst>
              <a:ext uri="{FF2B5EF4-FFF2-40B4-BE49-F238E27FC236}">
                <a16:creationId xmlns:a16="http://schemas.microsoft.com/office/drawing/2014/main" id="{553F3528-4AE9-4801-ADF3-103B4E9A9AE9}"/>
              </a:ext>
            </a:extLst>
          </p:cNvPr>
          <p:cNvSpPr/>
          <p:nvPr/>
        </p:nvSpPr>
        <p:spPr bwMode="auto">
          <a:xfrm>
            <a:off x="6377354" y="3833938"/>
            <a:ext cx="533400" cy="285750"/>
          </a:xfrm>
          <a:prstGeom prst="can">
            <a:avLst/>
          </a:prstGeom>
          <a:solidFill>
            <a:srgbClr val="D45D00">
              <a:lumMod val="60000"/>
              <a:lumOff val="40000"/>
            </a:srgbClr>
          </a:solidFill>
          <a:ln w="9525" cap="flat" cmpd="sng" algn="ctr">
            <a:solidFill>
              <a:srgbClr val="D45D0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solidFill>
                  <a:srgbClr val="4EA5D1"/>
                </a:solidFill>
              </a:ln>
              <a:solidFill>
                <a:prstClr val="black"/>
              </a:solidFill>
              <a:effectLst/>
              <a:uLnTx/>
              <a:uFillTx/>
            </a:endParaRPr>
          </a:p>
        </p:txBody>
      </p:sp>
      <p:sp>
        <p:nvSpPr>
          <p:cNvPr id="105" name="Can 170">
            <a:extLst>
              <a:ext uri="{FF2B5EF4-FFF2-40B4-BE49-F238E27FC236}">
                <a16:creationId xmlns:a16="http://schemas.microsoft.com/office/drawing/2014/main" id="{80939802-3C5D-4697-9D72-FEB24E210494}"/>
              </a:ext>
            </a:extLst>
          </p:cNvPr>
          <p:cNvSpPr/>
          <p:nvPr/>
        </p:nvSpPr>
        <p:spPr bwMode="auto">
          <a:xfrm>
            <a:off x="7139353" y="3833938"/>
            <a:ext cx="381000" cy="285750"/>
          </a:xfrm>
          <a:prstGeom prst="can">
            <a:avLst/>
          </a:prstGeom>
          <a:solidFill>
            <a:srgbClr val="C8102E">
              <a:lumMod val="60000"/>
              <a:lumOff val="40000"/>
            </a:srgbClr>
          </a:solidFill>
          <a:ln w="9525" cap="flat" cmpd="sng" algn="ctr">
            <a:solidFill>
              <a:srgbClr val="C8102E"/>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sp>
        <p:nvSpPr>
          <p:cNvPr id="106" name="Can 171">
            <a:extLst>
              <a:ext uri="{FF2B5EF4-FFF2-40B4-BE49-F238E27FC236}">
                <a16:creationId xmlns:a16="http://schemas.microsoft.com/office/drawing/2014/main" id="{31B8B73D-AD5D-4824-A69F-BCA68D245B3D}"/>
              </a:ext>
            </a:extLst>
          </p:cNvPr>
          <p:cNvSpPr/>
          <p:nvPr/>
        </p:nvSpPr>
        <p:spPr bwMode="auto">
          <a:xfrm>
            <a:off x="7687994" y="3833938"/>
            <a:ext cx="1143000" cy="285750"/>
          </a:xfrm>
          <a:prstGeom prst="can">
            <a:avLst/>
          </a:prstGeom>
          <a:solidFill>
            <a:srgbClr val="8246AF">
              <a:lumMod val="60000"/>
              <a:lumOff val="40000"/>
            </a:srgbClr>
          </a:solidFill>
          <a:ln w="9525" cap="flat" cmpd="sng" algn="ctr">
            <a:solidFill>
              <a:srgbClr val="8246AF"/>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07" name="Group 106">
            <a:extLst>
              <a:ext uri="{FF2B5EF4-FFF2-40B4-BE49-F238E27FC236}">
                <a16:creationId xmlns:a16="http://schemas.microsoft.com/office/drawing/2014/main" id="{1ACBBA19-AAF4-4926-AD82-8052CF55073D}"/>
              </a:ext>
            </a:extLst>
          </p:cNvPr>
          <p:cNvGrpSpPr/>
          <p:nvPr/>
        </p:nvGrpSpPr>
        <p:grpSpPr>
          <a:xfrm>
            <a:off x="5325809" y="2387408"/>
            <a:ext cx="380999" cy="285750"/>
            <a:chOff x="5334000" y="4648200"/>
            <a:chExt cx="1833563" cy="1399408"/>
          </a:xfrm>
        </p:grpSpPr>
        <p:pic>
          <p:nvPicPr>
            <p:cNvPr id="108" name="Picture 35" descr="Flash-Memory">
              <a:extLst>
                <a:ext uri="{FF2B5EF4-FFF2-40B4-BE49-F238E27FC236}">
                  <a16:creationId xmlns:a16="http://schemas.microsoft.com/office/drawing/2014/main" id="{2012DBCC-9B53-44D6-90A4-A2B5C132CC76}"/>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09" name="Rectangle 108">
              <a:extLst>
                <a:ext uri="{FF2B5EF4-FFF2-40B4-BE49-F238E27FC236}">
                  <a16:creationId xmlns:a16="http://schemas.microsoft.com/office/drawing/2014/main" id="{9D904C8B-CD51-4C1E-9991-F26C64D4558F}"/>
                </a:ext>
              </a:extLst>
            </p:cNvPr>
            <p:cNvSpPr/>
            <p:nvPr/>
          </p:nvSpPr>
          <p:spPr bwMode="auto">
            <a:xfrm>
              <a:off x="5562600" y="4851400"/>
              <a:ext cx="1371600" cy="990600"/>
            </a:xfrm>
            <a:prstGeom prst="rect">
              <a:avLst/>
            </a:prstGeom>
            <a:solidFill>
              <a:srgbClr val="8DC8E8">
                <a:lumMod val="60000"/>
                <a:lumOff val="4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10" name="Group 109">
            <a:extLst>
              <a:ext uri="{FF2B5EF4-FFF2-40B4-BE49-F238E27FC236}">
                <a16:creationId xmlns:a16="http://schemas.microsoft.com/office/drawing/2014/main" id="{579C4B2E-3784-418F-8470-4C064986B29B}"/>
              </a:ext>
            </a:extLst>
          </p:cNvPr>
          <p:cNvGrpSpPr/>
          <p:nvPr/>
        </p:nvGrpSpPr>
        <p:grpSpPr>
          <a:xfrm>
            <a:off x="5725860" y="2387408"/>
            <a:ext cx="380999" cy="285750"/>
            <a:chOff x="5334000" y="4648200"/>
            <a:chExt cx="1833563" cy="1399408"/>
          </a:xfrm>
        </p:grpSpPr>
        <p:pic>
          <p:nvPicPr>
            <p:cNvPr id="111" name="Picture 35" descr="Flash-Memory">
              <a:extLst>
                <a:ext uri="{FF2B5EF4-FFF2-40B4-BE49-F238E27FC236}">
                  <a16:creationId xmlns:a16="http://schemas.microsoft.com/office/drawing/2014/main" id="{3EC79E68-F322-4A56-8338-A998F547B403}"/>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12" name="Rectangle 111">
              <a:extLst>
                <a:ext uri="{FF2B5EF4-FFF2-40B4-BE49-F238E27FC236}">
                  <a16:creationId xmlns:a16="http://schemas.microsoft.com/office/drawing/2014/main" id="{74EAA55F-AB5C-4C60-9FC6-6CDA2BA1812D}"/>
                </a:ext>
              </a:extLst>
            </p:cNvPr>
            <p:cNvSpPr/>
            <p:nvPr/>
          </p:nvSpPr>
          <p:spPr bwMode="auto">
            <a:xfrm>
              <a:off x="5562600" y="4851400"/>
              <a:ext cx="1371600" cy="990600"/>
            </a:xfrm>
            <a:prstGeom prst="rect">
              <a:avLst/>
            </a:prstGeom>
            <a:solidFill>
              <a:srgbClr val="FEDD6D"/>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13" name="Group 112">
            <a:extLst>
              <a:ext uri="{FF2B5EF4-FFF2-40B4-BE49-F238E27FC236}">
                <a16:creationId xmlns:a16="http://schemas.microsoft.com/office/drawing/2014/main" id="{FB3D973C-F536-4550-AA47-219CC2E8E5BD}"/>
              </a:ext>
            </a:extLst>
          </p:cNvPr>
          <p:cNvGrpSpPr/>
          <p:nvPr/>
        </p:nvGrpSpPr>
        <p:grpSpPr>
          <a:xfrm>
            <a:off x="6430704" y="2387408"/>
            <a:ext cx="380999" cy="285750"/>
            <a:chOff x="5334000" y="4648200"/>
            <a:chExt cx="1833563" cy="1399408"/>
          </a:xfrm>
        </p:grpSpPr>
        <p:pic>
          <p:nvPicPr>
            <p:cNvPr id="114" name="Picture 35" descr="Flash-Memory">
              <a:extLst>
                <a:ext uri="{FF2B5EF4-FFF2-40B4-BE49-F238E27FC236}">
                  <a16:creationId xmlns:a16="http://schemas.microsoft.com/office/drawing/2014/main" id="{3BEE3FB9-2A2B-4704-B5B4-48B16318A1A9}"/>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15" name="Rectangle 114">
              <a:extLst>
                <a:ext uri="{FF2B5EF4-FFF2-40B4-BE49-F238E27FC236}">
                  <a16:creationId xmlns:a16="http://schemas.microsoft.com/office/drawing/2014/main" id="{80C76C9F-FDDC-4D54-96E5-381C44A8D8C3}"/>
                </a:ext>
              </a:extLst>
            </p:cNvPr>
            <p:cNvSpPr/>
            <p:nvPr/>
          </p:nvSpPr>
          <p:spPr bwMode="auto">
            <a:xfrm>
              <a:off x="5562600" y="4851400"/>
              <a:ext cx="1371600" cy="990600"/>
            </a:xfrm>
            <a:prstGeom prst="rect">
              <a:avLst/>
            </a:prstGeom>
            <a:solidFill>
              <a:srgbClr val="D45D00">
                <a:lumMod val="60000"/>
                <a:lumOff val="40000"/>
              </a:srgbClr>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16" name="Group 115">
            <a:extLst>
              <a:ext uri="{FF2B5EF4-FFF2-40B4-BE49-F238E27FC236}">
                <a16:creationId xmlns:a16="http://schemas.microsoft.com/office/drawing/2014/main" id="{83B389FE-1E35-4A24-952A-51AD2A603555}"/>
              </a:ext>
            </a:extLst>
          </p:cNvPr>
          <p:cNvGrpSpPr/>
          <p:nvPr/>
        </p:nvGrpSpPr>
        <p:grpSpPr>
          <a:xfrm>
            <a:off x="7159707" y="2387408"/>
            <a:ext cx="380999" cy="285750"/>
            <a:chOff x="5334000" y="4648200"/>
            <a:chExt cx="1833563" cy="1399408"/>
          </a:xfrm>
        </p:grpSpPr>
        <p:pic>
          <p:nvPicPr>
            <p:cNvPr id="117" name="Picture 35" descr="Flash-Memory">
              <a:extLst>
                <a:ext uri="{FF2B5EF4-FFF2-40B4-BE49-F238E27FC236}">
                  <a16:creationId xmlns:a16="http://schemas.microsoft.com/office/drawing/2014/main" id="{E2D2C8BB-B902-4433-8186-C3841F8D6D86}"/>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18" name="Rectangle 117">
              <a:extLst>
                <a:ext uri="{FF2B5EF4-FFF2-40B4-BE49-F238E27FC236}">
                  <a16:creationId xmlns:a16="http://schemas.microsoft.com/office/drawing/2014/main" id="{28455004-1D90-4805-978B-73CA3357E04D}"/>
                </a:ext>
              </a:extLst>
            </p:cNvPr>
            <p:cNvSpPr/>
            <p:nvPr/>
          </p:nvSpPr>
          <p:spPr bwMode="auto">
            <a:xfrm>
              <a:off x="5562600" y="4851400"/>
              <a:ext cx="1371600" cy="990600"/>
            </a:xfrm>
            <a:prstGeom prst="rect">
              <a:avLst/>
            </a:prstGeom>
            <a:solidFill>
              <a:srgbClr val="5785E0"/>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19" name="Group 118">
            <a:extLst>
              <a:ext uri="{FF2B5EF4-FFF2-40B4-BE49-F238E27FC236}">
                <a16:creationId xmlns:a16="http://schemas.microsoft.com/office/drawing/2014/main" id="{9A2B877B-B8C4-4BE8-8B54-98FC24C8C663}"/>
              </a:ext>
            </a:extLst>
          </p:cNvPr>
          <p:cNvGrpSpPr/>
          <p:nvPr/>
        </p:nvGrpSpPr>
        <p:grpSpPr>
          <a:xfrm>
            <a:off x="7726110" y="2387408"/>
            <a:ext cx="380999" cy="285750"/>
            <a:chOff x="5334000" y="4648200"/>
            <a:chExt cx="1833563" cy="1399408"/>
          </a:xfrm>
        </p:grpSpPr>
        <p:pic>
          <p:nvPicPr>
            <p:cNvPr id="120" name="Picture 35" descr="Flash-Memory">
              <a:extLst>
                <a:ext uri="{FF2B5EF4-FFF2-40B4-BE49-F238E27FC236}">
                  <a16:creationId xmlns:a16="http://schemas.microsoft.com/office/drawing/2014/main" id="{36272796-5A2C-4F2D-A0CF-870D9624D08A}"/>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21" name="Rectangle 120">
              <a:extLst>
                <a:ext uri="{FF2B5EF4-FFF2-40B4-BE49-F238E27FC236}">
                  <a16:creationId xmlns:a16="http://schemas.microsoft.com/office/drawing/2014/main" id="{CA59AA9B-D051-43E0-A254-32FD88A1A363}"/>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22" name="Group 121">
            <a:extLst>
              <a:ext uri="{FF2B5EF4-FFF2-40B4-BE49-F238E27FC236}">
                <a16:creationId xmlns:a16="http://schemas.microsoft.com/office/drawing/2014/main" id="{2B1E4C97-0635-41F1-A789-29C38EBD4B73}"/>
              </a:ext>
            </a:extLst>
          </p:cNvPr>
          <p:cNvGrpSpPr/>
          <p:nvPr/>
        </p:nvGrpSpPr>
        <p:grpSpPr>
          <a:xfrm>
            <a:off x="8126168" y="2387408"/>
            <a:ext cx="380999" cy="285750"/>
            <a:chOff x="5334000" y="4648200"/>
            <a:chExt cx="1833563" cy="1399408"/>
          </a:xfrm>
        </p:grpSpPr>
        <p:pic>
          <p:nvPicPr>
            <p:cNvPr id="123" name="Picture 35" descr="Flash-Memory">
              <a:extLst>
                <a:ext uri="{FF2B5EF4-FFF2-40B4-BE49-F238E27FC236}">
                  <a16:creationId xmlns:a16="http://schemas.microsoft.com/office/drawing/2014/main" id="{DDC136DC-253E-4B63-B4B1-51E0ABF429A6}"/>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24" name="Rectangle 123">
              <a:extLst>
                <a:ext uri="{FF2B5EF4-FFF2-40B4-BE49-F238E27FC236}">
                  <a16:creationId xmlns:a16="http://schemas.microsoft.com/office/drawing/2014/main" id="{84FFA77F-7A1D-4A08-A310-5416EA68F795}"/>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25" name="Group 124">
            <a:extLst>
              <a:ext uri="{FF2B5EF4-FFF2-40B4-BE49-F238E27FC236}">
                <a16:creationId xmlns:a16="http://schemas.microsoft.com/office/drawing/2014/main" id="{6E19555B-9AAC-4C4B-9924-DA0B1EE1A100}"/>
              </a:ext>
            </a:extLst>
          </p:cNvPr>
          <p:cNvGrpSpPr/>
          <p:nvPr/>
        </p:nvGrpSpPr>
        <p:grpSpPr>
          <a:xfrm>
            <a:off x="8526244" y="2387408"/>
            <a:ext cx="380999" cy="285750"/>
            <a:chOff x="5334000" y="4648200"/>
            <a:chExt cx="1833563" cy="1399408"/>
          </a:xfrm>
        </p:grpSpPr>
        <p:pic>
          <p:nvPicPr>
            <p:cNvPr id="126" name="Picture 35" descr="Flash-Memory">
              <a:extLst>
                <a:ext uri="{FF2B5EF4-FFF2-40B4-BE49-F238E27FC236}">
                  <a16:creationId xmlns:a16="http://schemas.microsoft.com/office/drawing/2014/main" id="{ECC5DB6E-0B50-4756-ADDB-F9CFE14F1E09}"/>
                </a:ext>
              </a:extLst>
            </p:cNvPr>
            <p:cNvPicPr>
              <a:picLocks noChangeAspect="1" noChangeArrowheads="1"/>
            </p:cNvPicPr>
            <p:nvPr/>
          </p:nvPicPr>
          <p:blipFill>
            <a:blip r:embed="rId3" cstate="print"/>
            <a:srcRect/>
            <a:stretch>
              <a:fillRect/>
            </a:stretch>
          </p:blipFill>
          <p:spPr bwMode="auto">
            <a:xfrm>
              <a:off x="5334000" y="4648200"/>
              <a:ext cx="1833563" cy="1399408"/>
            </a:xfrm>
            <a:prstGeom prst="rect">
              <a:avLst/>
            </a:prstGeom>
            <a:noFill/>
            <a:ln w="9525">
              <a:noFill/>
              <a:miter lim="800000"/>
              <a:headEnd/>
              <a:tailEnd/>
            </a:ln>
          </p:spPr>
        </p:pic>
        <p:sp>
          <p:nvSpPr>
            <p:cNvPr id="127" name="Rectangle 126">
              <a:extLst>
                <a:ext uri="{FF2B5EF4-FFF2-40B4-BE49-F238E27FC236}">
                  <a16:creationId xmlns:a16="http://schemas.microsoft.com/office/drawing/2014/main" id="{C535CA51-CD68-41CD-BE68-FDD5C4C3E85B}"/>
                </a:ext>
              </a:extLst>
            </p:cNvPr>
            <p:cNvSpPr/>
            <p:nvPr/>
          </p:nvSpPr>
          <p:spPr bwMode="auto">
            <a:xfrm>
              <a:off x="5562600" y="4851400"/>
              <a:ext cx="1371600" cy="990600"/>
            </a:xfrm>
            <a:prstGeom prst="rect">
              <a:avLst/>
            </a:prstGeom>
            <a:solidFill>
              <a:srgbClr val="946CD1"/>
            </a:solidFill>
            <a:ln w="9525" cap="flat" cmpd="sng" algn="ctr">
              <a:solidFill>
                <a:srgbClr val="9EA2A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28" name="Rounded Rectangle 205">
            <a:extLst>
              <a:ext uri="{FF2B5EF4-FFF2-40B4-BE49-F238E27FC236}">
                <a16:creationId xmlns:a16="http://schemas.microsoft.com/office/drawing/2014/main" id="{DF3A832B-E9CC-4DF9-8289-AABF074A46FD}"/>
              </a:ext>
            </a:extLst>
          </p:cNvPr>
          <p:cNvSpPr/>
          <p:nvPr/>
        </p:nvSpPr>
        <p:spPr bwMode="auto">
          <a:xfrm>
            <a:off x="7718474" y="1701608"/>
            <a:ext cx="533400" cy="342900"/>
          </a:xfrm>
          <a:prstGeom prst="roundRect">
            <a:avLst/>
          </a:prstGeom>
          <a:solidFill>
            <a:srgbClr val="8246AF">
              <a:lumMod val="60000"/>
              <a:lumOff val="40000"/>
            </a:srgbClr>
          </a:solidFill>
          <a:ln w="9525" cap="flat" cmpd="sng" algn="ctr">
            <a:solidFill>
              <a:srgbClr val="542D9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29" name="Rounded Rectangle 206">
            <a:extLst>
              <a:ext uri="{FF2B5EF4-FFF2-40B4-BE49-F238E27FC236}">
                <a16:creationId xmlns:a16="http://schemas.microsoft.com/office/drawing/2014/main" id="{138905CC-6AD4-4131-934A-6576B8905DA2}"/>
              </a:ext>
            </a:extLst>
          </p:cNvPr>
          <p:cNvSpPr/>
          <p:nvPr/>
        </p:nvSpPr>
        <p:spPr bwMode="auto">
          <a:xfrm>
            <a:off x="8311627" y="1701608"/>
            <a:ext cx="533400" cy="342900"/>
          </a:xfrm>
          <a:prstGeom prst="roundRect">
            <a:avLst/>
          </a:prstGeom>
          <a:solidFill>
            <a:srgbClr val="8246AF">
              <a:lumMod val="60000"/>
              <a:lumOff val="40000"/>
            </a:srgbClr>
          </a:solidFill>
          <a:ln w="9525" cap="flat" cmpd="sng" algn="ctr">
            <a:solidFill>
              <a:srgbClr val="8246AF"/>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30" name="Rounded Rectangle 207">
            <a:extLst>
              <a:ext uri="{FF2B5EF4-FFF2-40B4-BE49-F238E27FC236}">
                <a16:creationId xmlns:a16="http://schemas.microsoft.com/office/drawing/2014/main" id="{BB1D81B9-8B2A-4E01-B9BD-A6B534803B16}"/>
              </a:ext>
            </a:extLst>
          </p:cNvPr>
          <p:cNvSpPr/>
          <p:nvPr/>
        </p:nvSpPr>
        <p:spPr bwMode="auto">
          <a:xfrm>
            <a:off x="7080916" y="1701608"/>
            <a:ext cx="533400" cy="342900"/>
          </a:xfrm>
          <a:prstGeom prst="roundRect">
            <a:avLst/>
          </a:prstGeom>
          <a:solidFill>
            <a:srgbClr val="C8102E">
              <a:lumMod val="60000"/>
              <a:lumOff val="40000"/>
            </a:srgbClr>
          </a:solidFill>
          <a:ln w="9525" cap="flat" cmpd="sng" algn="ctr">
            <a:solidFill>
              <a:srgbClr val="C8102E"/>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31" name="Rounded Rectangle 208">
            <a:extLst>
              <a:ext uri="{FF2B5EF4-FFF2-40B4-BE49-F238E27FC236}">
                <a16:creationId xmlns:a16="http://schemas.microsoft.com/office/drawing/2014/main" id="{43077AAE-3C25-44F3-85DA-34876FE3F5D8}"/>
              </a:ext>
            </a:extLst>
          </p:cNvPr>
          <p:cNvSpPr/>
          <p:nvPr/>
        </p:nvSpPr>
        <p:spPr bwMode="auto">
          <a:xfrm>
            <a:off x="6407834" y="1701608"/>
            <a:ext cx="533400" cy="342900"/>
          </a:xfrm>
          <a:prstGeom prst="roundRect">
            <a:avLst/>
          </a:prstGeom>
          <a:solidFill>
            <a:srgbClr val="D45D00">
              <a:lumMod val="60000"/>
              <a:lumOff val="40000"/>
            </a:srgbClr>
          </a:solidFill>
          <a:ln w="9525" cap="flat" cmpd="sng" algn="ctr">
            <a:solidFill>
              <a:srgbClr val="D45D00"/>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32" name="Rounded Rectangle 209">
            <a:extLst>
              <a:ext uri="{FF2B5EF4-FFF2-40B4-BE49-F238E27FC236}">
                <a16:creationId xmlns:a16="http://schemas.microsoft.com/office/drawing/2014/main" id="{ED5C7497-4259-4CA5-A963-0E6E7C9C4EE3}"/>
              </a:ext>
            </a:extLst>
          </p:cNvPr>
          <p:cNvSpPr/>
          <p:nvPr/>
        </p:nvSpPr>
        <p:spPr bwMode="auto">
          <a:xfrm>
            <a:off x="5699228" y="1701608"/>
            <a:ext cx="533400" cy="342900"/>
          </a:xfrm>
          <a:prstGeom prst="roundRect">
            <a:avLst/>
          </a:prstGeom>
          <a:solidFill>
            <a:srgbClr val="8DC8E8">
              <a:alpha val="51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33" name="Rounded Rectangle 210">
            <a:extLst>
              <a:ext uri="{FF2B5EF4-FFF2-40B4-BE49-F238E27FC236}">
                <a16:creationId xmlns:a16="http://schemas.microsoft.com/office/drawing/2014/main" id="{003F7260-9C25-4F54-9466-96C045010A19}"/>
              </a:ext>
            </a:extLst>
          </p:cNvPr>
          <p:cNvSpPr/>
          <p:nvPr/>
        </p:nvSpPr>
        <p:spPr bwMode="auto">
          <a:xfrm>
            <a:off x="5097194" y="1701608"/>
            <a:ext cx="533400" cy="342900"/>
          </a:xfrm>
          <a:prstGeom prst="roundRect">
            <a:avLst/>
          </a:prstGeom>
          <a:solidFill>
            <a:srgbClr val="8DC8E8">
              <a:alpha val="51000"/>
            </a:srgbClr>
          </a:solidFill>
          <a:ln w="9525" cap="flat" cmpd="sng" algn="ctr">
            <a:solidFill>
              <a:srgbClr val="8DC8E8"/>
            </a:solidFill>
            <a:prstDash val="solid"/>
            <a:round/>
            <a:headEnd type="none" w="med" len="med"/>
            <a:tailEnd type="none" w="med" len="med"/>
          </a:ln>
          <a:effectLst/>
        </p:spPr>
        <p:txBody>
          <a:bodyPr vert="horz" wrap="none" lIns="68589" tIns="34295" rIns="68589" bIns="34295"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
                <a:srgbClr val="FEC60B"/>
              </a:buClr>
              <a:buSzTx/>
              <a:buFont typeface="Wingdings 2" pitchFamily="18" charset="2"/>
              <a:buNone/>
              <a:tabLst/>
              <a:defRPr/>
            </a:pPr>
            <a:r>
              <a:rPr kumimoji="0" lang="en-US" sz="1100" b="0" i="0" u="none" strike="noStrike" kern="0" cap="none" spc="0" normalizeH="0" baseline="0" noProof="0" dirty="0">
                <a:ln>
                  <a:noFill/>
                </a:ln>
                <a:solidFill>
                  <a:prstClr val="black"/>
                </a:solidFill>
                <a:effectLst/>
                <a:uLnTx/>
                <a:uFillTx/>
              </a:rPr>
              <a:t>App</a:t>
            </a:r>
          </a:p>
        </p:txBody>
      </p:sp>
      <p:sp>
        <p:nvSpPr>
          <p:cNvPr id="134" name="Rounded Rectangle 212">
            <a:extLst>
              <a:ext uri="{FF2B5EF4-FFF2-40B4-BE49-F238E27FC236}">
                <a16:creationId xmlns:a16="http://schemas.microsoft.com/office/drawing/2014/main" id="{6A63D6BE-DDA5-41BA-A726-80E4AB25219F}"/>
              </a:ext>
            </a:extLst>
          </p:cNvPr>
          <p:cNvSpPr/>
          <p:nvPr/>
        </p:nvSpPr>
        <p:spPr>
          <a:xfrm>
            <a:off x="5095490" y="3110485"/>
            <a:ext cx="3799288" cy="457200"/>
          </a:xfrm>
          <a:prstGeom prst="roundRect">
            <a:avLst/>
          </a:prstGeom>
          <a:solidFill>
            <a:srgbClr val="84BD0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b="1" dirty="0">
                <a:solidFill>
                  <a:prstClr val="white"/>
                </a:solidFill>
                <a:latin typeface="Arial" pitchFamily="-65" charset="0"/>
                <a:ea typeface="Arial" pitchFamily="-65" charset="0"/>
                <a:cs typeface="Arial" pitchFamily="-65" charset="0"/>
              </a:rPr>
              <a:t>Virtualized Network Pool</a:t>
            </a:r>
          </a:p>
        </p:txBody>
      </p:sp>
      <p:sp>
        <p:nvSpPr>
          <p:cNvPr id="135" name="Rectangle 134">
            <a:extLst>
              <a:ext uri="{FF2B5EF4-FFF2-40B4-BE49-F238E27FC236}">
                <a16:creationId xmlns:a16="http://schemas.microsoft.com/office/drawing/2014/main" id="{E85F1ABC-8651-458A-AC82-975FB2EF3FE5}"/>
              </a:ext>
            </a:extLst>
          </p:cNvPr>
          <p:cNvSpPr/>
          <p:nvPr/>
        </p:nvSpPr>
        <p:spPr>
          <a:xfrm>
            <a:off x="5611746" y="940050"/>
            <a:ext cx="2893484"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rPr>
              <a:t>OpenStack, Ansible, Puppet, Chef</a:t>
            </a:r>
          </a:p>
        </p:txBody>
      </p:sp>
    </p:spTree>
    <p:extLst>
      <p:ext uri="{BB962C8B-B14F-4D97-AF65-F5344CB8AC3E}">
        <p14:creationId xmlns:p14="http://schemas.microsoft.com/office/powerpoint/2010/main" val="816293420"/>
      </p:ext>
    </p:extLst>
  </p:cSld>
  <p:clrMapOvr>
    <a:masterClrMapping/>
  </p:clrMapOvr>
  <p:transition spd="slow">
    <p:circl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57A399A9-06A5-42E8-BC34-062DA4B49FF2}"/>
              </a:ext>
            </a:extLst>
          </p:cNvPr>
          <p:cNvSpPr txBox="1">
            <a:spLocks/>
          </p:cNvSpPr>
          <p:nvPr/>
        </p:nvSpPr>
        <p:spPr bwMode="auto">
          <a:xfrm>
            <a:off x="278058" y="259487"/>
            <a:ext cx="7521556" cy="437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lvl1pPr algn="l" defTabSz="685800" rtl="0" eaLnBrk="0" fontAlgn="base" hangingPunct="0">
              <a:lnSpc>
                <a:spcPct val="80000"/>
              </a:lnSpc>
              <a:spcBef>
                <a:spcPct val="0"/>
              </a:spcBef>
              <a:spcAft>
                <a:spcPct val="0"/>
              </a:spcAft>
              <a:defRPr sz="2800" b="1" kern="1200">
                <a:solidFill>
                  <a:schemeClr val="tx1"/>
                </a:solidFill>
                <a:latin typeface="+mj-lt"/>
                <a:ea typeface="+mj-ea"/>
                <a:cs typeface="+mj-cs"/>
              </a:defRPr>
            </a:lvl1pPr>
            <a:lvl2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2pPr>
            <a:lvl3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3pPr>
            <a:lvl4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4pPr>
            <a:lvl5pPr algn="l" defTabSz="685800" rtl="0" eaLnBrk="0" fontAlgn="base" hangingPunct="0">
              <a:lnSpc>
                <a:spcPct val="80000"/>
              </a:lnSpc>
              <a:spcBef>
                <a:spcPct val="0"/>
              </a:spcBef>
              <a:spcAft>
                <a:spcPct val="0"/>
              </a:spcAft>
              <a:defRPr sz="2200">
                <a:solidFill>
                  <a:schemeClr val="tx1"/>
                </a:solidFill>
                <a:latin typeface="Arial" panose="020B0604020202020204" pitchFamily="34" charset="0"/>
              </a:defRPr>
            </a:lvl5pPr>
            <a:lvl6pPr marL="457200" algn="l" defTabSz="685800" rtl="0" fontAlgn="base">
              <a:lnSpc>
                <a:spcPct val="80000"/>
              </a:lnSpc>
              <a:spcBef>
                <a:spcPct val="0"/>
              </a:spcBef>
              <a:spcAft>
                <a:spcPct val="0"/>
              </a:spcAft>
              <a:defRPr sz="2200">
                <a:solidFill>
                  <a:schemeClr val="tx1"/>
                </a:solidFill>
                <a:latin typeface="Arial" panose="020B0604020202020204" pitchFamily="34" charset="0"/>
              </a:defRPr>
            </a:lvl6pPr>
            <a:lvl7pPr marL="914400" algn="l" defTabSz="685800" rtl="0" fontAlgn="base">
              <a:lnSpc>
                <a:spcPct val="80000"/>
              </a:lnSpc>
              <a:spcBef>
                <a:spcPct val="0"/>
              </a:spcBef>
              <a:spcAft>
                <a:spcPct val="0"/>
              </a:spcAft>
              <a:defRPr sz="2200">
                <a:solidFill>
                  <a:schemeClr val="tx1"/>
                </a:solidFill>
                <a:latin typeface="Arial" panose="020B0604020202020204" pitchFamily="34" charset="0"/>
              </a:defRPr>
            </a:lvl7pPr>
            <a:lvl8pPr marL="1371600" algn="l" defTabSz="685800" rtl="0" fontAlgn="base">
              <a:lnSpc>
                <a:spcPct val="80000"/>
              </a:lnSpc>
              <a:spcBef>
                <a:spcPct val="0"/>
              </a:spcBef>
              <a:spcAft>
                <a:spcPct val="0"/>
              </a:spcAft>
              <a:defRPr sz="2200">
                <a:solidFill>
                  <a:schemeClr val="tx1"/>
                </a:solidFill>
                <a:latin typeface="Arial" panose="020B0604020202020204" pitchFamily="34" charset="0"/>
              </a:defRPr>
            </a:lvl8pPr>
            <a:lvl9pPr marL="1828800" algn="l" defTabSz="685800" rtl="0" fontAlgn="base">
              <a:lnSpc>
                <a:spcPct val="80000"/>
              </a:lnSpc>
              <a:spcBef>
                <a:spcPct val="0"/>
              </a:spcBef>
              <a:spcAft>
                <a:spcPct val="0"/>
              </a:spcAft>
              <a:defRPr sz="2200">
                <a:solidFill>
                  <a:schemeClr val="tx1"/>
                </a:solidFill>
                <a:latin typeface="Arial" panose="020B0604020202020204" pitchFamily="34" charset="0"/>
              </a:defRPr>
            </a:lvl9pPr>
          </a:lstStyle>
          <a:p>
            <a:pPr marL="0" marR="0" lvl="0" indent="0" algn="l" defTabSz="685800" rtl="0" eaLnBrk="0" fontAlgn="base" latinLnBrk="0" hangingPunct="0">
              <a:lnSpc>
                <a:spcPct val="8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j-ea"/>
                <a:cs typeface="+mj-cs"/>
              </a:rPr>
              <a:t>Flexibility to Adapt to Workloads</a:t>
            </a:r>
            <a:endParaRPr kumimoji="0" lang="en-US" sz="2800" b="1" i="0" u="none" strike="noStrike" kern="1200" cap="none" spc="0" normalizeH="0" baseline="0" noProof="0" dirty="0">
              <a:ln>
                <a:noFill/>
              </a:ln>
              <a:solidFill>
                <a:srgbClr val="000000"/>
              </a:solidFill>
              <a:effectLst/>
              <a:uLnTx/>
              <a:uFillTx/>
              <a:latin typeface="Arial"/>
              <a:ea typeface="+mj-ea"/>
              <a:cs typeface="+mj-cs"/>
            </a:endParaRPr>
          </a:p>
        </p:txBody>
      </p:sp>
      <p:grpSp>
        <p:nvGrpSpPr>
          <p:cNvPr id="52" name="Group 51">
            <a:extLst>
              <a:ext uri="{FF2B5EF4-FFF2-40B4-BE49-F238E27FC236}">
                <a16:creationId xmlns:a16="http://schemas.microsoft.com/office/drawing/2014/main" id="{4F6D7883-5DEE-47F5-9C2B-51A8D4FFD6C6}"/>
              </a:ext>
            </a:extLst>
          </p:cNvPr>
          <p:cNvGrpSpPr/>
          <p:nvPr/>
        </p:nvGrpSpPr>
        <p:grpSpPr>
          <a:xfrm>
            <a:off x="2738052" y="960142"/>
            <a:ext cx="3719453" cy="3517745"/>
            <a:chOff x="2738041" y="1280180"/>
            <a:chExt cx="3719453" cy="4690326"/>
          </a:xfrm>
        </p:grpSpPr>
        <p:sp>
          <p:nvSpPr>
            <p:cNvPr id="53" name="Rectangle 48">
              <a:extLst>
                <a:ext uri="{FF2B5EF4-FFF2-40B4-BE49-F238E27FC236}">
                  <a16:creationId xmlns:a16="http://schemas.microsoft.com/office/drawing/2014/main" id="{0323CAD1-1287-45AB-8B6F-171D3D1D5AB8}"/>
                </a:ext>
              </a:extLst>
            </p:cNvPr>
            <p:cNvSpPr>
              <a:spLocks noChangeArrowheads="1"/>
            </p:cNvSpPr>
            <p:nvPr/>
          </p:nvSpPr>
          <p:spPr bwMode="auto">
            <a:xfrm rot="5400000">
              <a:off x="5147546" y="1815181"/>
              <a:ext cx="67268" cy="252881"/>
            </a:xfrm>
            <a:prstGeom prst="rect">
              <a:avLst/>
            </a:prstGeom>
            <a:solidFill>
              <a:srgbClr val="00000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 name="Rectangle 49">
              <a:extLst>
                <a:ext uri="{FF2B5EF4-FFF2-40B4-BE49-F238E27FC236}">
                  <a16:creationId xmlns:a16="http://schemas.microsoft.com/office/drawing/2014/main" id="{92708741-56DD-4206-ACB4-5AF9C7DF287C}"/>
                </a:ext>
              </a:extLst>
            </p:cNvPr>
            <p:cNvSpPr>
              <a:spLocks noChangeArrowheads="1"/>
            </p:cNvSpPr>
            <p:nvPr/>
          </p:nvSpPr>
          <p:spPr bwMode="auto">
            <a:xfrm rot="5400000">
              <a:off x="5147546" y="2199897"/>
              <a:ext cx="67268" cy="252881"/>
            </a:xfrm>
            <a:prstGeom prst="rect">
              <a:avLst/>
            </a:prstGeom>
            <a:solidFill>
              <a:srgbClr val="8DC8E8"/>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 name="Rectangle 54">
              <a:extLst>
                <a:ext uri="{FF2B5EF4-FFF2-40B4-BE49-F238E27FC236}">
                  <a16:creationId xmlns:a16="http://schemas.microsoft.com/office/drawing/2014/main" id="{B19AD7F8-079F-4BC3-9EE6-F6A9D899FAF1}"/>
                </a:ext>
              </a:extLst>
            </p:cNvPr>
            <p:cNvSpPr/>
            <p:nvPr/>
          </p:nvSpPr>
          <p:spPr bwMode="auto">
            <a:xfrm rot="5400000">
              <a:off x="5147670" y="2389673"/>
              <a:ext cx="67319" cy="253179"/>
            </a:xfrm>
            <a:prstGeom prst="rect">
              <a:avLst/>
            </a:prstGeom>
            <a:solidFill>
              <a:srgbClr val="8246AF"/>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56" name="TextBox 51">
              <a:extLst>
                <a:ext uri="{FF2B5EF4-FFF2-40B4-BE49-F238E27FC236}">
                  <a16:creationId xmlns:a16="http://schemas.microsoft.com/office/drawing/2014/main" id="{B0C213EF-45D2-4E1C-AD20-35000D6E10C9}"/>
                </a:ext>
              </a:extLst>
            </p:cNvPr>
            <p:cNvSpPr txBox="1">
              <a:spLocks noChangeArrowheads="1"/>
            </p:cNvSpPr>
            <p:nvPr/>
          </p:nvSpPr>
          <p:spPr bwMode="auto">
            <a:xfrm>
              <a:off x="5303208" y="2357183"/>
              <a:ext cx="552405" cy="36933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IOPS</a:t>
              </a:r>
            </a:p>
          </p:txBody>
        </p:sp>
        <p:sp>
          <p:nvSpPr>
            <p:cNvPr id="57" name="TextBox 52">
              <a:extLst>
                <a:ext uri="{FF2B5EF4-FFF2-40B4-BE49-F238E27FC236}">
                  <a16:creationId xmlns:a16="http://schemas.microsoft.com/office/drawing/2014/main" id="{E4AC93DF-063A-4EA0-A53D-AC9905887ED0}"/>
                </a:ext>
              </a:extLst>
            </p:cNvPr>
            <p:cNvSpPr txBox="1">
              <a:spLocks noChangeArrowheads="1"/>
            </p:cNvSpPr>
            <p:nvPr/>
          </p:nvSpPr>
          <p:spPr bwMode="auto">
            <a:xfrm>
              <a:off x="5303978" y="1795724"/>
              <a:ext cx="509575" cy="36933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CPU</a:t>
              </a:r>
            </a:p>
          </p:txBody>
        </p:sp>
        <p:sp>
          <p:nvSpPr>
            <p:cNvPr id="58" name="TextBox 53">
              <a:extLst>
                <a:ext uri="{FF2B5EF4-FFF2-40B4-BE49-F238E27FC236}">
                  <a16:creationId xmlns:a16="http://schemas.microsoft.com/office/drawing/2014/main" id="{83FA9CDB-5EE6-4791-9324-7D01EDD71F98}"/>
                </a:ext>
              </a:extLst>
            </p:cNvPr>
            <p:cNvSpPr txBox="1">
              <a:spLocks noChangeArrowheads="1"/>
            </p:cNvSpPr>
            <p:nvPr/>
          </p:nvSpPr>
          <p:spPr bwMode="auto">
            <a:xfrm>
              <a:off x="5303978" y="2166407"/>
              <a:ext cx="783388" cy="36933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Capacity</a:t>
              </a:r>
            </a:p>
          </p:txBody>
        </p:sp>
        <p:sp>
          <p:nvSpPr>
            <p:cNvPr id="59" name="Rectangle 58">
              <a:extLst>
                <a:ext uri="{FF2B5EF4-FFF2-40B4-BE49-F238E27FC236}">
                  <a16:creationId xmlns:a16="http://schemas.microsoft.com/office/drawing/2014/main" id="{D3CC0263-327D-4940-BCFF-303CEDDEBB08}"/>
                </a:ext>
              </a:extLst>
            </p:cNvPr>
            <p:cNvSpPr/>
            <p:nvPr/>
          </p:nvSpPr>
          <p:spPr bwMode="auto">
            <a:xfrm rot="5400000">
              <a:off x="5155608" y="2014091"/>
              <a:ext cx="67319" cy="253179"/>
            </a:xfrm>
            <a:prstGeom prst="rect">
              <a:avLst/>
            </a:prstGeom>
            <a:solidFill>
              <a:srgbClr val="83AC3E"/>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60" name="TextBox 55">
              <a:extLst>
                <a:ext uri="{FF2B5EF4-FFF2-40B4-BE49-F238E27FC236}">
                  <a16:creationId xmlns:a16="http://schemas.microsoft.com/office/drawing/2014/main" id="{29A32985-373C-4436-B83A-3EB10E054BD5}"/>
                </a:ext>
              </a:extLst>
            </p:cNvPr>
            <p:cNvSpPr txBox="1">
              <a:spLocks noChangeArrowheads="1"/>
            </p:cNvSpPr>
            <p:nvPr/>
          </p:nvSpPr>
          <p:spPr bwMode="auto">
            <a:xfrm>
              <a:off x="5303978" y="1990871"/>
              <a:ext cx="740407" cy="36933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Memory</a:t>
              </a:r>
            </a:p>
          </p:txBody>
        </p:sp>
        <p:sp>
          <p:nvSpPr>
            <p:cNvPr id="61" name="TextBox 56">
              <a:extLst>
                <a:ext uri="{FF2B5EF4-FFF2-40B4-BE49-F238E27FC236}">
                  <a16:creationId xmlns:a16="http://schemas.microsoft.com/office/drawing/2014/main" id="{BA5AAE89-CD2E-4D7B-80E7-43688BFABBBF}"/>
                </a:ext>
              </a:extLst>
            </p:cNvPr>
            <p:cNvSpPr txBox="1">
              <a:spLocks noChangeArrowheads="1"/>
            </p:cNvSpPr>
            <p:nvPr/>
          </p:nvSpPr>
          <p:spPr bwMode="auto">
            <a:xfrm>
              <a:off x="2738041" y="1280180"/>
              <a:ext cx="3719453" cy="410369"/>
            </a:xfrm>
            <a:prstGeom prst="rect">
              <a:avLst/>
            </a:prstGeom>
            <a:noFill/>
            <a:ln w="9525">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rPr>
                <a:t>Production Balanced Infrastructure</a:t>
              </a:r>
            </a:p>
          </p:txBody>
        </p:sp>
        <p:pic>
          <p:nvPicPr>
            <p:cNvPr id="62" name="Picture 57" descr="flexpod_2_v4.png">
              <a:extLst>
                <a:ext uri="{FF2B5EF4-FFF2-40B4-BE49-F238E27FC236}">
                  <a16:creationId xmlns:a16="http://schemas.microsoft.com/office/drawing/2014/main" id="{9D1587E3-E428-44A0-B187-470205F4C90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4033897" y="1808424"/>
              <a:ext cx="901492" cy="4162082"/>
            </a:xfrm>
            <a:prstGeom prst="rect">
              <a:avLst/>
            </a:prstGeom>
            <a:noFill/>
            <a:ln w="9525">
              <a:noFill/>
              <a:miter lim="800000"/>
              <a:headEnd/>
              <a:tailEnd/>
            </a:ln>
          </p:spPr>
        </p:pic>
      </p:grpSp>
      <p:grpSp>
        <p:nvGrpSpPr>
          <p:cNvPr id="63" name="Group 62">
            <a:extLst>
              <a:ext uri="{FF2B5EF4-FFF2-40B4-BE49-F238E27FC236}">
                <a16:creationId xmlns:a16="http://schemas.microsoft.com/office/drawing/2014/main" id="{D47E81B4-2618-48AA-996F-D346A7D37021}"/>
              </a:ext>
            </a:extLst>
          </p:cNvPr>
          <p:cNvGrpSpPr/>
          <p:nvPr/>
        </p:nvGrpSpPr>
        <p:grpSpPr>
          <a:xfrm>
            <a:off x="1117227" y="1343171"/>
            <a:ext cx="7338911" cy="3325959"/>
            <a:chOff x="1117218" y="1790886"/>
            <a:chExt cx="7338911" cy="4434611"/>
          </a:xfrm>
        </p:grpSpPr>
        <p:pic>
          <p:nvPicPr>
            <p:cNvPr id="64" name="Picture 4">
              <a:extLst>
                <a:ext uri="{FF2B5EF4-FFF2-40B4-BE49-F238E27FC236}">
                  <a16:creationId xmlns:a16="http://schemas.microsoft.com/office/drawing/2014/main" id="{365E8486-17C0-429C-B592-F93067EA5449}"/>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747643" y="1790886"/>
              <a:ext cx="548015" cy="1795755"/>
            </a:xfrm>
            <a:prstGeom prst="rect">
              <a:avLst/>
            </a:prstGeom>
            <a:noFill/>
            <a:ln w="9525">
              <a:noFill/>
              <a:miter lim="800000"/>
              <a:headEnd/>
              <a:tailEnd/>
            </a:ln>
          </p:spPr>
        </p:pic>
        <p:sp>
          <p:nvSpPr>
            <p:cNvPr id="65" name="TextBox 13">
              <a:extLst>
                <a:ext uri="{FF2B5EF4-FFF2-40B4-BE49-F238E27FC236}">
                  <a16:creationId xmlns:a16="http://schemas.microsoft.com/office/drawing/2014/main" id="{8AF69724-A100-474D-95FC-9AA35B23AEF3}"/>
                </a:ext>
              </a:extLst>
            </p:cNvPr>
            <p:cNvSpPr txBox="1">
              <a:spLocks noChangeArrowheads="1"/>
            </p:cNvSpPr>
            <p:nvPr/>
          </p:nvSpPr>
          <p:spPr bwMode="auto">
            <a:xfrm>
              <a:off x="6697367" y="1810229"/>
              <a:ext cx="1027349" cy="697627"/>
            </a:xfrm>
            <a:prstGeom prst="rect">
              <a:avLst/>
            </a:prstGeom>
            <a:noFill/>
            <a:ln w="9525">
              <a:noFill/>
              <a:miter lim="800000"/>
              <a:headEnd/>
              <a:tailEnd/>
            </a:ln>
          </p:spPr>
          <p:txBody>
            <a:bodyP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67C5"/>
                  </a:solidFill>
                  <a:effectLst/>
                  <a:uLnTx/>
                  <a:uFillTx/>
                </a:rPr>
                <a:t>Develop and Test</a:t>
              </a:r>
            </a:p>
          </p:txBody>
        </p:sp>
        <p:sp>
          <p:nvSpPr>
            <p:cNvPr id="66" name="TextBox 19">
              <a:extLst>
                <a:ext uri="{FF2B5EF4-FFF2-40B4-BE49-F238E27FC236}">
                  <a16:creationId xmlns:a16="http://schemas.microsoft.com/office/drawing/2014/main" id="{BED67E96-E580-4B98-B841-A9CA38707A95}"/>
                </a:ext>
              </a:extLst>
            </p:cNvPr>
            <p:cNvSpPr txBox="1">
              <a:spLocks noChangeArrowheads="1"/>
            </p:cNvSpPr>
            <p:nvPr/>
          </p:nvSpPr>
          <p:spPr bwMode="auto">
            <a:xfrm>
              <a:off x="1603800" y="4235450"/>
              <a:ext cx="1437705" cy="410369"/>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67C5"/>
                  </a:solidFill>
                  <a:effectLst/>
                  <a:uLnTx/>
                  <a:uFillTx/>
                </a:rPr>
                <a:t>Starting Out</a:t>
              </a:r>
            </a:p>
          </p:txBody>
        </p:sp>
        <p:pic>
          <p:nvPicPr>
            <p:cNvPr id="67" name="Picture 8">
              <a:extLst>
                <a:ext uri="{FF2B5EF4-FFF2-40B4-BE49-F238E27FC236}">
                  <a16:creationId xmlns:a16="http://schemas.microsoft.com/office/drawing/2014/main" id="{0A932489-2CE9-4851-B06F-CE879CE4CC2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386340" y="4249094"/>
              <a:ext cx="1069789" cy="1747372"/>
            </a:xfrm>
            <a:prstGeom prst="rect">
              <a:avLst/>
            </a:prstGeom>
            <a:noFill/>
            <a:ln w="9525">
              <a:noFill/>
              <a:miter lim="800000"/>
              <a:headEnd/>
              <a:tailEnd/>
            </a:ln>
          </p:spPr>
        </p:pic>
        <p:sp>
          <p:nvSpPr>
            <p:cNvPr id="68" name="TextBox 42">
              <a:extLst>
                <a:ext uri="{FF2B5EF4-FFF2-40B4-BE49-F238E27FC236}">
                  <a16:creationId xmlns:a16="http://schemas.microsoft.com/office/drawing/2014/main" id="{BC95AD56-660C-456B-8284-61D9F8D3BF72}"/>
                </a:ext>
              </a:extLst>
            </p:cNvPr>
            <p:cNvSpPr txBox="1">
              <a:spLocks noChangeArrowheads="1"/>
            </p:cNvSpPr>
            <p:nvPr/>
          </p:nvSpPr>
          <p:spPr bwMode="auto">
            <a:xfrm>
              <a:off x="5852409" y="4148970"/>
              <a:ext cx="1533707" cy="697627"/>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67C5"/>
                  </a:solidFill>
                  <a:effectLst/>
                  <a:uLnTx/>
                  <a:uFillTx/>
                </a:rPr>
                <a:t>Data Protection and Backup</a:t>
              </a:r>
            </a:p>
          </p:txBody>
        </p:sp>
        <p:sp>
          <p:nvSpPr>
            <p:cNvPr id="69" name="TextBox 26">
              <a:extLst>
                <a:ext uri="{FF2B5EF4-FFF2-40B4-BE49-F238E27FC236}">
                  <a16:creationId xmlns:a16="http://schemas.microsoft.com/office/drawing/2014/main" id="{3D06120E-6986-462F-8104-43CD15B3C570}"/>
                </a:ext>
              </a:extLst>
            </p:cNvPr>
            <p:cNvSpPr txBox="1">
              <a:spLocks noChangeArrowheads="1"/>
            </p:cNvSpPr>
            <p:nvPr/>
          </p:nvSpPr>
          <p:spPr bwMode="auto">
            <a:xfrm>
              <a:off x="6234445" y="3187978"/>
              <a:ext cx="1503211" cy="574516"/>
            </a:xfrm>
            <a:prstGeom prst="rect">
              <a:avLst/>
            </a:prstGeom>
            <a:noFill/>
            <a:ln w="9525">
              <a:noFill/>
              <a:miter lim="800000"/>
              <a:headEnd/>
              <a:tailEnd/>
            </a:ln>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More Computing and</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Less Storage</a:t>
              </a:r>
            </a:p>
          </p:txBody>
        </p:sp>
        <p:sp>
          <p:nvSpPr>
            <p:cNvPr id="70" name="TextBox 28">
              <a:extLst>
                <a:ext uri="{FF2B5EF4-FFF2-40B4-BE49-F238E27FC236}">
                  <a16:creationId xmlns:a16="http://schemas.microsoft.com/office/drawing/2014/main" id="{DB514E5B-AAEE-40B1-B0E5-364EC536635B}"/>
                </a:ext>
              </a:extLst>
            </p:cNvPr>
            <p:cNvSpPr txBox="1">
              <a:spLocks noChangeArrowheads="1"/>
            </p:cNvSpPr>
            <p:nvPr/>
          </p:nvSpPr>
          <p:spPr bwMode="auto">
            <a:xfrm>
              <a:off x="5878596" y="5650981"/>
              <a:ext cx="1478559" cy="574516"/>
            </a:xfrm>
            <a:prstGeom prst="rect">
              <a:avLst/>
            </a:prstGeom>
            <a:noFill/>
            <a:ln w="9525">
              <a:noFill/>
              <a:miter lim="800000"/>
              <a:headEnd/>
              <a:tailEnd/>
            </a:ln>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Less Computing and</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More Storage</a:t>
              </a:r>
            </a:p>
          </p:txBody>
        </p:sp>
        <p:sp>
          <p:nvSpPr>
            <p:cNvPr id="71" name="TextBox 29">
              <a:extLst>
                <a:ext uri="{FF2B5EF4-FFF2-40B4-BE49-F238E27FC236}">
                  <a16:creationId xmlns:a16="http://schemas.microsoft.com/office/drawing/2014/main" id="{6683F15D-FA76-4EF7-A52C-2F918C7D0B7F}"/>
                </a:ext>
              </a:extLst>
            </p:cNvPr>
            <p:cNvSpPr txBox="1">
              <a:spLocks noChangeArrowheads="1"/>
            </p:cNvSpPr>
            <p:nvPr/>
          </p:nvSpPr>
          <p:spPr bwMode="auto">
            <a:xfrm>
              <a:off x="1622113" y="5636837"/>
              <a:ext cx="1540894" cy="574516"/>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Deploy Entry System; </a:t>
              </a:r>
              <a:br>
                <a:rPr kumimoji="0" lang="en-US" sz="1100" b="0" i="0" u="none" strike="noStrike" kern="0" cap="none" spc="0" normalizeH="0" baseline="0" noProof="0" dirty="0">
                  <a:ln>
                    <a:noFill/>
                  </a:ln>
                  <a:solidFill>
                    <a:srgbClr val="000000"/>
                  </a:solidFill>
                  <a:effectLst/>
                  <a:uLnTx/>
                  <a:uFillTx/>
                </a:rPr>
              </a:br>
              <a:r>
                <a:rPr kumimoji="0" lang="en-US" sz="1100" b="0" i="0" u="none" strike="noStrike" kern="0" cap="none" spc="0" normalizeH="0" baseline="0" noProof="0" dirty="0">
                  <a:ln>
                    <a:noFill/>
                  </a:ln>
                  <a:solidFill>
                    <a:srgbClr val="000000"/>
                  </a:solidFill>
                  <a:effectLst/>
                  <a:uLnTx/>
                  <a:uFillTx/>
                </a:rPr>
                <a:t>Then Scale Up</a:t>
              </a:r>
            </a:p>
          </p:txBody>
        </p:sp>
        <p:pic>
          <p:nvPicPr>
            <p:cNvPr id="72" name="Picture 5">
              <a:extLst>
                <a:ext uri="{FF2B5EF4-FFF2-40B4-BE49-F238E27FC236}">
                  <a16:creationId xmlns:a16="http://schemas.microsoft.com/office/drawing/2014/main" id="{CD1A62E1-B2B5-4DDA-B7CE-E5E2FEAA999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117219" y="1803400"/>
              <a:ext cx="504894" cy="1805910"/>
            </a:xfrm>
            <a:prstGeom prst="rect">
              <a:avLst/>
            </a:prstGeom>
            <a:noFill/>
            <a:ln w="9525">
              <a:noFill/>
              <a:miter lim="800000"/>
              <a:headEnd/>
              <a:tailEnd/>
            </a:ln>
          </p:spPr>
        </p:pic>
        <p:sp>
          <p:nvSpPr>
            <p:cNvPr id="73" name="TextBox 33">
              <a:extLst>
                <a:ext uri="{FF2B5EF4-FFF2-40B4-BE49-F238E27FC236}">
                  <a16:creationId xmlns:a16="http://schemas.microsoft.com/office/drawing/2014/main" id="{3149E311-CEA7-41BC-BF15-FFAC591A9A7F}"/>
                </a:ext>
              </a:extLst>
            </p:cNvPr>
            <p:cNvSpPr txBox="1">
              <a:spLocks noChangeArrowheads="1"/>
            </p:cNvSpPr>
            <p:nvPr/>
          </p:nvSpPr>
          <p:spPr bwMode="auto">
            <a:xfrm>
              <a:off x="1602114" y="1803401"/>
              <a:ext cx="772708" cy="410369"/>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67C5"/>
                  </a:solidFill>
                  <a:effectLst/>
                  <a:uLnTx/>
                  <a:uFillTx/>
                </a:rPr>
                <a:t>VDI</a:t>
              </a:r>
            </a:p>
          </p:txBody>
        </p:sp>
        <p:sp>
          <p:nvSpPr>
            <p:cNvPr id="74" name="TextBox 34">
              <a:extLst>
                <a:ext uri="{FF2B5EF4-FFF2-40B4-BE49-F238E27FC236}">
                  <a16:creationId xmlns:a16="http://schemas.microsoft.com/office/drawing/2014/main" id="{1F80803E-6264-490F-BA38-E4152D1F7764}"/>
                </a:ext>
              </a:extLst>
            </p:cNvPr>
            <p:cNvSpPr txBox="1">
              <a:spLocks noChangeArrowheads="1"/>
            </p:cNvSpPr>
            <p:nvPr/>
          </p:nvSpPr>
          <p:spPr bwMode="auto">
            <a:xfrm>
              <a:off x="1608942" y="3274811"/>
              <a:ext cx="2089929" cy="574516"/>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Higher Perform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rPr>
                <a:t>Blades, Flash, and More IOPS</a:t>
              </a:r>
            </a:p>
          </p:txBody>
        </p:sp>
        <p:grpSp>
          <p:nvGrpSpPr>
            <p:cNvPr id="75" name="Group 74">
              <a:extLst>
                <a:ext uri="{FF2B5EF4-FFF2-40B4-BE49-F238E27FC236}">
                  <a16:creationId xmlns:a16="http://schemas.microsoft.com/office/drawing/2014/main" id="{397CBF5A-F7C8-49DB-9AE1-5C22CEDB8245}"/>
                </a:ext>
              </a:extLst>
            </p:cNvPr>
            <p:cNvGrpSpPr/>
            <p:nvPr/>
          </p:nvGrpSpPr>
          <p:grpSpPr>
            <a:xfrm>
              <a:off x="1706262" y="2897971"/>
              <a:ext cx="342450" cy="376109"/>
              <a:chOff x="1706262" y="2897971"/>
              <a:chExt cx="342450" cy="376109"/>
            </a:xfrm>
          </p:grpSpPr>
          <p:sp>
            <p:nvSpPr>
              <p:cNvPr id="96" name="Rectangle 95">
                <a:extLst>
                  <a:ext uri="{FF2B5EF4-FFF2-40B4-BE49-F238E27FC236}">
                    <a16:creationId xmlns:a16="http://schemas.microsoft.com/office/drawing/2014/main" id="{F4A55506-FF9E-44C6-852B-0CF63A8559E6}"/>
                  </a:ext>
                </a:extLst>
              </p:cNvPr>
              <p:cNvSpPr>
                <a:spLocks noChangeArrowheads="1"/>
              </p:cNvSpPr>
              <p:nvPr/>
            </p:nvSpPr>
            <p:spPr bwMode="auto">
              <a:xfrm rot="5400000">
                <a:off x="1846023" y="2762601"/>
                <a:ext cx="67319" cy="338059"/>
              </a:xfrm>
              <a:prstGeom prst="rect">
                <a:avLst/>
              </a:prstGeom>
              <a:solidFill>
                <a:srgbClr val="00000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 name="Rectangle 96">
                <a:extLst>
                  <a:ext uri="{FF2B5EF4-FFF2-40B4-BE49-F238E27FC236}">
                    <a16:creationId xmlns:a16="http://schemas.microsoft.com/office/drawing/2014/main" id="{19ABA61D-17CE-4FA4-9C5F-0A0923618962}"/>
                  </a:ext>
                </a:extLst>
              </p:cNvPr>
              <p:cNvSpPr/>
              <p:nvPr/>
            </p:nvSpPr>
            <p:spPr bwMode="auto">
              <a:xfrm rot="5400000">
                <a:off x="1803583" y="2906019"/>
                <a:ext cx="67319" cy="253178"/>
              </a:xfrm>
              <a:prstGeom prst="rect">
                <a:avLst/>
              </a:prstGeom>
              <a:solidFill>
                <a:srgbClr val="83AC3E"/>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98" name="Rectangle 97">
                <a:extLst>
                  <a:ext uri="{FF2B5EF4-FFF2-40B4-BE49-F238E27FC236}">
                    <a16:creationId xmlns:a16="http://schemas.microsoft.com/office/drawing/2014/main" id="{4ED4536B-D01C-4330-BB69-FDCD81D85985}"/>
                  </a:ext>
                </a:extLst>
              </p:cNvPr>
              <p:cNvSpPr/>
              <p:nvPr/>
            </p:nvSpPr>
            <p:spPr bwMode="auto">
              <a:xfrm rot="5400000">
                <a:off x="1756752" y="3156271"/>
                <a:ext cx="67319" cy="168299"/>
              </a:xfrm>
              <a:prstGeom prst="rect">
                <a:avLst/>
              </a:prstGeom>
              <a:solidFill>
                <a:srgbClr val="8246AF"/>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99" name="Rectangle 98">
                <a:extLst>
                  <a:ext uri="{FF2B5EF4-FFF2-40B4-BE49-F238E27FC236}">
                    <a16:creationId xmlns:a16="http://schemas.microsoft.com/office/drawing/2014/main" id="{9FA79765-B742-4A7E-AA49-BA36F6084397}"/>
                  </a:ext>
                </a:extLst>
              </p:cNvPr>
              <p:cNvSpPr/>
              <p:nvPr/>
            </p:nvSpPr>
            <p:spPr bwMode="auto">
              <a:xfrm rot="5400000">
                <a:off x="1846023" y="2966021"/>
                <a:ext cx="67319" cy="338059"/>
              </a:xfrm>
              <a:prstGeom prst="rect">
                <a:avLst/>
              </a:prstGeom>
              <a:solidFill>
                <a:srgbClr val="8DC8E8"/>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grpSp>
        <p:grpSp>
          <p:nvGrpSpPr>
            <p:cNvPr id="76" name="Group 75">
              <a:extLst>
                <a:ext uri="{FF2B5EF4-FFF2-40B4-BE49-F238E27FC236}">
                  <a16:creationId xmlns:a16="http://schemas.microsoft.com/office/drawing/2014/main" id="{4635CF6F-3E4F-4B81-B92B-F22C62D2E9D4}"/>
                </a:ext>
              </a:extLst>
            </p:cNvPr>
            <p:cNvGrpSpPr/>
            <p:nvPr/>
          </p:nvGrpSpPr>
          <p:grpSpPr>
            <a:xfrm>
              <a:off x="1739921" y="5246690"/>
              <a:ext cx="100979" cy="370255"/>
              <a:chOff x="1739921" y="5246690"/>
              <a:chExt cx="100979" cy="370255"/>
            </a:xfrm>
          </p:grpSpPr>
          <p:sp>
            <p:nvSpPr>
              <p:cNvPr id="92" name="Rectangle 31">
                <a:extLst>
                  <a:ext uri="{FF2B5EF4-FFF2-40B4-BE49-F238E27FC236}">
                    <a16:creationId xmlns:a16="http://schemas.microsoft.com/office/drawing/2014/main" id="{63694F72-95ED-4EE2-BDCD-C9B3C15A4D5C}"/>
                  </a:ext>
                </a:extLst>
              </p:cNvPr>
              <p:cNvSpPr>
                <a:spLocks noChangeArrowheads="1"/>
              </p:cNvSpPr>
              <p:nvPr/>
            </p:nvSpPr>
            <p:spPr bwMode="auto">
              <a:xfrm rot="5400000">
                <a:off x="1756751" y="5229860"/>
                <a:ext cx="67319" cy="100979"/>
              </a:xfrm>
              <a:prstGeom prst="rect">
                <a:avLst/>
              </a:prstGeom>
              <a:solidFill>
                <a:srgbClr val="00000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 name="Rectangle 92">
                <a:extLst>
                  <a:ext uri="{FF2B5EF4-FFF2-40B4-BE49-F238E27FC236}">
                    <a16:creationId xmlns:a16="http://schemas.microsoft.com/office/drawing/2014/main" id="{68BF833D-8693-4CF0-B98A-2C47DD9C36DE}"/>
                  </a:ext>
                </a:extLst>
              </p:cNvPr>
              <p:cNvSpPr/>
              <p:nvPr/>
            </p:nvSpPr>
            <p:spPr bwMode="auto">
              <a:xfrm rot="5400000">
                <a:off x="1756751" y="5330839"/>
                <a:ext cx="67319" cy="100979"/>
              </a:xfrm>
              <a:prstGeom prst="rect">
                <a:avLst/>
              </a:prstGeom>
              <a:solidFill>
                <a:srgbClr val="83AC3E"/>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94" name="Rectangle 35">
                <a:extLst>
                  <a:ext uri="{FF2B5EF4-FFF2-40B4-BE49-F238E27FC236}">
                    <a16:creationId xmlns:a16="http://schemas.microsoft.com/office/drawing/2014/main" id="{C6A8EA21-A6F0-4CB0-8BBB-B7E0887AC0C0}"/>
                  </a:ext>
                </a:extLst>
              </p:cNvPr>
              <p:cNvSpPr>
                <a:spLocks noChangeArrowheads="1"/>
              </p:cNvSpPr>
              <p:nvPr/>
            </p:nvSpPr>
            <p:spPr bwMode="auto">
              <a:xfrm rot="5400000">
                <a:off x="1756751" y="5431817"/>
                <a:ext cx="67319" cy="100979"/>
              </a:xfrm>
              <a:prstGeom prst="rect">
                <a:avLst/>
              </a:prstGeom>
              <a:solidFill>
                <a:srgbClr val="8DC8E8"/>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 name="Rectangle 94">
                <a:extLst>
                  <a:ext uri="{FF2B5EF4-FFF2-40B4-BE49-F238E27FC236}">
                    <a16:creationId xmlns:a16="http://schemas.microsoft.com/office/drawing/2014/main" id="{076C33FA-5C21-4C28-9EBB-248852F5603F}"/>
                  </a:ext>
                </a:extLst>
              </p:cNvPr>
              <p:cNvSpPr/>
              <p:nvPr/>
            </p:nvSpPr>
            <p:spPr bwMode="auto">
              <a:xfrm rot="5400000">
                <a:off x="1756751" y="5532796"/>
                <a:ext cx="67319" cy="100979"/>
              </a:xfrm>
              <a:prstGeom prst="rect">
                <a:avLst/>
              </a:prstGeom>
              <a:solidFill>
                <a:srgbClr val="8246AF"/>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grpSp>
        <p:grpSp>
          <p:nvGrpSpPr>
            <p:cNvPr id="77" name="Group 76">
              <a:extLst>
                <a:ext uri="{FF2B5EF4-FFF2-40B4-BE49-F238E27FC236}">
                  <a16:creationId xmlns:a16="http://schemas.microsoft.com/office/drawing/2014/main" id="{FDF115EC-CD87-4EBD-95E3-135ADEB05519}"/>
                </a:ext>
              </a:extLst>
            </p:cNvPr>
            <p:cNvGrpSpPr/>
            <p:nvPr/>
          </p:nvGrpSpPr>
          <p:grpSpPr>
            <a:xfrm>
              <a:off x="7186493" y="2834424"/>
              <a:ext cx="449282" cy="370255"/>
              <a:chOff x="7186493" y="2834424"/>
              <a:chExt cx="449282" cy="370255"/>
            </a:xfrm>
          </p:grpSpPr>
          <p:sp>
            <p:nvSpPr>
              <p:cNvPr id="88" name="Rectangle 39">
                <a:extLst>
                  <a:ext uri="{FF2B5EF4-FFF2-40B4-BE49-F238E27FC236}">
                    <a16:creationId xmlns:a16="http://schemas.microsoft.com/office/drawing/2014/main" id="{0AD4EE94-DB34-474E-92E5-7887FD50B22E}"/>
                  </a:ext>
                </a:extLst>
              </p:cNvPr>
              <p:cNvSpPr>
                <a:spLocks noChangeArrowheads="1"/>
              </p:cNvSpPr>
              <p:nvPr/>
            </p:nvSpPr>
            <p:spPr bwMode="auto">
              <a:xfrm rot="5400000">
                <a:off x="7321131" y="2699786"/>
                <a:ext cx="67319" cy="336596"/>
              </a:xfrm>
              <a:prstGeom prst="rect">
                <a:avLst/>
              </a:prstGeom>
              <a:solidFill>
                <a:srgbClr val="00000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 name="Rectangle 88">
                <a:extLst>
                  <a:ext uri="{FF2B5EF4-FFF2-40B4-BE49-F238E27FC236}">
                    <a16:creationId xmlns:a16="http://schemas.microsoft.com/office/drawing/2014/main" id="{4968F17D-D939-4D0E-88C8-F3C82CDDA394}"/>
                  </a:ext>
                </a:extLst>
              </p:cNvPr>
              <p:cNvSpPr/>
              <p:nvPr/>
            </p:nvSpPr>
            <p:spPr bwMode="auto">
              <a:xfrm rot="5400000">
                <a:off x="7377474" y="2744421"/>
                <a:ext cx="67319" cy="449282"/>
              </a:xfrm>
              <a:prstGeom prst="rect">
                <a:avLst/>
              </a:prstGeom>
              <a:solidFill>
                <a:srgbClr val="83AC3E"/>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90" name="Rectangle 41">
                <a:extLst>
                  <a:ext uri="{FF2B5EF4-FFF2-40B4-BE49-F238E27FC236}">
                    <a16:creationId xmlns:a16="http://schemas.microsoft.com/office/drawing/2014/main" id="{9848B573-DADE-4E17-8B56-C756219F0DD1}"/>
                  </a:ext>
                </a:extLst>
              </p:cNvPr>
              <p:cNvSpPr>
                <a:spLocks noChangeArrowheads="1"/>
              </p:cNvSpPr>
              <p:nvPr/>
            </p:nvSpPr>
            <p:spPr bwMode="auto">
              <a:xfrm rot="5400000">
                <a:off x="7236982" y="2985893"/>
                <a:ext cx="67319" cy="168298"/>
              </a:xfrm>
              <a:prstGeom prst="rect">
                <a:avLst/>
              </a:prstGeom>
              <a:solidFill>
                <a:srgbClr val="8DC8E8"/>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 name="Rectangle 90">
                <a:extLst>
                  <a:ext uri="{FF2B5EF4-FFF2-40B4-BE49-F238E27FC236}">
                    <a16:creationId xmlns:a16="http://schemas.microsoft.com/office/drawing/2014/main" id="{27079864-5F65-4497-801D-5B68DE0EAD4E}"/>
                  </a:ext>
                </a:extLst>
              </p:cNvPr>
              <p:cNvSpPr/>
              <p:nvPr/>
            </p:nvSpPr>
            <p:spPr bwMode="auto">
              <a:xfrm rot="5400000">
                <a:off x="7236982" y="3086871"/>
                <a:ext cx="67319" cy="168298"/>
              </a:xfrm>
              <a:prstGeom prst="rect">
                <a:avLst/>
              </a:prstGeom>
              <a:solidFill>
                <a:srgbClr val="8246AF"/>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grpSp>
        <p:grpSp>
          <p:nvGrpSpPr>
            <p:cNvPr id="78" name="Group 77">
              <a:extLst>
                <a:ext uri="{FF2B5EF4-FFF2-40B4-BE49-F238E27FC236}">
                  <a16:creationId xmlns:a16="http://schemas.microsoft.com/office/drawing/2014/main" id="{5AABC749-1A45-4090-815D-DAB83B405761}"/>
                </a:ext>
              </a:extLst>
            </p:cNvPr>
            <p:cNvGrpSpPr/>
            <p:nvPr/>
          </p:nvGrpSpPr>
          <p:grpSpPr>
            <a:xfrm>
              <a:off x="6668060" y="5247498"/>
              <a:ext cx="504894" cy="370255"/>
              <a:chOff x="6668060" y="5247498"/>
              <a:chExt cx="504894" cy="370255"/>
            </a:xfrm>
          </p:grpSpPr>
          <p:sp>
            <p:nvSpPr>
              <p:cNvPr id="84" name="Rectangle 44">
                <a:extLst>
                  <a:ext uri="{FF2B5EF4-FFF2-40B4-BE49-F238E27FC236}">
                    <a16:creationId xmlns:a16="http://schemas.microsoft.com/office/drawing/2014/main" id="{5F13B100-3BAC-411D-8CE0-5B24E06959F5}"/>
                  </a:ext>
                </a:extLst>
              </p:cNvPr>
              <p:cNvSpPr>
                <a:spLocks noChangeArrowheads="1"/>
              </p:cNvSpPr>
              <p:nvPr/>
            </p:nvSpPr>
            <p:spPr bwMode="auto">
              <a:xfrm rot="5400000">
                <a:off x="6676109" y="5239449"/>
                <a:ext cx="67319" cy="83418"/>
              </a:xfrm>
              <a:prstGeom prst="rect">
                <a:avLst/>
              </a:prstGeom>
              <a:solidFill>
                <a:srgbClr val="00000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 name="Rectangle 84">
                <a:extLst>
                  <a:ext uri="{FF2B5EF4-FFF2-40B4-BE49-F238E27FC236}">
                    <a16:creationId xmlns:a16="http://schemas.microsoft.com/office/drawing/2014/main" id="{681C6861-FE4C-4475-8AEA-CA2ED6F7EACD}"/>
                  </a:ext>
                </a:extLst>
              </p:cNvPr>
              <p:cNvSpPr/>
              <p:nvPr/>
            </p:nvSpPr>
            <p:spPr bwMode="auto">
              <a:xfrm rot="5400000">
                <a:off x="6676109" y="5340428"/>
                <a:ext cx="67319" cy="83418"/>
              </a:xfrm>
              <a:prstGeom prst="rect">
                <a:avLst/>
              </a:prstGeom>
              <a:solidFill>
                <a:srgbClr val="83AC3E"/>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sp>
            <p:nvSpPr>
              <p:cNvPr id="86" name="Rectangle 46">
                <a:extLst>
                  <a:ext uri="{FF2B5EF4-FFF2-40B4-BE49-F238E27FC236}">
                    <a16:creationId xmlns:a16="http://schemas.microsoft.com/office/drawing/2014/main" id="{B10BD4C8-FFC9-4DBA-9606-E16232D6EB00}"/>
                  </a:ext>
                </a:extLst>
              </p:cNvPr>
              <p:cNvSpPr>
                <a:spLocks noChangeArrowheads="1"/>
              </p:cNvSpPr>
              <p:nvPr/>
            </p:nvSpPr>
            <p:spPr bwMode="auto">
              <a:xfrm rot="5400000">
                <a:off x="6886847" y="5230669"/>
                <a:ext cx="67319" cy="504894"/>
              </a:xfrm>
              <a:prstGeom prst="rect">
                <a:avLst/>
              </a:prstGeom>
              <a:solidFill>
                <a:srgbClr val="8DC8E8"/>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 name="Rectangle 86">
                <a:extLst>
                  <a:ext uri="{FF2B5EF4-FFF2-40B4-BE49-F238E27FC236}">
                    <a16:creationId xmlns:a16="http://schemas.microsoft.com/office/drawing/2014/main" id="{70DD5325-3C9D-421E-B1D9-36092F3407BA}"/>
                  </a:ext>
                </a:extLst>
              </p:cNvPr>
              <p:cNvSpPr/>
              <p:nvPr/>
            </p:nvSpPr>
            <p:spPr bwMode="auto">
              <a:xfrm rot="5400000">
                <a:off x="6752209" y="5466285"/>
                <a:ext cx="67319" cy="235617"/>
              </a:xfrm>
              <a:prstGeom prst="rect">
                <a:avLst/>
              </a:prstGeom>
              <a:solidFill>
                <a:srgbClr val="8246AF"/>
              </a:solidFill>
              <a:ln w="9525" cap="flat" cmpd="sng" algn="ctr">
                <a:noFill/>
                <a:prstDash val="solid"/>
                <a:round/>
                <a:headEnd type="none" w="med" len="med"/>
                <a:tailEnd type="non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Arial"/>
                </a:endParaRPr>
              </a:p>
            </p:txBody>
          </p:sp>
        </p:grpSp>
        <p:pic>
          <p:nvPicPr>
            <p:cNvPr id="79" name="Picture 3">
              <a:extLst>
                <a:ext uri="{FF2B5EF4-FFF2-40B4-BE49-F238E27FC236}">
                  <a16:creationId xmlns:a16="http://schemas.microsoft.com/office/drawing/2014/main" id="{E1248081-75AA-4992-B9A0-5C05D14B97FF}"/>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117218" y="4223495"/>
              <a:ext cx="535901" cy="1766143"/>
            </a:xfrm>
            <a:prstGeom prst="rect">
              <a:avLst/>
            </a:prstGeom>
            <a:noFill/>
            <a:ln w="9525">
              <a:noFill/>
              <a:miter lim="800000"/>
              <a:headEnd/>
              <a:tailEnd/>
            </a:ln>
          </p:spPr>
        </p:pic>
        <p:cxnSp>
          <p:nvCxnSpPr>
            <p:cNvPr id="80" name="Straight Arrow Connector 79">
              <a:extLst>
                <a:ext uri="{FF2B5EF4-FFF2-40B4-BE49-F238E27FC236}">
                  <a16:creationId xmlns:a16="http://schemas.microsoft.com/office/drawing/2014/main" id="{132BD775-1B37-4FFA-A142-E2A69AB42554}"/>
                </a:ext>
              </a:extLst>
            </p:cNvPr>
            <p:cNvCxnSpPr/>
            <p:nvPr/>
          </p:nvCxnSpPr>
          <p:spPr bwMode="auto">
            <a:xfrm flipV="1">
              <a:off x="5121247" y="2371397"/>
              <a:ext cx="1826399" cy="1194184"/>
            </a:xfrm>
            <a:prstGeom prst="straightConnector1">
              <a:avLst/>
            </a:prstGeom>
            <a:solidFill>
              <a:srgbClr val="0067C5"/>
            </a:solidFill>
            <a:ln w="152400" cap="flat" cmpd="sng" algn="ctr">
              <a:solidFill>
                <a:srgbClr val="0067C5"/>
              </a:solidFill>
              <a:prstDash val="solid"/>
              <a:round/>
              <a:headEnd type="none" w="sm" len="sm"/>
              <a:tailEnd type="triangle" w="sm" len="sm"/>
            </a:ln>
            <a:effectLst/>
          </p:spPr>
        </p:cxnSp>
        <p:cxnSp>
          <p:nvCxnSpPr>
            <p:cNvPr id="81" name="Straight Arrow Connector 80">
              <a:extLst>
                <a:ext uri="{FF2B5EF4-FFF2-40B4-BE49-F238E27FC236}">
                  <a16:creationId xmlns:a16="http://schemas.microsoft.com/office/drawing/2014/main" id="{E33D4D6F-CD2A-41EA-8FB0-EE1143BFF1C6}"/>
                </a:ext>
              </a:extLst>
            </p:cNvPr>
            <p:cNvCxnSpPr/>
            <p:nvPr/>
          </p:nvCxnSpPr>
          <p:spPr bwMode="auto">
            <a:xfrm flipH="1" flipV="1">
              <a:off x="2030418" y="2371397"/>
              <a:ext cx="1826399" cy="1194184"/>
            </a:xfrm>
            <a:prstGeom prst="straightConnector1">
              <a:avLst/>
            </a:prstGeom>
            <a:solidFill>
              <a:srgbClr val="0067C5"/>
            </a:solidFill>
            <a:ln w="152400" cap="flat" cmpd="sng" algn="ctr">
              <a:solidFill>
                <a:srgbClr val="0067C5"/>
              </a:solidFill>
              <a:prstDash val="solid"/>
              <a:round/>
              <a:headEnd type="none" w="sm" len="sm"/>
              <a:tailEnd type="triangle" w="sm" len="sm"/>
            </a:ln>
            <a:effectLst/>
          </p:spPr>
        </p:cxnSp>
        <p:cxnSp>
          <p:nvCxnSpPr>
            <p:cNvPr id="82" name="Straight Arrow Connector 81">
              <a:extLst>
                <a:ext uri="{FF2B5EF4-FFF2-40B4-BE49-F238E27FC236}">
                  <a16:creationId xmlns:a16="http://schemas.microsoft.com/office/drawing/2014/main" id="{F70A826E-37FC-49C5-953D-A286A96FB599}"/>
                </a:ext>
              </a:extLst>
            </p:cNvPr>
            <p:cNvCxnSpPr/>
            <p:nvPr/>
          </p:nvCxnSpPr>
          <p:spPr bwMode="auto">
            <a:xfrm>
              <a:off x="5121247" y="4057303"/>
              <a:ext cx="1826399" cy="1194184"/>
            </a:xfrm>
            <a:prstGeom prst="straightConnector1">
              <a:avLst/>
            </a:prstGeom>
            <a:solidFill>
              <a:srgbClr val="0067C5"/>
            </a:solidFill>
            <a:ln w="152400" cap="flat" cmpd="sng" algn="ctr">
              <a:solidFill>
                <a:srgbClr val="0067C5"/>
              </a:solidFill>
              <a:prstDash val="solid"/>
              <a:round/>
              <a:headEnd type="none" w="sm" len="sm"/>
              <a:tailEnd type="triangle" w="sm" len="sm"/>
            </a:ln>
            <a:effectLst/>
          </p:spPr>
        </p:cxnSp>
        <p:cxnSp>
          <p:nvCxnSpPr>
            <p:cNvPr id="83" name="Straight Arrow Connector 82">
              <a:extLst>
                <a:ext uri="{FF2B5EF4-FFF2-40B4-BE49-F238E27FC236}">
                  <a16:creationId xmlns:a16="http://schemas.microsoft.com/office/drawing/2014/main" id="{723531E3-F8A5-45CB-9974-4C1DC66E2BDC}"/>
                </a:ext>
              </a:extLst>
            </p:cNvPr>
            <p:cNvCxnSpPr/>
            <p:nvPr/>
          </p:nvCxnSpPr>
          <p:spPr bwMode="auto">
            <a:xfrm flipH="1">
              <a:off x="2030418" y="4057303"/>
              <a:ext cx="1826399" cy="1194184"/>
            </a:xfrm>
            <a:prstGeom prst="straightConnector1">
              <a:avLst/>
            </a:prstGeom>
            <a:solidFill>
              <a:srgbClr val="0067C5"/>
            </a:solidFill>
            <a:ln w="152400" cap="flat" cmpd="sng" algn="ctr">
              <a:solidFill>
                <a:srgbClr val="0067C5"/>
              </a:solidFill>
              <a:prstDash val="solid"/>
              <a:round/>
              <a:headEnd type="none" w="sm" len="sm"/>
              <a:tailEnd type="triangle" w="sm" len="sm"/>
            </a:ln>
            <a:effectLst/>
          </p:spPr>
        </p:cxnSp>
      </p:grpSp>
    </p:spTree>
    <p:extLst>
      <p:ext uri="{BB962C8B-B14F-4D97-AF65-F5344CB8AC3E}">
        <p14:creationId xmlns:p14="http://schemas.microsoft.com/office/powerpoint/2010/main" val="1629065190"/>
      </p:ext>
    </p:extLst>
  </p:cSld>
  <p:clrMapOvr>
    <a:masterClrMapping/>
  </p:clrMapOvr>
  <p:transition spd="slow">
    <p:circl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Pentagon 167"/>
          <p:cNvSpPr/>
          <p:nvPr/>
        </p:nvSpPr>
        <p:spPr bwMode="auto">
          <a:xfrm>
            <a:off x="3429000" y="2631738"/>
            <a:ext cx="2895600" cy="171463"/>
          </a:xfrm>
          <a:prstGeom prst="homePlate">
            <a:avLst/>
          </a:prstGeom>
          <a:solidFill>
            <a:schemeClr val="bg1">
              <a:lumMod val="65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1500000"/>
            </a:lightRig>
          </a:scene3d>
          <a:sp3d prstMaterial="metal">
            <a:bevelT w="88900" h="88900"/>
          </a:sp3d>
        </p:spPr>
        <p:txBody>
          <a:bodyPr wrap="none" lIns="91438" tIns="45719" rIns="91438" bIns="45719" anchor="ctr"/>
          <a:lstStyle/>
          <a:p>
            <a:pPr marL="0" marR="0" lvl="0" indent="0" algn="ctr" defTabSz="914400" rtl="0" eaLnBrk="1" fontAlgn="base" latinLnBrk="0" hangingPunct="1">
              <a:lnSpc>
                <a:spcPct val="100000"/>
              </a:lnSpc>
              <a:spcBef>
                <a:spcPct val="0"/>
              </a:spcBef>
              <a:spcAft>
                <a:spcPct val="0"/>
              </a:spcAft>
              <a:buClr>
                <a:srgbClr val="84BD00"/>
              </a:buClr>
              <a:buSzTx/>
              <a:buFont typeface="Wingdings 2" pitchFamily="18" charset="2"/>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mn-cs"/>
              </a:rPr>
              <a:t>&gt; 50% Faster</a:t>
            </a:r>
          </a:p>
        </p:txBody>
      </p:sp>
      <p:sp>
        <p:nvSpPr>
          <p:cNvPr id="70" name="Pentagon 69"/>
          <p:cNvSpPr/>
          <p:nvPr/>
        </p:nvSpPr>
        <p:spPr bwMode="auto">
          <a:xfrm>
            <a:off x="3429002" y="1378744"/>
            <a:ext cx="5337175" cy="171450"/>
          </a:xfrm>
          <a:prstGeom prst="homePlate">
            <a:avLst/>
          </a:prstGeom>
          <a:solidFill>
            <a:schemeClr val="bg1">
              <a:lumMod val="65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1500000"/>
            </a:lightRig>
          </a:scene3d>
          <a:sp3d prstMaterial="metal">
            <a:bevelT w="88900" h="88900"/>
          </a:sp3d>
        </p:spPr>
        <p:txBody>
          <a:bodyPr wrap="none" lIns="91438" tIns="45719" rIns="91438" bIns="45719" anchor="ctr"/>
          <a:lstStyle/>
          <a:p>
            <a:pPr marL="0" marR="0" lvl="0" indent="0" algn="ctr" defTabSz="914400" rtl="0" eaLnBrk="1" fontAlgn="base" latinLnBrk="0" hangingPunct="1">
              <a:lnSpc>
                <a:spcPct val="100000"/>
              </a:lnSpc>
              <a:spcBef>
                <a:spcPct val="0"/>
              </a:spcBef>
              <a:spcAft>
                <a:spcPct val="0"/>
              </a:spcAft>
              <a:buClr>
                <a:srgbClr val="84BD00"/>
              </a:buClr>
              <a:buSzTx/>
              <a:buFont typeface="Wingdings 2" pitchFamily="18" charset="2"/>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mn-cs"/>
              </a:rPr>
              <a:t>Many Weeks or Months</a:t>
            </a:r>
          </a:p>
        </p:txBody>
      </p:sp>
      <p:sp>
        <p:nvSpPr>
          <p:cNvPr id="22536" name="Title 1"/>
          <p:cNvSpPr>
            <a:spLocks noGrp="1"/>
          </p:cNvSpPr>
          <p:nvPr>
            <p:ph type="title"/>
          </p:nvPr>
        </p:nvSpPr>
        <p:spPr>
          <a:xfrm>
            <a:off x="190500" y="303213"/>
            <a:ext cx="8618538" cy="419100"/>
          </a:xfrm>
        </p:spPr>
        <p:txBody>
          <a:bodyPr/>
          <a:lstStyle/>
          <a:p>
            <a:pPr>
              <a:defRPr/>
            </a:pPr>
            <a:r>
              <a:rPr dirty="0"/>
              <a:t>FlexPod helps IT </a:t>
            </a:r>
            <a:r>
              <a:rPr dirty="0">
                <a:solidFill>
                  <a:schemeClr val="accent4"/>
                </a:solidFill>
              </a:rPr>
              <a:t>accelerate</a:t>
            </a:r>
            <a:r>
              <a:rPr dirty="0"/>
              <a:t> business</a:t>
            </a:r>
          </a:p>
        </p:txBody>
      </p:sp>
      <p:grpSp>
        <p:nvGrpSpPr>
          <p:cNvPr id="81929" name="Group 133"/>
          <p:cNvGrpSpPr>
            <a:grpSpLocks/>
          </p:cNvGrpSpPr>
          <p:nvPr/>
        </p:nvGrpSpPr>
        <p:grpSpPr bwMode="auto">
          <a:xfrm>
            <a:off x="3309938" y="1208088"/>
            <a:ext cx="228600" cy="3314700"/>
            <a:chOff x="3238500" y="1600200"/>
            <a:chExt cx="228600" cy="4104101"/>
          </a:xfrm>
        </p:grpSpPr>
        <p:sp>
          <p:nvSpPr>
            <p:cNvPr id="81979" name="Flowchart: Merge 130"/>
            <p:cNvSpPr>
              <a:spLocks noChangeArrowheads="1"/>
            </p:cNvSpPr>
            <p:nvPr/>
          </p:nvSpPr>
          <p:spPr bwMode="auto">
            <a:xfrm>
              <a:off x="3238500" y="1600200"/>
              <a:ext cx="228600" cy="152400"/>
            </a:xfrm>
            <a:prstGeom prst="flowChartMerge">
              <a:avLst/>
            </a:prstGeom>
            <a:solidFill>
              <a:schemeClr val="accent3"/>
            </a:solidFill>
            <a:ln w="9525">
              <a:solidFill>
                <a:schemeClr val="bg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000" b="1"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81980" name="Straight Connector 132"/>
            <p:cNvCxnSpPr>
              <a:cxnSpLocks noChangeShapeType="1"/>
            </p:cNvCxnSpPr>
            <p:nvPr/>
          </p:nvCxnSpPr>
          <p:spPr bwMode="auto">
            <a:xfrm rot="5400000">
              <a:off x="1377605" y="3728307"/>
              <a:ext cx="3950904" cy="1083"/>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sp>
        <p:nvSpPr>
          <p:cNvPr id="81930" name="TextBox 7"/>
          <p:cNvSpPr txBox="1">
            <a:spLocks noChangeArrowheads="1"/>
          </p:cNvSpPr>
          <p:nvPr/>
        </p:nvSpPr>
        <p:spPr bwMode="auto">
          <a:xfrm>
            <a:off x="3168650" y="971550"/>
            <a:ext cx="15049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4C4948"/>
                </a:solidFill>
                <a:effectLst/>
                <a:uLnTx/>
                <a:uFillTx/>
                <a:latin typeface="Arial" charset="0"/>
                <a:ea typeface="+mn-ea"/>
                <a:cs typeface="+mn-cs"/>
              </a:rPr>
              <a:t>Service Request</a:t>
            </a:r>
          </a:p>
        </p:txBody>
      </p:sp>
      <p:cxnSp>
        <p:nvCxnSpPr>
          <p:cNvPr id="11" name="Straight Connector 137"/>
          <p:cNvCxnSpPr>
            <a:cxnSpLocks noChangeShapeType="1"/>
          </p:cNvCxnSpPr>
          <p:nvPr/>
        </p:nvCxnSpPr>
        <p:spPr bwMode="auto">
          <a:xfrm>
            <a:off x="3429000" y="1893888"/>
            <a:ext cx="5337175" cy="0"/>
          </a:xfrm>
          <a:prstGeom prst="line">
            <a:avLst/>
          </a:prstGeom>
          <a:noFill/>
          <a:ln w="9525" algn="ctr">
            <a:solidFill>
              <a:schemeClr val="accent2">
                <a:lumMod val="75000"/>
              </a:schemeClr>
            </a:solidFill>
            <a:round/>
            <a:headEnd/>
            <a:tailEnd/>
          </a:ln>
        </p:spPr>
      </p:cxnSp>
      <p:grpSp>
        <p:nvGrpSpPr>
          <p:cNvPr id="3" name="Group 127"/>
          <p:cNvGrpSpPr/>
          <p:nvPr/>
        </p:nvGrpSpPr>
        <p:grpSpPr>
          <a:xfrm>
            <a:off x="3438527" y="1607334"/>
            <a:ext cx="5327649" cy="285763"/>
            <a:chOff x="2905125" y="2362200"/>
            <a:chExt cx="4972050" cy="381017"/>
          </a:xfrm>
          <a:solidFill>
            <a:schemeClr val="accent3"/>
          </a:solidFill>
          <a:scene3d>
            <a:camera prst="orthographicFront">
              <a:rot lat="0" lon="0" rev="0"/>
            </a:camera>
            <a:lightRig rig="contrasting" dir="t">
              <a:rot lat="0" lon="0" rev="1500000"/>
            </a:lightRig>
          </a:scene3d>
        </p:grpSpPr>
        <p:sp>
          <p:nvSpPr>
            <p:cNvPr id="12" name="Pentagon 138"/>
            <p:cNvSpPr>
              <a:spLocks noChangeArrowheads="1"/>
            </p:cNvSpPr>
            <p:nvPr/>
          </p:nvSpPr>
          <p:spPr bwMode="auto">
            <a:xfrm>
              <a:off x="2905125" y="2362200"/>
              <a:ext cx="990600" cy="381017"/>
            </a:xfrm>
            <a:prstGeom prst="homePlate">
              <a:avLst>
                <a:gd name="adj" fmla="val 49999"/>
              </a:avLst>
            </a:prstGeom>
            <a:solidFill>
              <a:schemeClr val="accent4"/>
            </a:solidFill>
            <a:ln w="9525" algn="ctr">
              <a:noFill/>
              <a:round/>
              <a:headEnd/>
              <a:tailEnd/>
            </a:ln>
            <a:effectLst/>
            <a:sp3d prstMaterial="metal"/>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esign and </a:t>
              </a:r>
              <a:br>
                <a:rPr kumimoji="0" lang="en-US" sz="1100" b="1" i="0" u="none" strike="noStrike" kern="1200" cap="none" spc="0" normalizeH="0" baseline="0" noProof="0" dirty="0">
                  <a:ln>
                    <a:noFill/>
                  </a:ln>
                  <a:solidFill>
                    <a:srgbClr val="FFFFFF"/>
                  </a:solidFill>
                  <a:effectLst/>
                  <a:uLnTx/>
                  <a:uFillTx/>
                  <a:latin typeface="Arial" charset="0"/>
                  <a:ea typeface="+mn-ea"/>
                  <a:cs typeface="+mn-cs"/>
                </a:rPr>
              </a:br>
              <a:r>
                <a:rPr kumimoji="0" lang="en-US" sz="1100" b="1" i="0" u="none" strike="noStrike" kern="1200" cap="none" spc="0" normalizeH="0" baseline="0" noProof="0" dirty="0">
                  <a:ln>
                    <a:noFill/>
                  </a:ln>
                  <a:solidFill>
                    <a:srgbClr val="FFFFFF"/>
                  </a:solidFill>
                  <a:effectLst/>
                  <a:uLnTx/>
                  <a:uFillTx/>
                  <a:latin typeface="Arial" charset="0"/>
                  <a:ea typeface="+mn-ea"/>
                  <a:cs typeface="+mn-cs"/>
                </a:rPr>
                <a:t>Size</a:t>
              </a:r>
            </a:p>
          </p:txBody>
        </p:sp>
        <p:sp>
          <p:nvSpPr>
            <p:cNvPr id="13" name="Chevron 139"/>
            <p:cNvSpPr>
              <a:spLocks noChangeArrowheads="1"/>
            </p:cNvSpPr>
            <p:nvPr/>
          </p:nvSpPr>
          <p:spPr bwMode="auto">
            <a:xfrm>
              <a:off x="3771900"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 Planning</a:t>
              </a:r>
            </a:p>
          </p:txBody>
        </p:sp>
        <p:sp>
          <p:nvSpPr>
            <p:cNvPr id="14" name="Chevron 140"/>
            <p:cNvSpPr>
              <a:spLocks noChangeArrowheads="1"/>
            </p:cNvSpPr>
            <p:nvPr/>
          </p:nvSpPr>
          <p:spPr bwMode="auto">
            <a:xfrm>
              <a:off x="4572000"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Procure</a:t>
              </a:r>
            </a:p>
          </p:txBody>
        </p:sp>
        <p:sp>
          <p:nvSpPr>
            <p:cNvPr id="15" name="Chevron 142"/>
            <p:cNvSpPr>
              <a:spLocks noChangeArrowheads="1"/>
            </p:cNvSpPr>
            <p:nvPr/>
          </p:nvSpPr>
          <p:spPr bwMode="auto">
            <a:xfrm>
              <a:off x="5362575"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etail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esign</a:t>
              </a:r>
            </a:p>
          </p:txBody>
        </p:sp>
        <p:sp>
          <p:nvSpPr>
            <p:cNvPr id="16" name="Chevron 143"/>
            <p:cNvSpPr>
              <a:spLocks noChangeArrowheads="1"/>
            </p:cNvSpPr>
            <p:nvPr/>
          </p:nvSpPr>
          <p:spPr bwMode="auto">
            <a:xfrm>
              <a:off x="6162675"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eploy</a:t>
              </a:r>
            </a:p>
          </p:txBody>
        </p:sp>
        <p:sp>
          <p:nvSpPr>
            <p:cNvPr id="17" name="Chevron 144"/>
            <p:cNvSpPr>
              <a:spLocks noChangeArrowheads="1"/>
            </p:cNvSpPr>
            <p:nvPr/>
          </p:nvSpPr>
          <p:spPr bwMode="auto">
            <a:xfrm>
              <a:off x="6962775"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Test</a:t>
              </a:r>
            </a:p>
          </p:txBody>
        </p:sp>
      </p:grpSp>
      <p:grpSp>
        <p:nvGrpSpPr>
          <p:cNvPr id="81933" name="Group 213"/>
          <p:cNvGrpSpPr>
            <a:grpSpLocks/>
          </p:cNvGrpSpPr>
          <p:nvPr/>
        </p:nvGrpSpPr>
        <p:grpSpPr bwMode="auto">
          <a:xfrm>
            <a:off x="7540625" y="971550"/>
            <a:ext cx="1439863" cy="922338"/>
            <a:chOff x="5404032" y="1286525"/>
            <a:chExt cx="1438517" cy="1228015"/>
          </a:xfrm>
        </p:grpSpPr>
        <p:sp>
          <p:nvSpPr>
            <p:cNvPr id="81976" name="Flowchart: Merge 150"/>
            <p:cNvSpPr>
              <a:spLocks noChangeArrowheads="1"/>
            </p:cNvSpPr>
            <p:nvPr/>
          </p:nvSpPr>
          <p:spPr bwMode="auto">
            <a:xfrm>
              <a:off x="6515100" y="1599406"/>
              <a:ext cx="228600" cy="152400"/>
            </a:xfrm>
            <a:prstGeom prst="flowChartMerge">
              <a:avLst/>
            </a:prstGeom>
            <a:solidFill>
              <a:schemeClr val="accent3"/>
            </a:solidFill>
            <a:ln w="9525">
              <a:solidFill>
                <a:schemeClr val="bg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dirty="0">
                <a:ln>
                  <a:noFill/>
                </a:ln>
                <a:solidFill>
                  <a:srgbClr val="4C4948"/>
                </a:solidFill>
                <a:effectLst/>
                <a:uLnTx/>
                <a:uFillTx/>
                <a:latin typeface="Arial" charset="0"/>
                <a:ea typeface="+mn-ea"/>
                <a:cs typeface="+mn-cs"/>
              </a:endParaRPr>
            </a:p>
          </p:txBody>
        </p:sp>
        <p:cxnSp>
          <p:nvCxnSpPr>
            <p:cNvPr id="81977" name="Straight Connector 151"/>
            <p:cNvCxnSpPr>
              <a:cxnSpLocks noChangeShapeType="1"/>
            </p:cNvCxnSpPr>
            <p:nvPr/>
          </p:nvCxnSpPr>
          <p:spPr bwMode="auto">
            <a:xfrm rot="5400000">
              <a:off x="6246739" y="2131085"/>
              <a:ext cx="761941" cy="497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sp>
          <p:nvSpPr>
            <p:cNvPr id="81978" name="TextBox 22"/>
            <p:cNvSpPr txBox="1">
              <a:spLocks noChangeArrowheads="1"/>
            </p:cNvSpPr>
            <p:nvPr/>
          </p:nvSpPr>
          <p:spPr bwMode="auto">
            <a:xfrm>
              <a:off x="5404032" y="1286525"/>
              <a:ext cx="1438517" cy="369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4C4948"/>
                  </a:solidFill>
                  <a:effectLst/>
                  <a:uLnTx/>
                  <a:uFillTx/>
                  <a:latin typeface="Arial" charset="0"/>
                  <a:ea typeface="+mn-ea"/>
                  <a:cs typeface="+mn-cs"/>
                </a:rPr>
                <a:t>Service Available</a:t>
              </a:r>
            </a:p>
          </p:txBody>
        </p:sp>
      </p:grpSp>
      <p:sp>
        <p:nvSpPr>
          <p:cNvPr id="22543" name="TextBox 252"/>
          <p:cNvSpPr txBox="1">
            <a:spLocks noChangeArrowheads="1"/>
          </p:cNvSpPr>
          <p:nvPr/>
        </p:nvSpPr>
        <p:spPr bwMode="auto">
          <a:xfrm flipH="1">
            <a:off x="609600" y="1314450"/>
            <a:ext cx="2667000" cy="369888"/>
          </a:xfrm>
          <a:prstGeom prst="rect">
            <a:avLst/>
          </a:prstGeom>
          <a:noFill/>
          <a:ln w="9525">
            <a:noFill/>
            <a:miter lim="800000"/>
            <a:headEnd/>
            <a:tailEnd/>
          </a:ln>
        </p:spPr>
        <p:txBody>
          <a:bodyPr lIns="91438" tIns="45719" rIns="91438" bIns="4571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EA2C8"/>
                </a:solidFill>
                <a:effectLst/>
                <a:uLnTx/>
                <a:uFillTx/>
                <a:latin typeface="Arial" charset="0"/>
                <a:ea typeface="+mn-ea"/>
                <a:cs typeface="+mn-cs"/>
              </a:rPr>
              <a:t>Traditional</a:t>
            </a:r>
          </a:p>
        </p:txBody>
      </p:sp>
      <p:sp>
        <p:nvSpPr>
          <p:cNvPr id="73" name="TextBox 252"/>
          <p:cNvSpPr txBox="1">
            <a:spLocks noChangeArrowheads="1"/>
          </p:cNvSpPr>
          <p:nvPr/>
        </p:nvSpPr>
        <p:spPr bwMode="auto">
          <a:xfrm flipH="1">
            <a:off x="1436688" y="2036763"/>
            <a:ext cx="1981200" cy="1493837"/>
          </a:xfrm>
          <a:prstGeom prst="rect">
            <a:avLst/>
          </a:prstGeom>
          <a:noFill/>
          <a:ln w="9525">
            <a:noFill/>
            <a:miter lim="800000"/>
            <a:headEnd/>
            <a:tailEnd/>
          </a:ln>
        </p:spPr>
        <p:txBody>
          <a:bodyPr lIns="91438" tIns="45719" rIns="91438" bIns="45719">
            <a:spAutoFit/>
          </a:bodyPr>
          <a:lstStyle/>
          <a:p>
            <a:pPr marL="0" marR="0" lvl="0" indent="0" algn="l" defTabSz="914400" rtl="0" eaLnBrk="1" fontAlgn="base" latinLnBrk="0" hangingPunct="1">
              <a:lnSpc>
                <a:spcPct val="100000"/>
              </a:lnSpc>
              <a:spcBef>
                <a:spcPct val="0"/>
              </a:spcBef>
              <a:spcAft>
                <a:spcPts val="300"/>
              </a:spcAft>
              <a:buClr>
                <a:srgbClr val="427D12"/>
              </a:buClr>
              <a:buSzTx/>
              <a:buFontTx/>
              <a:buNone/>
              <a:tabLst/>
              <a:defRPr/>
            </a:pPr>
            <a:r>
              <a:rPr kumimoji="0" lang="en-US" sz="1800" b="0" i="0" u="none" strike="noStrike" kern="1200" cap="none" spc="0" normalizeH="0" baseline="0" noProof="0" dirty="0">
                <a:ln>
                  <a:noFill/>
                </a:ln>
                <a:solidFill>
                  <a:srgbClr val="4EA2C8"/>
                </a:solidFill>
                <a:effectLst/>
                <a:uLnTx/>
                <a:uFillTx/>
                <a:latin typeface="Arial" charset="0"/>
                <a:ea typeface="+mn-ea"/>
                <a:cs typeface="+mn-cs"/>
              </a:rPr>
              <a:t>With FlexPod</a:t>
            </a:r>
            <a:r>
              <a:rPr kumimoji="0" lang="en-US" sz="1800" b="0" i="0" u="none" strike="noStrike" kern="1200" cap="none" spc="0" normalizeH="0" baseline="30000" noProof="0" dirty="0">
                <a:ln>
                  <a:noFill/>
                </a:ln>
                <a:solidFill>
                  <a:srgbClr val="4EA2C8"/>
                </a:solidFill>
                <a:effectLst/>
                <a:uLnTx/>
                <a:uFillTx/>
                <a:latin typeface="Arial" charset="0"/>
                <a:ea typeface="+mn-ea"/>
                <a:cs typeface="+mn-cs"/>
              </a:rPr>
              <a:t>®</a:t>
            </a:r>
          </a:p>
          <a:p>
            <a:pPr marL="171450" marR="0" lvl="0" indent="-171450" algn="l" defTabSz="914400" rtl="0" eaLnBrk="1" fontAlgn="base" latinLnBrk="0" hangingPunct="1">
              <a:lnSpc>
                <a:spcPct val="100000"/>
              </a:lnSpc>
              <a:spcBef>
                <a:spcPct val="0"/>
              </a:spcBef>
              <a:spcAft>
                <a:spcPct val="0"/>
              </a:spcAft>
              <a:buClr>
                <a:srgbClr val="427D1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Reference BOM </a:t>
            </a:r>
          </a:p>
          <a:p>
            <a:pPr marL="171450" marR="0" lvl="0" indent="-171450" algn="l" defTabSz="914400" rtl="0" eaLnBrk="1" fontAlgn="base" latinLnBrk="0" hangingPunct="1">
              <a:lnSpc>
                <a:spcPct val="100000"/>
              </a:lnSpc>
              <a:spcBef>
                <a:spcPct val="0"/>
              </a:spcBef>
              <a:spcAft>
                <a:spcPct val="0"/>
              </a:spcAft>
              <a:buClr>
                <a:srgbClr val="427D1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Validated design</a:t>
            </a:r>
          </a:p>
          <a:p>
            <a:pPr marL="171450" marR="0" lvl="0" indent="-171450" algn="l" defTabSz="914400" rtl="0" eaLnBrk="1" fontAlgn="base" latinLnBrk="0" hangingPunct="1">
              <a:lnSpc>
                <a:spcPct val="100000"/>
              </a:lnSpc>
              <a:spcBef>
                <a:spcPct val="0"/>
              </a:spcBef>
              <a:spcAft>
                <a:spcPct val="0"/>
              </a:spcAft>
              <a:buClr>
                <a:srgbClr val="427D1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Precise deployment </a:t>
            </a:r>
          </a:p>
          <a:p>
            <a:pPr marL="171450" marR="0" lvl="0" indent="-171450" algn="l" defTabSz="914400" rtl="0" eaLnBrk="1" fontAlgn="base" latinLnBrk="0" hangingPunct="1">
              <a:lnSpc>
                <a:spcPct val="100000"/>
              </a:lnSpc>
              <a:spcBef>
                <a:spcPct val="0"/>
              </a:spcBef>
              <a:spcAft>
                <a:spcPct val="0"/>
              </a:spcAft>
              <a:buClr>
                <a:srgbClr val="427D1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Standard test plan</a:t>
            </a:r>
          </a:p>
          <a:p>
            <a:pPr marL="0" marR="0" lvl="0" indent="0" algn="l" defTabSz="914400" rtl="0" eaLnBrk="1" fontAlgn="base" latinLnBrk="0" hangingPunct="1">
              <a:lnSpc>
                <a:spcPct val="100000"/>
              </a:lnSpc>
              <a:spcBef>
                <a:spcPct val="0"/>
              </a:spcBef>
              <a:spcAft>
                <a:spcPct val="0"/>
              </a:spcAft>
              <a:buClr>
                <a:srgbClr val="427D12"/>
              </a:buClr>
              <a:buSzTx/>
              <a:buFontTx/>
              <a:buNone/>
              <a:tabLst/>
              <a:defRPr/>
            </a:pPr>
            <a:endParaRPr kumimoji="0" lang="en-US" sz="20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 name="Pentagon 138"/>
          <p:cNvSpPr>
            <a:spLocks noChangeArrowheads="1"/>
          </p:cNvSpPr>
          <p:nvPr/>
        </p:nvSpPr>
        <p:spPr bwMode="auto">
          <a:xfrm>
            <a:off x="457200" y="4179888"/>
            <a:ext cx="873125" cy="342900"/>
          </a:xfrm>
          <a:prstGeom prst="homePlate">
            <a:avLst>
              <a:gd name="adj" fmla="val 49999"/>
            </a:avLst>
          </a:prstGeom>
          <a:solidFill>
            <a:schemeClr val="accent4"/>
          </a:solidFill>
          <a:ln w="9525" algn="ctr">
            <a:noFill/>
            <a:round/>
            <a:headEnd/>
            <a:tailEnd/>
          </a:ln>
          <a:effectLst/>
        </p:spPr>
        <p:txBody>
          <a:bodyPr wrap="none" lIns="91438" tIns="45719" rIns="91438" bIns="45719"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D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Planning</a:t>
            </a:r>
          </a:p>
        </p:txBody>
      </p:sp>
      <p:sp>
        <p:nvSpPr>
          <p:cNvPr id="143" name="Chevron 139"/>
          <p:cNvSpPr>
            <a:spLocks noChangeArrowheads="1"/>
          </p:cNvSpPr>
          <p:nvPr/>
        </p:nvSpPr>
        <p:spPr bwMode="auto">
          <a:xfrm>
            <a:off x="1220788" y="4179888"/>
            <a:ext cx="806450" cy="342900"/>
          </a:xfrm>
          <a:prstGeom prst="chevron">
            <a:avLst>
              <a:gd name="adj" fmla="val 50000"/>
            </a:avLst>
          </a:prstGeom>
          <a:solidFill>
            <a:schemeClr val="accent4"/>
          </a:solidFill>
          <a:ln w="9525" algn="ctr">
            <a:noFill/>
            <a:round/>
            <a:headEnd/>
            <a:tailEnd/>
          </a:ln>
          <a:effectLst/>
        </p:spPr>
        <p:txBody>
          <a:bodyPr wrap="none" lIns="91438" tIns="45719" rIns="91438" bIns="45719"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 Procure</a:t>
            </a:r>
          </a:p>
        </p:txBody>
      </p:sp>
      <p:sp>
        <p:nvSpPr>
          <p:cNvPr id="144" name="Chevron 140"/>
          <p:cNvSpPr>
            <a:spLocks noChangeArrowheads="1"/>
          </p:cNvSpPr>
          <p:nvPr/>
        </p:nvSpPr>
        <p:spPr bwMode="auto">
          <a:xfrm>
            <a:off x="1925638" y="4179888"/>
            <a:ext cx="806450" cy="342900"/>
          </a:xfrm>
          <a:prstGeom prst="chevron">
            <a:avLst>
              <a:gd name="adj" fmla="val 50000"/>
            </a:avLst>
          </a:prstGeom>
          <a:solidFill>
            <a:schemeClr val="accent4"/>
          </a:solidFill>
          <a:ln w="9525" algn="ctr">
            <a:noFill/>
            <a:round/>
            <a:headEnd/>
            <a:tailEnd/>
          </a:ln>
          <a:effectLst/>
        </p:spPr>
        <p:txBody>
          <a:bodyPr wrap="none" lIns="91438" tIns="45719" rIns="91438" bIns="45719"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 Deploy</a:t>
            </a:r>
          </a:p>
        </p:txBody>
      </p:sp>
      <p:sp>
        <p:nvSpPr>
          <p:cNvPr id="145" name="Chevron 142"/>
          <p:cNvSpPr>
            <a:spLocks noChangeArrowheads="1"/>
          </p:cNvSpPr>
          <p:nvPr/>
        </p:nvSpPr>
        <p:spPr bwMode="auto">
          <a:xfrm>
            <a:off x="2622550" y="4179888"/>
            <a:ext cx="806450" cy="342900"/>
          </a:xfrm>
          <a:prstGeom prst="chevron">
            <a:avLst>
              <a:gd name="adj" fmla="val 50000"/>
            </a:avLst>
          </a:prstGeom>
          <a:solidFill>
            <a:schemeClr val="accent4"/>
          </a:solidFill>
          <a:ln w="9525" algn="ctr">
            <a:noFill/>
            <a:round/>
            <a:headEnd/>
            <a:tailEnd/>
          </a:ln>
          <a:effectLst/>
        </p:spPr>
        <p:txBody>
          <a:bodyPr wrap="none" lIns="91438" tIns="45719" rIns="91438" bIns="45719"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Test</a:t>
            </a:r>
          </a:p>
        </p:txBody>
      </p:sp>
      <p:sp>
        <p:nvSpPr>
          <p:cNvPr id="151" name="TextBox 252"/>
          <p:cNvSpPr txBox="1">
            <a:spLocks noChangeArrowheads="1"/>
          </p:cNvSpPr>
          <p:nvPr/>
        </p:nvSpPr>
        <p:spPr bwMode="auto">
          <a:xfrm flipH="1">
            <a:off x="371475" y="3394075"/>
            <a:ext cx="3209925" cy="738188"/>
          </a:xfrm>
          <a:prstGeom prst="rect">
            <a:avLst/>
          </a:prstGeom>
          <a:noFill/>
          <a:ln w="9525">
            <a:noFill/>
            <a:miter lim="800000"/>
            <a:headEnd/>
            <a:tailEnd/>
          </a:ln>
          <a:effectLst/>
        </p:spPr>
        <p:txBody>
          <a:bodyPr lIns="91438" tIns="45719" rIns="91438" bIns="45719">
            <a:spAutoFit/>
          </a:bodyPr>
          <a:lstStyle/>
          <a:p>
            <a:pPr marL="0" marR="0" lvl="0" indent="0" algn="l" defTabSz="914400" rtl="0" eaLnBrk="1" fontAlgn="base" latinLnBrk="0" hangingPunct="1">
              <a:lnSpc>
                <a:spcPct val="100000"/>
              </a:lnSpc>
              <a:spcBef>
                <a:spcPct val="0"/>
              </a:spcBef>
              <a:spcAft>
                <a:spcPct val="0"/>
              </a:spcAft>
              <a:buClr>
                <a:srgbClr val="84BD00">
                  <a:lumMod val="75000"/>
                </a:srgbClr>
              </a:buClr>
              <a:buSzTx/>
              <a:buFontTx/>
              <a:buNone/>
              <a:tabLst/>
              <a:defRPr/>
            </a:pPr>
            <a:r>
              <a:rPr kumimoji="0" lang="en-US" sz="1800" b="0" i="0" u="none" strike="noStrike" kern="1200" cap="none" spc="0" normalizeH="0" baseline="0" noProof="0" dirty="0">
                <a:ln>
                  <a:noFill/>
                </a:ln>
                <a:solidFill>
                  <a:srgbClr val="4EA2C8"/>
                </a:solidFill>
                <a:effectLst/>
                <a:uLnTx/>
                <a:uFillTx/>
                <a:latin typeface="Arial" charset="0"/>
                <a:ea typeface="+mn-ea"/>
                <a:cs typeface="+mn-cs"/>
              </a:rPr>
              <a:t>Preprovisioned FlexPod</a:t>
            </a:r>
          </a:p>
          <a:p>
            <a:pPr marL="171450" marR="0" lvl="0" indent="-171450" algn="l" defTabSz="914400" rtl="0" eaLnBrk="1" fontAlgn="base" latinLnBrk="0" hangingPunct="1">
              <a:lnSpc>
                <a:spcPct val="100000"/>
              </a:lnSpc>
              <a:spcBef>
                <a:spcPct val="0"/>
              </a:spcBef>
              <a:spcAft>
                <a:spcPct val="0"/>
              </a:spcAft>
              <a:buClr>
                <a:srgbClr val="84BD00">
                  <a:lumMod val="75000"/>
                </a:srgbClr>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Rapid deployment of applications</a:t>
            </a:r>
          </a:p>
          <a:p>
            <a:pPr marL="171450" marR="0" lvl="0" indent="-171450" algn="l" defTabSz="914400" rtl="0" eaLnBrk="1" fontAlgn="base" latinLnBrk="0" hangingPunct="1">
              <a:lnSpc>
                <a:spcPct val="100000"/>
              </a:lnSpc>
              <a:spcBef>
                <a:spcPct val="0"/>
              </a:spcBef>
              <a:spcAft>
                <a:spcPct val="0"/>
              </a:spcAft>
              <a:buClr>
                <a:srgbClr val="84BD00">
                  <a:lumMod val="75000"/>
                </a:srgbClr>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C4948"/>
                </a:solidFill>
                <a:effectLst/>
                <a:uLnTx/>
                <a:uFillTx/>
                <a:latin typeface="Arial" charset="0"/>
                <a:ea typeface="+mn-ea"/>
                <a:cs typeface="+mn-cs"/>
              </a:rPr>
              <a:t>Shared pools meet most requirements</a:t>
            </a:r>
          </a:p>
        </p:txBody>
      </p:sp>
      <p:grpSp>
        <p:nvGrpSpPr>
          <p:cNvPr id="6" name="Group 213"/>
          <p:cNvGrpSpPr>
            <a:grpSpLocks/>
          </p:cNvGrpSpPr>
          <p:nvPr/>
        </p:nvGrpSpPr>
        <p:grpSpPr bwMode="auto">
          <a:xfrm>
            <a:off x="3311525" y="3946525"/>
            <a:ext cx="1870075" cy="644525"/>
            <a:chOff x="6664236" y="1599406"/>
            <a:chExt cx="1870166" cy="859466"/>
          </a:xfrm>
        </p:grpSpPr>
        <p:sp>
          <p:nvSpPr>
            <p:cNvPr id="81973" name="Flowchart: Merge 150"/>
            <p:cNvSpPr>
              <a:spLocks noChangeArrowheads="1"/>
            </p:cNvSpPr>
            <p:nvPr/>
          </p:nvSpPr>
          <p:spPr bwMode="auto">
            <a:xfrm>
              <a:off x="6664236" y="1599406"/>
              <a:ext cx="228600" cy="152400"/>
            </a:xfrm>
            <a:prstGeom prst="flowChartMerge">
              <a:avLst/>
            </a:prstGeom>
            <a:solidFill>
              <a:schemeClr val="accent3"/>
            </a:solidFill>
            <a:ln w="9525">
              <a:solidFill>
                <a:schemeClr val="bg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dirty="0">
                <a:ln>
                  <a:noFill/>
                </a:ln>
                <a:solidFill>
                  <a:srgbClr val="4C4948"/>
                </a:solidFill>
                <a:effectLst/>
                <a:uLnTx/>
                <a:uFillTx/>
                <a:latin typeface="Arial" charset="0"/>
                <a:ea typeface="+mn-ea"/>
                <a:cs typeface="+mn-cs"/>
              </a:endParaRPr>
            </a:p>
          </p:txBody>
        </p:sp>
        <p:cxnSp>
          <p:nvCxnSpPr>
            <p:cNvPr id="81974" name="Straight Connector 151"/>
            <p:cNvCxnSpPr>
              <a:cxnSpLocks noChangeShapeType="1"/>
            </p:cNvCxnSpPr>
            <p:nvPr/>
          </p:nvCxnSpPr>
          <p:spPr bwMode="auto">
            <a:xfrm>
              <a:off x="6779330" y="1752599"/>
              <a:ext cx="5" cy="579198"/>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sp>
          <p:nvSpPr>
            <p:cNvPr id="81975" name="TextBox 154"/>
            <p:cNvSpPr txBox="1">
              <a:spLocks noChangeArrowheads="1"/>
            </p:cNvSpPr>
            <p:nvPr/>
          </p:nvSpPr>
          <p:spPr bwMode="auto">
            <a:xfrm>
              <a:off x="6770913" y="2090062"/>
              <a:ext cx="1763489" cy="368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4C4948"/>
                  </a:solidFill>
                  <a:effectLst/>
                  <a:uLnTx/>
                  <a:uFillTx/>
                  <a:latin typeface="Arial" charset="0"/>
                  <a:ea typeface="+mn-ea"/>
                  <a:cs typeface="+mn-cs"/>
                </a:rPr>
                <a:t>Service Available</a:t>
              </a:r>
            </a:p>
          </p:txBody>
        </p:sp>
      </p:grpSp>
      <p:grpSp>
        <p:nvGrpSpPr>
          <p:cNvPr id="7" name="Group 161"/>
          <p:cNvGrpSpPr>
            <a:grpSpLocks/>
          </p:cNvGrpSpPr>
          <p:nvPr/>
        </p:nvGrpSpPr>
        <p:grpSpPr bwMode="auto">
          <a:xfrm>
            <a:off x="3733800" y="1868488"/>
            <a:ext cx="4802188" cy="338137"/>
            <a:chOff x="3429000" y="2633246"/>
            <a:chExt cx="4801428" cy="452520"/>
          </a:xfrm>
        </p:grpSpPr>
        <p:grpSp>
          <p:nvGrpSpPr>
            <p:cNvPr id="81951" name="Group 99"/>
            <p:cNvGrpSpPr>
              <a:grpSpLocks/>
            </p:cNvGrpSpPr>
            <p:nvPr/>
          </p:nvGrpSpPr>
          <p:grpSpPr bwMode="auto">
            <a:xfrm>
              <a:off x="4038504" y="2743053"/>
              <a:ext cx="838069" cy="152777"/>
              <a:chOff x="3581924" y="3505053"/>
              <a:chExt cx="839037" cy="153573"/>
            </a:xfrm>
          </p:grpSpPr>
          <p:cxnSp>
            <p:nvCxnSpPr>
              <p:cNvPr id="101" name="Straight Arrow Connector 100"/>
              <p:cNvCxnSpPr/>
              <p:nvPr/>
            </p:nvCxnSpPr>
            <p:spPr bwMode="auto">
              <a:xfrm>
                <a:off x="3581924" y="3582605"/>
                <a:ext cx="228828" cy="2135"/>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02" name="Straight Arrow Connector 101"/>
              <p:cNvCxnSpPr/>
              <p:nvPr/>
            </p:nvCxnSpPr>
            <p:spPr bwMode="auto">
              <a:xfrm rot="10800000" flipV="1">
                <a:off x="4190543" y="3582605"/>
                <a:ext cx="228828" cy="2135"/>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03" name="Straight Connector 102"/>
              <p:cNvCxnSpPr/>
              <p:nvPr/>
            </p:nvCxnSpPr>
            <p:spPr bwMode="auto">
              <a:xfrm rot="5400000">
                <a:off x="3505838" y="3581810"/>
                <a:ext cx="153761" cy="1590"/>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cxnSp>
            <p:nvCxnSpPr>
              <p:cNvPr id="105" name="Straight Connector 104"/>
              <p:cNvCxnSpPr/>
              <p:nvPr/>
            </p:nvCxnSpPr>
            <p:spPr bwMode="auto">
              <a:xfrm rot="5400000">
                <a:off x="4343285" y="3581810"/>
                <a:ext cx="153761" cy="1589"/>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grpSp>
        <p:grpSp>
          <p:nvGrpSpPr>
            <p:cNvPr id="81952" name="Group 107"/>
            <p:cNvGrpSpPr>
              <a:grpSpLocks/>
            </p:cNvGrpSpPr>
            <p:nvPr/>
          </p:nvGrpSpPr>
          <p:grpSpPr bwMode="auto">
            <a:xfrm>
              <a:off x="6628896" y="2743054"/>
              <a:ext cx="763466" cy="152776"/>
              <a:chOff x="3351502" y="3505054"/>
              <a:chExt cx="763466" cy="152776"/>
            </a:xfrm>
          </p:grpSpPr>
          <p:cxnSp>
            <p:nvCxnSpPr>
              <p:cNvPr id="109" name="Straight Arrow Connector 108"/>
              <p:cNvCxnSpPr/>
              <p:nvPr/>
            </p:nvCxnSpPr>
            <p:spPr bwMode="auto">
              <a:xfrm>
                <a:off x="3353088" y="3582203"/>
                <a:ext cx="228564" cy="2124"/>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10" name="Straight Arrow Connector 109"/>
              <p:cNvCxnSpPr/>
              <p:nvPr/>
            </p:nvCxnSpPr>
            <p:spPr bwMode="auto">
              <a:xfrm rot="10800000" flipV="1">
                <a:off x="3884815" y="3582203"/>
                <a:ext cx="228564" cy="2124"/>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11" name="Straight Connector 110"/>
              <p:cNvCxnSpPr/>
              <p:nvPr/>
            </p:nvCxnSpPr>
            <p:spPr bwMode="auto">
              <a:xfrm rot="5400000">
                <a:off x="3276873" y="3582472"/>
                <a:ext cx="150841" cy="1588"/>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cxnSp>
            <p:nvCxnSpPr>
              <p:cNvPr id="112" name="Straight Connector 111"/>
              <p:cNvCxnSpPr/>
              <p:nvPr/>
            </p:nvCxnSpPr>
            <p:spPr bwMode="auto">
              <a:xfrm rot="5400000">
                <a:off x="4038753" y="3580346"/>
                <a:ext cx="150840" cy="1588"/>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grpSp>
        <p:grpSp>
          <p:nvGrpSpPr>
            <p:cNvPr id="81953" name="Group 112"/>
            <p:cNvGrpSpPr>
              <a:grpSpLocks/>
            </p:cNvGrpSpPr>
            <p:nvPr/>
          </p:nvGrpSpPr>
          <p:grpSpPr bwMode="auto">
            <a:xfrm>
              <a:off x="7466964" y="2743054"/>
              <a:ext cx="763464" cy="152776"/>
              <a:chOff x="3427570" y="3505054"/>
              <a:chExt cx="763464" cy="152776"/>
            </a:xfrm>
          </p:grpSpPr>
          <p:cxnSp>
            <p:nvCxnSpPr>
              <p:cNvPr id="116" name="Straight Arrow Connector 115"/>
              <p:cNvCxnSpPr/>
              <p:nvPr/>
            </p:nvCxnSpPr>
            <p:spPr bwMode="auto">
              <a:xfrm>
                <a:off x="3429155" y="3582203"/>
                <a:ext cx="228564" cy="2124"/>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46" name="Straight Arrow Connector 145"/>
              <p:cNvCxnSpPr/>
              <p:nvPr/>
            </p:nvCxnSpPr>
            <p:spPr bwMode="auto">
              <a:xfrm rot="10800000" flipV="1">
                <a:off x="3960882" y="3582203"/>
                <a:ext cx="228564" cy="2124"/>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47" name="Straight Connector 146"/>
              <p:cNvCxnSpPr/>
              <p:nvPr/>
            </p:nvCxnSpPr>
            <p:spPr bwMode="auto">
              <a:xfrm rot="5400000">
                <a:off x="3352940" y="3582472"/>
                <a:ext cx="150841" cy="1588"/>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cxnSp>
            <p:nvCxnSpPr>
              <p:cNvPr id="149" name="Straight Connector 148"/>
              <p:cNvCxnSpPr/>
              <p:nvPr/>
            </p:nvCxnSpPr>
            <p:spPr bwMode="auto">
              <a:xfrm rot="5400000">
                <a:off x="4114820" y="3580346"/>
                <a:ext cx="150840" cy="1588"/>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grpSp>
        <p:grpSp>
          <p:nvGrpSpPr>
            <p:cNvPr id="81954" name="Group 149"/>
            <p:cNvGrpSpPr>
              <a:grpSpLocks/>
            </p:cNvGrpSpPr>
            <p:nvPr/>
          </p:nvGrpSpPr>
          <p:grpSpPr bwMode="auto">
            <a:xfrm>
              <a:off x="4952760" y="2743053"/>
              <a:ext cx="763466" cy="152777"/>
              <a:chOff x="3658068" y="3505053"/>
              <a:chExt cx="764348" cy="153573"/>
            </a:xfrm>
          </p:grpSpPr>
          <p:cxnSp>
            <p:nvCxnSpPr>
              <p:cNvPr id="156" name="Straight Arrow Connector 155"/>
              <p:cNvCxnSpPr/>
              <p:nvPr/>
            </p:nvCxnSpPr>
            <p:spPr bwMode="auto">
              <a:xfrm>
                <a:off x="3658067" y="3582605"/>
                <a:ext cx="228828" cy="2135"/>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57" name="Straight Arrow Connector 156"/>
              <p:cNvCxnSpPr/>
              <p:nvPr/>
            </p:nvCxnSpPr>
            <p:spPr bwMode="auto">
              <a:xfrm rot="10800000" flipV="1">
                <a:off x="4191999" y="3582605"/>
                <a:ext cx="228828" cy="2135"/>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58" name="Straight Connector 157"/>
              <p:cNvCxnSpPr/>
              <p:nvPr/>
            </p:nvCxnSpPr>
            <p:spPr bwMode="auto">
              <a:xfrm rot="5400000">
                <a:off x="3581981" y="3581810"/>
                <a:ext cx="153761" cy="1590"/>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cxnSp>
            <p:nvCxnSpPr>
              <p:cNvPr id="159" name="Straight Connector 158"/>
              <p:cNvCxnSpPr/>
              <p:nvPr/>
            </p:nvCxnSpPr>
            <p:spPr bwMode="auto">
              <a:xfrm rot="5400000">
                <a:off x="4344741" y="3581810"/>
                <a:ext cx="153761" cy="1590"/>
              </a:xfrm>
              <a:prstGeom prst="line">
                <a:avLst/>
              </a:prstGeom>
              <a:solidFill>
                <a:schemeClr val="accent1"/>
              </a:solidFill>
              <a:ln w="25400" cap="flat" cmpd="sng" algn="ctr">
                <a:solidFill>
                  <a:schemeClr val="accent4"/>
                </a:solidFill>
                <a:prstDash val="solid"/>
                <a:round/>
                <a:headEnd type="none" w="med" len="med"/>
                <a:tailEnd type="none" w="med" len="med"/>
              </a:ln>
              <a:effectLst/>
            </p:spPr>
          </p:cxnSp>
        </p:grpSp>
        <p:sp>
          <p:nvSpPr>
            <p:cNvPr id="81955" name="TextBox 159"/>
            <p:cNvSpPr txBox="1">
              <a:spLocks noChangeArrowheads="1"/>
            </p:cNvSpPr>
            <p:nvPr/>
          </p:nvSpPr>
          <p:spPr bwMode="auto">
            <a:xfrm>
              <a:off x="3429000" y="2633246"/>
              <a:ext cx="325679" cy="45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638E00"/>
                  </a:solidFill>
                  <a:effectLst/>
                  <a:uLnTx/>
                  <a:uFillTx/>
                  <a:latin typeface="Arial" charset="0"/>
                  <a:ea typeface="+mn-ea"/>
                  <a:cs typeface="+mn-cs"/>
                </a:rPr>
                <a:t>X</a:t>
              </a:r>
            </a:p>
          </p:txBody>
        </p:sp>
        <p:sp>
          <p:nvSpPr>
            <p:cNvPr id="81956" name="TextBox 160"/>
            <p:cNvSpPr txBox="1">
              <a:spLocks noChangeArrowheads="1"/>
            </p:cNvSpPr>
            <p:nvPr/>
          </p:nvSpPr>
          <p:spPr bwMode="auto">
            <a:xfrm>
              <a:off x="6095580" y="2633246"/>
              <a:ext cx="325679" cy="45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638E00"/>
                  </a:solidFill>
                  <a:effectLst/>
                  <a:uLnTx/>
                  <a:uFillTx/>
                  <a:latin typeface="Arial" charset="0"/>
                  <a:ea typeface="+mn-ea"/>
                  <a:cs typeface="+mn-cs"/>
                </a:rPr>
                <a:t>X</a:t>
              </a:r>
            </a:p>
          </p:txBody>
        </p:sp>
      </p:grpSp>
      <p:grpSp>
        <p:nvGrpSpPr>
          <p:cNvPr id="19" name="Group 162"/>
          <p:cNvGrpSpPr/>
          <p:nvPr/>
        </p:nvGrpSpPr>
        <p:grpSpPr>
          <a:xfrm>
            <a:off x="3429000" y="2860339"/>
            <a:ext cx="2895600" cy="285763"/>
            <a:chOff x="2905125" y="2362200"/>
            <a:chExt cx="3371850" cy="381017"/>
          </a:xfrm>
          <a:solidFill>
            <a:schemeClr val="accent3"/>
          </a:solidFill>
          <a:scene3d>
            <a:camera prst="orthographicFront">
              <a:rot lat="0" lon="0" rev="0"/>
            </a:camera>
            <a:lightRig rig="contrasting" dir="t">
              <a:rot lat="0" lon="0" rev="1500000"/>
            </a:lightRig>
          </a:scene3d>
        </p:grpSpPr>
        <p:sp>
          <p:nvSpPr>
            <p:cNvPr id="164" name="Pentagon 138"/>
            <p:cNvSpPr>
              <a:spLocks noChangeArrowheads="1"/>
            </p:cNvSpPr>
            <p:nvPr/>
          </p:nvSpPr>
          <p:spPr bwMode="auto">
            <a:xfrm>
              <a:off x="2905125" y="2362200"/>
              <a:ext cx="990600" cy="381017"/>
            </a:xfrm>
            <a:prstGeom prst="homePlate">
              <a:avLst>
                <a:gd name="adj" fmla="val 49999"/>
              </a:avLst>
            </a:prstGeom>
            <a:solidFill>
              <a:schemeClr val="accent4"/>
            </a:solidFill>
            <a:ln w="9525" algn="ctr">
              <a:noFill/>
              <a:round/>
              <a:headEnd/>
              <a:tailEnd/>
            </a:ln>
            <a:effectLst/>
            <a:sp3d prstMaterial="meta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mn-cs"/>
                </a:rPr>
                <a:t>D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mn-cs"/>
                </a:rPr>
                <a:t>Planning</a:t>
              </a:r>
            </a:p>
          </p:txBody>
        </p:sp>
        <p:sp>
          <p:nvSpPr>
            <p:cNvPr id="165" name="Chevron 139"/>
            <p:cNvSpPr>
              <a:spLocks noChangeArrowheads="1"/>
            </p:cNvSpPr>
            <p:nvPr/>
          </p:nvSpPr>
          <p:spPr bwMode="auto">
            <a:xfrm>
              <a:off x="3771900"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 Procure</a:t>
              </a:r>
            </a:p>
          </p:txBody>
        </p:sp>
        <p:sp>
          <p:nvSpPr>
            <p:cNvPr id="166" name="Chevron 140"/>
            <p:cNvSpPr>
              <a:spLocks noChangeArrowheads="1"/>
            </p:cNvSpPr>
            <p:nvPr/>
          </p:nvSpPr>
          <p:spPr bwMode="auto">
            <a:xfrm>
              <a:off x="4572000"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 Deploy</a:t>
              </a:r>
            </a:p>
          </p:txBody>
        </p:sp>
        <p:sp>
          <p:nvSpPr>
            <p:cNvPr id="167" name="Chevron 142"/>
            <p:cNvSpPr>
              <a:spLocks noChangeArrowheads="1"/>
            </p:cNvSpPr>
            <p:nvPr/>
          </p:nvSpPr>
          <p:spPr bwMode="auto">
            <a:xfrm>
              <a:off x="5362575" y="2362200"/>
              <a:ext cx="914400" cy="381017"/>
            </a:xfrm>
            <a:prstGeom prst="chevron">
              <a:avLst>
                <a:gd name="adj" fmla="val 50000"/>
              </a:avLst>
            </a:prstGeom>
            <a:solidFill>
              <a:schemeClr val="accent4"/>
            </a:solidFill>
            <a:ln w="9525" algn="ctr">
              <a:noFill/>
              <a:round/>
              <a:headEnd/>
              <a:tailEnd/>
            </a:ln>
            <a:effectLst/>
            <a:sp3d prstMaterial="metal"/>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Test</a:t>
              </a:r>
            </a:p>
          </p:txBody>
        </p:sp>
      </p:grpSp>
      <p:grpSp>
        <p:nvGrpSpPr>
          <p:cNvPr id="20" name="Group 213"/>
          <p:cNvGrpSpPr>
            <a:grpSpLocks/>
          </p:cNvGrpSpPr>
          <p:nvPr/>
        </p:nvGrpSpPr>
        <p:grpSpPr bwMode="auto">
          <a:xfrm>
            <a:off x="6210300" y="2517775"/>
            <a:ext cx="1779588" cy="766763"/>
            <a:chOff x="6515100" y="1599406"/>
            <a:chExt cx="1779318" cy="1022800"/>
          </a:xfrm>
        </p:grpSpPr>
        <p:sp>
          <p:nvSpPr>
            <p:cNvPr id="81948" name="Flowchart: Merge 150"/>
            <p:cNvSpPr>
              <a:spLocks noChangeArrowheads="1"/>
            </p:cNvSpPr>
            <p:nvPr/>
          </p:nvSpPr>
          <p:spPr bwMode="auto">
            <a:xfrm>
              <a:off x="6515100" y="1599406"/>
              <a:ext cx="228600" cy="152400"/>
            </a:xfrm>
            <a:prstGeom prst="flowChartMerge">
              <a:avLst/>
            </a:prstGeom>
            <a:solidFill>
              <a:schemeClr val="accent3"/>
            </a:solidFill>
            <a:ln w="9525">
              <a:solidFill>
                <a:schemeClr val="bg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dirty="0">
                <a:ln>
                  <a:noFill/>
                </a:ln>
                <a:solidFill>
                  <a:srgbClr val="4C4948"/>
                </a:solidFill>
                <a:effectLst/>
                <a:uLnTx/>
                <a:uFillTx/>
                <a:latin typeface="Arial" charset="0"/>
                <a:ea typeface="+mn-ea"/>
                <a:cs typeface="+mn-cs"/>
              </a:endParaRPr>
            </a:p>
          </p:txBody>
        </p:sp>
        <p:cxnSp>
          <p:nvCxnSpPr>
            <p:cNvPr id="81949" name="Straight Connector 151"/>
            <p:cNvCxnSpPr>
              <a:cxnSpLocks noChangeShapeType="1"/>
            </p:cNvCxnSpPr>
            <p:nvPr/>
          </p:nvCxnSpPr>
          <p:spPr bwMode="auto">
            <a:xfrm rot="5400000">
              <a:off x="6286500" y="2094706"/>
              <a:ext cx="685800" cy="1588"/>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sp>
          <p:nvSpPr>
            <p:cNvPr id="81950" name="TextBox 171"/>
            <p:cNvSpPr txBox="1">
              <a:spLocks noChangeArrowheads="1"/>
            </p:cNvSpPr>
            <p:nvPr/>
          </p:nvSpPr>
          <p:spPr bwMode="auto">
            <a:xfrm>
              <a:off x="6855051" y="2253395"/>
              <a:ext cx="1439367" cy="36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4C4948"/>
                  </a:solidFill>
                  <a:effectLst/>
                  <a:uLnTx/>
                  <a:uFillTx/>
                  <a:latin typeface="Arial" charset="0"/>
                  <a:ea typeface="+mn-ea"/>
                  <a:cs typeface="+mn-cs"/>
                </a:rPr>
                <a:t>Service Available</a:t>
              </a:r>
            </a:p>
          </p:txBody>
        </p:sp>
      </p:grpSp>
      <p:cxnSp>
        <p:nvCxnSpPr>
          <p:cNvPr id="173" name="Straight Connector 137"/>
          <p:cNvCxnSpPr>
            <a:cxnSpLocks noChangeShapeType="1"/>
          </p:cNvCxnSpPr>
          <p:nvPr/>
        </p:nvCxnSpPr>
        <p:spPr bwMode="auto">
          <a:xfrm flipV="1">
            <a:off x="3429000" y="3151188"/>
            <a:ext cx="28956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177" name="Straight Arrow Connector 176"/>
          <p:cNvCxnSpPr/>
          <p:nvPr/>
        </p:nvCxnSpPr>
        <p:spPr bwMode="auto">
          <a:xfrm flipH="1">
            <a:off x="6324600" y="1949450"/>
            <a:ext cx="2438400" cy="1196975"/>
          </a:xfrm>
          <a:prstGeom prst="straightConnector1">
            <a:avLst/>
          </a:prstGeom>
          <a:solidFill>
            <a:schemeClr val="accent1"/>
          </a:solidFill>
          <a:ln w="25400" cap="flat" cmpd="sng" algn="ctr">
            <a:solidFill>
              <a:schemeClr val="accent4"/>
            </a:solidFill>
            <a:prstDash val="solid"/>
            <a:round/>
            <a:headEnd type="none" w="med" len="med"/>
            <a:tailEnd type="triangle" w="lg" len="med"/>
          </a:ln>
          <a:effectLst/>
        </p:spPr>
      </p:cxnSp>
      <p:cxnSp>
        <p:nvCxnSpPr>
          <p:cNvPr id="179" name="Straight Arrow Connector 178"/>
          <p:cNvCxnSpPr>
            <a:cxnSpLocks noChangeShapeType="1"/>
          </p:cNvCxnSpPr>
          <p:nvPr/>
        </p:nvCxnSpPr>
        <p:spPr bwMode="auto">
          <a:xfrm flipH="1">
            <a:off x="3417888" y="3151188"/>
            <a:ext cx="2906712" cy="1344612"/>
          </a:xfrm>
          <a:prstGeom prst="straightConnector1">
            <a:avLst/>
          </a:prstGeom>
          <a:noFill/>
          <a:ln w="25400">
            <a:solidFill>
              <a:schemeClr val="accent4"/>
            </a:solidFill>
            <a:round/>
            <a:headEnd/>
            <a:tailEnd type="triangle" w="lg"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758259062"/>
      </p:ext>
    </p:extLst>
  </p:cSld>
  <p:clrMapOvr>
    <a:masterClrMapping/>
  </p:clrMapOvr>
  <p:transition spd="slow">
    <p:circl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65852F-C5A8-4975-834B-6BDB07692FD4}"/>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487179" y="2397991"/>
            <a:ext cx="3264359" cy="201982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Content Placeholder 1">
            <a:extLst>
              <a:ext uri="{FF2B5EF4-FFF2-40B4-BE49-F238E27FC236}">
                <a16:creationId xmlns:a16="http://schemas.microsoft.com/office/drawing/2014/main" id="{F8ADDD2B-1D0E-4E77-8AA0-138731EA1D7E}"/>
              </a:ext>
            </a:extLst>
          </p:cNvPr>
          <p:cNvSpPr txBox="1">
            <a:spLocks/>
          </p:cNvSpPr>
          <p:nvPr/>
        </p:nvSpPr>
        <p:spPr>
          <a:xfrm>
            <a:off x="278058" y="2397992"/>
            <a:ext cx="3837933" cy="2326408"/>
          </a:xfrm>
          <a:prstGeom prst="rect">
            <a:avLst/>
          </a:prstGeom>
        </p:spPr>
        <p:txBody>
          <a:bodyPr/>
          <a:lstStyle>
            <a:lvl1pPr marL="295275" indent="-295275" algn="l" rtl="0" fontAlgn="base">
              <a:spcBef>
                <a:spcPts val="675"/>
              </a:spcBef>
              <a:spcAft>
                <a:spcPct val="0"/>
              </a:spcAft>
              <a:buClr>
                <a:srgbClr val="83AC3E"/>
              </a:buClr>
              <a:buFont typeface="Arial" panose="020B0604020202020204" pitchFamily="34" charset="0"/>
              <a:buChar char="•"/>
              <a:defRPr>
                <a:solidFill>
                  <a:srgbClr val="000000"/>
                </a:solidFill>
                <a:latin typeface="+mn-lt"/>
                <a:ea typeface="+mn-ea"/>
                <a:cs typeface="+mn-cs"/>
              </a:defRPr>
            </a:lvl1pPr>
            <a:lvl2pPr marL="633413" indent="-333375" algn="l" rtl="0" fontAlgn="base">
              <a:spcBef>
                <a:spcPts val="625"/>
              </a:spcBef>
              <a:spcAft>
                <a:spcPct val="0"/>
              </a:spcAft>
              <a:buClr>
                <a:schemeClr val="tx1"/>
              </a:buClr>
              <a:buFont typeface="Lucida Grande" pitchFamily="34" charset="0"/>
              <a:buChar char="-"/>
              <a:defRPr sz="1600">
                <a:solidFill>
                  <a:srgbClr val="000000"/>
                </a:solidFill>
                <a:latin typeface="+mn-lt"/>
              </a:defRPr>
            </a:lvl2pPr>
            <a:lvl3pPr marL="923925" indent="-285750" algn="l" rtl="0" fontAlgn="base">
              <a:spcBef>
                <a:spcPts val="575"/>
              </a:spcBef>
              <a:spcAft>
                <a:spcPct val="0"/>
              </a:spcAft>
              <a:buClr>
                <a:srgbClr val="83AC3E"/>
              </a:buClr>
              <a:buFont typeface="Arial" panose="020B0604020202020204" pitchFamily="34" charset="0"/>
              <a:buChar char="•"/>
              <a:defRPr sz="1600">
                <a:solidFill>
                  <a:srgbClr val="000000"/>
                </a:solidFill>
                <a:latin typeface="+mn-lt"/>
              </a:defRPr>
            </a:lvl3pPr>
            <a:lvl4pPr marL="1233488" indent="-304800" algn="l" rtl="0" fontAlgn="base">
              <a:spcBef>
                <a:spcPts val="475"/>
              </a:spcBef>
              <a:spcAft>
                <a:spcPct val="0"/>
              </a:spcAft>
              <a:buClr>
                <a:schemeClr val="tx1"/>
              </a:buClr>
              <a:buFont typeface="Lucida Grande" pitchFamily="34" charset="0"/>
              <a:buChar char="-"/>
              <a:defRPr sz="1600">
                <a:solidFill>
                  <a:srgbClr val="000000"/>
                </a:solidFill>
                <a:latin typeface="+mn-lt"/>
              </a:defRPr>
            </a:lvl4pPr>
            <a:lvl5pPr marL="1501775" indent="-263525" algn="l" rtl="0" fontAlgn="base">
              <a:spcBef>
                <a:spcPts val="475"/>
              </a:spcBef>
              <a:spcAft>
                <a:spcPct val="0"/>
              </a:spcAft>
              <a:buClr>
                <a:srgbClr val="83AC3E"/>
              </a:buClr>
              <a:buFont typeface="Arial" panose="020B0604020202020204" pitchFamily="34" charset="0"/>
              <a:buChar char="•"/>
              <a:defRPr sz="1600">
                <a:solidFill>
                  <a:srgbClr val="000000"/>
                </a:solidFill>
                <a:latin typeface="+mn-lt"/>
              </a:defRPr>
            </a:lvl5pPr>
            <a:lvl6pPr marL="1961758" indent="-266651"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869" indent="-266651"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5974" indent="-266651"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086" indent="-266651" algn="l" rtl="0" eaLnBrk="1" fontAlgn="base" hangingPunct="1">
              <a:spcBef>
                <a:spcPct val="20000"/>
              </a:spcBef>
              <a:spcAft>
                <a:spcPct val="0"/>
              </a:spcAft>
              <a:buFont typeface="Wingdings 2" pitchFamily="18" charset="2"/>
              <a:buChar char="¡"/>
              <a:defRPr sz="2000">
                <a:solidFill>
                  <a:schemeClr val="tx1"/>
                </a:solidFill>
                <a:latin typeface="+mn-lt"/>
              </a:defRPr>
            </a:lvl9pPr>
          </a:lstStyle>
          <a:p>
            <a:pPr marL="0" indent="0" eaLnBrk="1" hangingPunct="1">
              <a:buFont typeface="Arial" panose="020B0604020202020204" pitchFamily="34" charset="0"/>
              <a:buNone/>
            </a:pPr>
            <a:r>
              <a:rPr lang="en-US" sz="1500" b="1" kern="0"/>
              <a:t>New workloads</a:t>
            </a:r>
          </a:p>
          <a:p>
            <a:pPr eaLnBrk="1" hangingPunct="1"/>
            <a:r>
              <a:rPr lang="en-US" sz="1500" kern="0"/>
              <a:t>Artificial Intelligence / Machine Learning</a:t>
            </a:r>
          </a:p>
          <a:p>
            <a:pPr eaLnBrk="1" hangingPunct="1"/>
            <a:r>
              <a:rPr lang="en-US" sz="1500" kern="0"/>
              <a:t>Vertical Apps</a:t>
            </a:r>
          </a:p>
          <a:p>
            <a:pPr lvl="1" eaLnBrk="1" hangingPunct="1"/>
            <a:r>
              <a:rPr lang="en-US" sz="1350" kern="0"/>
              <a:t>Healthcare: Epic, Meditech</a:t>
            </a:r>
            <a:endParaRPr lang="en-US" sz="1350" kern="0" dirty="0"/>
          </a:p>
        </p:txBody>
      </p:sp>
      <p:sp>
        <p:nvSpPr>
          <p:cNvPr id="4" name="Content Placeholder 1">
            <a:extLst>
              <a:ext uri="{FF2B5EF4-FFF2-40B4-BE49-F238E27FC236}">
                <a16:creationId xmlns:a16="http://schemas.microsoft.com/office/drawing/2014/main" id="{B4DA385B-44C7-4962-AA70-9E1F6F925D03}"/>
              </a:ext>
            </a:extLst>
          </p:cNvPr>
          <p:cNvSpPr txBox="1">
            <a:spLocks/>
          </p:cNvSpPr>
          <p:nvPr/>
        </p:nvSpPr>
        <p:spPr bwMode="auto">
          <a:xfrm>
            <a:off x="5892659" y="2332938"/>
            <a:ext cx="2973283" cy="2372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11087" indent="-311087" algn="l" rtl="0" eaLnBrk="0" fontAlgn="base" hangingPunct="0">
              <a:spcBef>
                <a:spcPts val="800"/>
              </a:spcBef>
              <a:spcAft>
                <a:spcPct val="0"/>
              </a:spcAft>
              <a:buFont typeface="Arial" panose="020B0604020202020204" pitchFamily="34" charset="0"/>
              <a:buChar char="•"/>
              <a:defRPr>
                <a:solidFill>
                  <a:srgbClr val="000000"/>
                </a:solidFill>
                <a:latin typeface="+mn-lt"/>
                <a:ea typeface="+mn-ea"/>
                <a:cs typeface="+mn-cs"/>
              </a:defRPr>
            </a:lvl1pPr>
            <a:lvl2pPr marL="609475" indent="-311087" algn="l" rtl="0" eaLnBrk="0" fontAlgn="base" hangingPunct="0">
              <a:spcBef>
                <a:spcPts val="533"/>
              </a:spcBef>
              <a:spcAft>
                <a:spcPct val="0"/>
              </a:spcAft>
              <a:buFont typeface="Arial" panose="020B0604020202020204" pitchFamily="34" charset="0"/>
              <a:buChar char="•"/>
              <a:defRPr sz="2133">
                <a:solidFill>
                  <a:srgbClr val="000000"/>
                </a:solidFill>
                <a:latin typeface="+mn-lt"/>
              </a:defRPr>
            </a:lvl2pPr>
            <a:lvl3pPr marL="924802" indent="-304736" algn="l" rtl="0" eaLnBrk="0" fontAlgn="base" hangingPunct="0">
              <a:spcBef>
                <a:spcPts val="533"/>
              </a:spcBef>
              <a:spcAft>
                <a:spcPct val="0"/>
              </a:spcAft>
              <a:buFont typeface="Arial" panose="020B0604020202020204" pitchFamily="34" charset="0"/>
              <a:buChar char="•"/>
              <a:defRPr sz="2400">
                <a:solidFill>
                  <a:srgbClr val="000000"/>
                </a:solidFill>
                <a:latin typeface="+mn-lt"/>
              </a:defRPr>
            </a:lvl3pPr>
            <a:lvl4pPr marL="1223188" indent="-304736" algn="l" rtl="0" eaLnBrk="0" fontAlgn="base" hangingPunct="0">
              <a:spcBef>
                <a:spcPts val="533"/>
              </a:spcBef>
              <a:spcAft>
                <a:spcPct val="0"/>
              </a:spcAft>
              <a:buFont typeface="Arial" panose="020B0604020202020204" pitchFamily="34" charset="0"/>
              <a:buChar char="•"/>
              <a:defRPr sz="2133">
                <a:solidFill>
                  <a:srgbClr val="000000"/>
                </a:solidFill>
                <a:latin typeface="+mn-lt"/>
              </a:defRPr>
            </a:lvl4pPr>
            <a:lvl5pPr marL="1534280" indent="-304736" algn="l" rtl="0" eaLnBrk="0" fontAlgn="base" hangingPunct="0">
              <a:spcBef>
                <a:spcPts val="533"/>
              </a:spcBef>
              <a:spcAft>
                <a:spcPct val="0"/>
              </a:spcAft>
              <a:buFont typeface="Arial" panose="020B0604020202020204" pitchFamily="34" charset="0"/>
              <a:buChar char="•"/>
              <a:defRPr sz="2133">
                <a:solidFill>
                  <a:srgbClr val="000000"/>
                </a:solidFill>
                <a:latin typeface="+mn-lt"/>
              </a:defRPr>
            </a:lvl5pPr>
            <a:lvl6pPr marL="2615677" indent="-355534" algn="l" rtl="0" fontAlgn="base">
              <a:spcBef>
                <a:spcPct val="20000"/>
              </a:spcBef>
              <a:spcAft>
                <a:spcPct val="0"/>
              </a:spcAft>
              <a:buFont typeface="Wingdings 2" pitchFamily="18" charset="2"/>
              <a:buChar char="¡"/>
              <a:defRPr sz="2667">
                <a:solidFill>
                  <a:schemeClr val="tx1"/>
                </a:solidFill>
                <a:latin typeface="+mn-lt"/>
              </a:defRPr>
            </a:lvl6pPr>
            <a:lvl7pPr marL="3225158" indent="-355534" algn="l" rtl="0" fontAlgn="base">
              <a:spcBef>
                <a:spcPct val="20000"/>
              </a:spcBef>
              <a:spcAft>
                <a:spcPct val="0"/>
              </a:spcAft>
              <a:buFont typeface="Wingdings 2" pitchFamily="18" charset="2"/>
              <a:buChar char="¡"/>
              <a:defRPr sz="2667">
                <a:solidFill>
                  <a:schemeClr val="tx1"/>
                </a:solidFill>
                <a:latin typeface="+mn-lt"/>
              </a:defRPr>
            </a:lvl7pPr>
            <a:lvl8pPr marL="3834632" indent="-355534" algn="l" rtl="0" fontAlgn="base">
              <a:spcBef>
                <a:spcPct val="20000"/>
              </a:spcBef>
              <a:spcAft>
                <a:spcPct val="0"/>
              </a:spcAft>
              <a:buFont typeface="Wingdings 2" pitchFamily="18" charset="2"/>
              <a:buChar char="¡"/>
              <a:defRPr sz="2667">
                <a:solidFill>
                  <a:schemeClr val="tx1"/>
                </a:solidFill>
                <a:latin typeface="+mn-lt"/>
              </a:defRPr>
            </a:lvl8pPr>
            <a:lvl9pPr marL="4444114" indent="-355534" algn="l" rtl="0" fontAlgn="base">
              <a:spcBef>
                <a:spcPct val="20000"/>
              </a:spcBef>
              <a:spcAft>
                <a:spcPct val="0"/>
              </a:spcAft>
              <a:buFont typeface="Wingdings 2" pitchFamily="18" charset="2"/>
              <a:buChar char="¡"/>
              <a:defRPr sz="2667">
                <a:solidFill>
                  <a:schemeClr val="tx1"/>
                </a:solidFill>
                <a:latin typeface="+mn-lt"/>
              </a:defRPr>
            </a:lvl9pPr>
          </a:lstStyle>
          <a:p>
            <a:pPr marL="0" indent="0">
              <a:buNone/>
            </a:pPr>
            <a:r>
              <a:rPr lang="en-US" sz="1500" b="1" kern="0" dirty="0"/>
              <a:t>Continuous Application Updates</a:t>
            </a:r>
          </a:p>
          <a:p>
            <a:r>
              <a:rPr lang="en-US" sz="1500" kern="0" dirty="0"/>
              <a:t>Oracle 12c R2</a:t>
            </a:r>
          </a:p>
          <a:p>
            <a:r>
              <a:rPr lang="en-US" sz="1500" kern="0" dirty="0"/>
              <a:t>SAP HANA</a:t>
            </a:r>
          </a:p>
          <a:p>
            <a:r>
              <a:rPr lang="en-US" sz="1500" kern="0" dirty="0"/>
              <a:t>SQL Server 2017</a:t>
            </a:r>
          </a:p>
          <a:p>
            <a:r>
              <a:rPr lang="en-US" sz="1500" kern="0" dirty="0"/>
              <a:t>Citrix </a:t>
            </a:r>
            <a:r>
              <a:rPr lang="en-US" sz="1500" kern="0" dirty="0" err="1"/>
              <a:t>XenDesktop</a:t>
            </a:r>
            <a:endParaRPr lang="en-US" sz="1500" kern="0" dirty="0"/>
          </a:p>
          <a:p>
            <a:r>
              <a:rPr lang="en-US" sz="1500" kern="0" dirty="0"/>
              <a:t>VMware Horizon View</a:t>
            </a:r>
          </a:p>
        </p:txBody>
      </p:sp>
      <p:sp>
        <p:nvSpPr>
          <p:cNvPr id="5" name="Freeform 143">
            <a:extLst>
              <a:ext uri="{FF2B5EF4-FFF2-40B4-BE49-F238E27FC236}">
                <a16:creationId xmlns:a16="http://schemas.microsoft.com/office/drawing/2014/main" id="{EE56F719-6CCB-44BA-9FA6-8A723B983FDC}"/>
              </a:ext>
            </a:extLst>
          </p:cNvPr>
          <p:cNvSpPr>
            <a:spLocks noChangeArrowheads="1"/>
          </p:cNvSpPr>
          <p:nvPr/>
        </p:nvSpPr>
        <p:spPr bwMode="auto">
          <a:xfrm>
            <a:off x="1682041" y="1780847"/>
            <a:ext cx="5175959" cy="840177"/>
          </a:xfrm>
          <a:custGeom>
            <a:avLst/>
            <a:gdLst>
              <a:gd name="T0" fmla="*/ 0 w 5842000"/>
              <a:gd name="T1" fmla="*/ 0 h 778933"/>
              <a:gd name="T2" fmla="*/ 18285 w 5842000"/>
              <a:gd name="T3" fmla="*/ 1 h 778933"/>
              <a:gd name="T4" fmla="*/ 41639 w 5842000"/>
              <a:gd name="T5" fmla="*/ 1 h 778933"/>
              <a:gd name="T6" fmla="*/ 0 w 5842000"/>
              <a:gd name="T7" fmla="*/ 0 h 778933"/>
              <a:gd name="T8" fmla="*/ 0 60000 65536"/>
              <a:gd name="T9" fmla="*/ 0 60000 65536"/>
              <a:gd name="T10" fmla="*/ 0 60000 65536"/>
              <a:gd name="T11" fmla="*/ 0 60000 65536"/>
              <a:gd name="T12" fmla="*/ 0 w 5842000"/>
              <a:gd name="T13" fmla="*/ 0 h 778933"/>
              <a:gd name="T14" fmla="*/ 5842000 w 5842000"/>
              <a:gd name="T15" fmla="*/ 778933 h 778933"/>
            </a:gdLst>
            <a:ahLst/>
            <a:cxnLst>
              <a:cxn ang="T8">
                <a:pos x="T0" y="T1"/>
              </a:cxn>
              <a:cxn ang="T9">
                <a:pos x="T2" y="T3"/>
              </a:cxn>
              <a:cxn ang="T10">
                <a:pos x="T4" y="T5"/>
              </a:cxn>
              <a:cxn ang="T11">
                <a:pos x="T6" y="T7"/>
              </a:cxn>
            </a:cxnLst>
            <a:rect l="T12" t="T13" r="T14" b="T15"/>
            <a:pathLst>
              <a:path w="5842000" h="778933">
                <a:moveTo>
                  <a:pt x="0" y="0"/>
                </a:moveTo>
                <a:lnTo>
                  <a:pt x="2565400" y="778933"/>
                </a:lnTo>
                <a:lnTo>
                  <a:pt x="5842000" y="8467"/>
                </a:lnTo>
                <a:lnTo>
                  <a:pt x="0" y="0"/>
                </a:lnTo>
                <a:close/>
              </a:path>
            </a:pathLst>
          </a:custGeom>
          <a:gradFill rotWithShape="1">
            <a:gsLst>
              <a:gs pos="0">
                <a:schemeClr val="bg1">
                  <a:lumMod val="65000"/>
                </a:schemeClr>
              </a:gs>
              <a:gs pos="100000">
                <a:schemeClr val="accent4">
                  <a:lumMod val="7000"/>
                  <a:lumOff val="93000"/>
                </a:schemeClr>
              </a:gs>
            </a:gsLst>
            <a:lin ang="5400000" scaled="0"/>
          </a:gradFill>
          <a:ln>
            <a:noFill/>
          </a:ln>
        </p:spPr>
        <p:txBody>
          <a:bodyPr wrap="none" anchor="ctr"/>
          <a:lstStyle/>
          <a:p>
            <a:pPr>
              <a:defRPr/>
            </a:pPr>
            <a:endParaRPr lang="en-US" sz="1800" dirty="0">
              <a:solidFill>
                <a:prstClr val="black"/>
              </a:solidFill>
            </a:endParaRPr>
          </a:p>
        </p:txBody>
      </p:sp>
      <p:pic>
        <p:nvPicPr>
          <p:cNvPr id="6" name="Picture 34" descr="oracle_application_v1">
            <a:extLst>
              <a:ext uri="{FF2B5EF4-FFF2-40B4-BE49-F238E27FC236}">
                <a16:creationId xmlns:a16="http://schemas.microsoft.com/office/drawing/2014/main" id="{A07AF131-DC72-476B-9677-A33169BA43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8044" y="1409193"/>
            <a:ext cx="565547"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6" descr="windows_application_v1">
            <a:extLst>
              <a:ext uri="{FF2B5EF4-FFF2-40B4-BE49-F238E27FC236}">
                <a16:creationId xmlns:a16="http://schemas.microsoft.com/office/drawing/2014/main" id="{20E00721-13FC-4A4B-85FF-A1BA2F706F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1760" y="1409193"/>
            <a:ext cx="565547"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5" descr="SAP_Application_v1">
            <a:extLst>
              <a:ext uri="{FF2B5EF4-FFF2-40B4-BE49-F238E27FC236}">
                <a16:creationId xmlns:a16="http://schemas.microsoft.com/office/drawing/2014/main" id="{95537C09-38A1-460D-B6E6-0BD7804995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29213" y="1409193"/>
            <a:ext cx="564356"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a:extLst>
              <a:ext uri="{FF2B5EF4-FFF2-40B4-BE49-F238E27FC236}">
                <a16:creationId xmlns:a16="http://schemas.microsoft.com/office/drawing/2014/main" id="{D6EC5D15-D6D0-4FD8-A152-D30D80EE7F03}"/>
              </a:ext>
            </a:extLst>
          </p:cNvPr>
          <p:cNvGrpSpPr>
            <a:grpSpLocks/>
          </p:cNvGrpSpPr>
          <p:nvPr/>
        </p:nvGrpSpPr>
        <p:grpSpPr bwMode="auto">
          <a:xfrm>
            <a:off x="2821782" y="1409193"/>
            <a:ext cx="564356" cy="341710"/>
            <a:chOff x="2136016" y="3505197"/>
            <a:chExt cx="753272" cy="608460"/>
          </a:xfrm>
        </p:grpSpPr>
        <p:pic>
          <p:nvPicPr>
            <p:cNvPr id="10" name="Picture 32" descr="linux_application_v1">
              <a:extLst>
                <a:ext uri="{FF2B5EF4-FFF2-40B4-BE49-F238E27FC236}">
                  <a16:creationId xmlns:a16="http://schemas.microsoft.com/office/drawing/2014/main" id="{E4AB90CC-5D31-4834-9E56-A9493A9106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6016" y="3505197"/>
              <a:ext cx="753272"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FEABDFC9-363D-48F6-B8C1-6DBD72C81F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61713" y="3603971"/>
              <a:ext cx="676064" cy="434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7">
            <a:extLst>
              <a:ext uri="{FF2B5EF4-FFF2-40B4-BE49-F238E27FC236}">
                <a16:creationId xmlns:a16="http://schemas.microsoft.com/office/drawing/2014/main" id="{04369C81-65D7-449F-B3B5-B9D4E219EB9A}"/>
              </a:ext>
            </a:extLst>
          </p:cNvPr>
          <p:cNvGrpSpPr>
            <a:grpSpLocks/>
          </p:cNvGrpSpPr>
          <p:nvPr/>
        </p:nvGrpSpPr>
        <p:grpSpPr bwMode="auto">
          <a:xfrm>
            <a:off x="2244328" y="1409193"/>
            <a:ext cx="564356" cy="341710"/>
            <a:chOff x="1366486" y="3505197"/>
            <a:chExt cx="753272" cy="608460"/>
          </a:xfrm>
        </p:grpSpPr>
        <p:pic>
          <p:nvPicPr>
            <p:cNvPr id="13" name="Picture 35" descr="SAP_Application_v1">
              <a:extLst>
                <a:ext uri="{FF2B5EF4-FFF2-40B4-BE49-F238E27FC236}">
                  <a16:creationId xmlns:a16="http://schemas.microsoft.com/office/drawing/2014/main" id="{09A46A99-A545-4308-B956-307D7B2693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6486" y="3505197"/>
              <a:ext cx="753272"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23">
              <a:extLst>
                <a:ext uri="{FF2B5EF4-FFF2-40B4-BE49-F238E27FC236}">
                  <a16:creationId xmlns:a16="http://schemas.microsoft.com/office/drawing/2014/main" id="{48001220-95B6-4B04-AEBF-C2B858C3868D}"/>
                </a:ext>
              </a:extLst>
            </p:cNvPr>
            <p:cNvSpPr txBox="1">
              <a:spLocks noChangeArrowheads="1"/>
            </p:cNvSpPr>
            <p:nvPr/>
          </p:nvSpPr>
          <p:spPr bwMode="auto">
            <a:xfrm>
              <a:off x="1398270" y="3628161"/>
              <a:ext cx="683348" cy="394333"/>
            </a:xfrm>
            <a:prstGeom prst="rect">
              <a:avLst/>
            </a:prstGeom>
            <a:solidFill>
              <a:schemeClr val="bg1"/>
            </a:solidFill>
            <a:ln>
              <a:noFill/>
            </a:ln>
            <a:extLst>
              <a:ext uri="{91240B29-F687-4f45-9708-019B960494DF}"/>
            </a:extLst>
          </p:spPr>
          <p:txBody>
            <a:bodyPr lIns="0" tIns="0" rIns="0" bIns="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buClr>
                  <a:srgbClr val="84BD00"/>
                </a:buClr>
                <a:defRPr/>
              </a:pPr>
              <a:endParaRPr lang="en-US" sz="844" b="1">
                <a:solidFill>
                  <a:srgbClr val="595959"/>
                </a:solidFill>
              </a:endParaRPr>
            </a:p>
          </p:txBody>
        </p:sp>
      </p:grpSp>
      <p:sp>
        <p:nvSpPr>
          <p:cNvPr id="15" name="TextBox 27">
            <a:extLst>
              <a:ext uri="{FF2B5EF4-FFF2-40B4-BE49-F238E27FC236}">
                <a16:creationId xmlns:a16="http://schemas.microsoft.com/office/drawing/2014/main" id="{6F2DDF70-5035-4B22-991A-026300A6A951}"/>
              </a:ext>
            </a:extLst>
          </p:cNvPr>
          <p:cNvSpPr txBox="1">
            <a:spLocks noChangeArrowheads="1"/>
          </p:cNvSpPr>
          <p:nvPr/>
        </p:nvSpPr>
        <p:spPr bwMode="auto">
          <a:xfrm>
            <a:off x="3995738" y="1496110"/>
            <a:ext cx="511969" cy="103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rgbClr val="84BD00"/>
              </a:buClr>
            </a:pPr>
            <a:endParaRPr lang="en-US" altLang="en-US" sz="675" b="1">
              <a:solidFill>
                <a:srgbClr val="595959"/>
              </a:solidFill>
              <a:cs typeface="Arial" panose="020B0604020202020204" pitchFamily="34" charset="0"/>
            </a:endParaRPr>
          </a:p>
        </p:txBody>
      </p:sp>
      <p:grpSp>
        <p:nvGrpSpPr>
          <p:cNvPr id="16" name="Group 6">
            <a:extLst>
              <a:ext uri="{FF2B5EF4-FFF2-40B4-BE49-F238E27FC236}">
                <a16:creationId xmlns:a16="http://schemas.microsoft.com/office/drawing/2014/main" id="{5F56395E-45D0-4EF1-A06E-8D9467FD766A}"/>
              </a:ext>
            </a:extLst>
          </p:cNvPr>
          <p:cNvGrpSpPr>
            <a:grpSpLocks/>
          </p:cNvGrpSpPr>
          <p:nvPr/>
        </p:nvGrpSpPr>
        <p:grpSpPr bwMode="auto">
          <a:xfrm>
            <a:off x="1665685" y="1409193"/>
            <a:ext cx="565547" cy="341710"/>
            <a:chOff x="609600" y="3507226"/>
            <a:chExt cx="753273" cy="608460"/>
          </a:xfrm>
        </p:grpSpPr>
        <p:pic>
          <p:nvPicPr>
            <p:cNvPr id="17" name="Picture 35" descr="SAP_Application_v1">
              <a:extLst>
                <a:ext uri="{FF2B5EF4-FFF2-40B4-BE49-F238E27FC236}">
                  <a16:creationId xmlns:a16="http://schemas.microsoft.com/office/drawing/2014/main" id="{26BF1DE0-0417-4BF8-A1C8-054C3E94DA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3507226"/>
              <a:ext cx="753273"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29">
              <a:extLst>
                <a:ext uri="{FF2B5EF4-FFF2-40B4-BE49-F238E27FC236}">
                  <a16:creationId xmlns:a16="http://schemas.microsoft.com/office/drawing/2014/main" id="{C61E1B64-051F-4F67-9FD9-B22DCCF3773F}"/>
                </a:ext>
              </a:extLst>
            </p:cNvPr>
            <p:cNvSpPr txBox="1">
              <a:spLocks noChangeArrowheads="1"/>
            </p:cNvSpPr>
            <p:nvPr/>
          </p:nvSpPr>
          <p:spPr bwMode="auto">
            <a:xfrm>
              <a:off x="631387" y="3654303"/>
              <a:ext cx="682822" cy="3802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rgbClr val="84BD00"/>
                </a:buClr>
              </a:pPr>
              <a:endParaRPr lang="en-US" altLang="en-US" sz="675" b="1">
                <a:solidFill>
                  <a:srgbClr val="595959"/>
                </a:solidFill>
                <a:cs typeface="Arial" panose="020B0604020202020204" pitchFamily="34" charset="0"/>
              </a:endParaRPr>
            </a:p>
          </p:txBody>
        </p:sp>
      </p:grpSp>
      <p:grpSp>
        <p:nvGrpSpPr>
          <p:cNvPr id="19" name="Group 10">
            <a:extLst>
              <a:ext uri="{FF2B5EF4-FFF2-40B4-BE49-F238E27FC236}">
                <a16:creationId xmlns:a16="http://schemas.microsoft.com/office/drawing/2014/main" id="{83ABDE94-461A-41CB-8F94-3C797EF1C5EA}"/>
              </a:ext>
            </a:extLst>
          </p:cNvPr>
          <p:cNvGrpSpPr>
            <a:grpSpLocks/>
          </p:cNvGrpSpPr>
          <p:nvPr/>
        </p:nvGrpSpPr>
        <p:grpSpPr bwMode="auto">
          <a:xfrm>
            <a:off x="5706666" y="1409193"/>
            <a:ext cx="564356" cy="341710"/>
            <a:chOff x="5985471" y="3505197"/>
            <a:chExt cx="753273" cy="608460"/>
          </a:xfrm>
        </p:grpSpPr>
        <p:pic>
          <p:nvPicPr>
            <p:cNvPr id="20" name="Picture 35" descr="SAP_Application_v1">
              <a:extLst>
                <a:ext uri="{FF2B5EF4-FFF2-40B4-BE49-F238E27FC236}">
                  <a16:creationId xmlns:a16="http://schemas.microsoft.com/office/drawing/2014/main" id="{94C9D115-8C10-4177-BF17-3E690166A8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85471" y="3505197"/>
              <a:ext cx="753273"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8">
              <a:extLst>
                <a:ext uri="{FF2B5EF4-FFF2-40B4-BE49-F238E27FC236}">
                  <a16:creationId xmlns:a16="http://schemas.microsoft.com/office/drawing/2014/main" id="{546B860F-3D2A-4C60-9066-BE8350C55A22}"/>
                </a:ext>
              </a:extLst>
            </p:cNvPr>
            <p:cNvSpPr txBox="1">
              <a:spLocks noChangeArrowheads="1"/>
            </p:cNvSpPr>
            <p:nvPr/>
          </p:nvSpPr>
          <p:spPr bwMode="auto">
            <a:xfrm>
              <a:off x="6045364" y="3657600"/>
              <a:ext cx="606953" cy="30802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rgbClr val="84BD00"/>
                </a:buClr>
              </a:pPr>
              <a:endParaRPr lang="en-US" altLang="en-US" sz="675" b="1">
                <a:solidFill>
                  <a:srgbClr val="595959"/>
                </a:solidFill>
                <a:cs typeface="Arial" panose="020B0604020202020204" pitchFamily="34" charset="0"/>
              </a:endParaRPr>
            </a:p>
          </p:txBody>
        </p:sp>
      </p:grpSp>
      <p:grpSp>
        <p:nvGrpSpPr>
          <p:cNvPr id="22" name="Group 11">
            <a:extLst>
              <a:ext uri="{FF2B5EF4-FFF2-40B4-BE49-F238E27FC236}">
                <a16:creationId xmlns:a16="http://schemas.microsoft.com/office/drawing/2014/main" id="{59B03CCE-094C-43E4-A9B5-F7AB113F0D95}"/>
              </a:ext>
            </a:extLst>
          </p:cNvPr>
          <p:cNvGrpSpPr>
            <a:grpSpLocks/>
          </p:cNvGrpSpPr>
          <p:nvPr/>
        </p:nvGrpSpPr>
        <p:grpSpPr bwMode="auto">
          <a:xfrm>
            <a:off x="6293644" y="1409193"/>
            <a:ext cx="564356" cy="341710"/>
            <a:chOff x="6765839" y="3505197"/>
            <a:chExt cx="753273" cy="608460"/>
          </a:xfrm>
        </p:grpSpPr>
        <p:pic>
          <p:nvPicPr>
            <p:cNvPr id="23" name="Picture 34" descr="oracle_application_v1">
              <a:extLst>
                <a:ext uri="{FF2B5EF4-FFF2-40B4-BE49-F238E27FC236}">
                  <a16:creationId xmlns:a16="http://schemas.microsoft.com/office/drawing/2014/main" id="{6DC33F1B-90E8-4F18-B0A3-00B79D4634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5839" y="3505197"/>
              <a:ext cx="753273" cy="6084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4" name="Rectangle 1">
              <a:extLst>
                <a:ext uri="{FF2B5EF4-FFF2-40B4-BE49-F238E27FC236}">
                  <a16:creationId xmlns:a16="http://schemas.microsoft.com/office/drawing/2014/main" id="{3AEC0A0D-931E-4CD6-92B5-627EE19767A7}"/>
                </a:ext>
              </a:extLst>
            </p:cNvPr>
            <p:cNvSpPr>
              <a:spLocks noChangeArrowheads="1"/>
            </p:cNvSpPr>
            <p:nvPr/>
          </p:nvSpPr>
          <p:spPr bwMode="auto">
            <a:xfrm>
              <a:off x="6791129" y="3616749"/>
              <a:ext cx="655727" cy="379273"/>
            </a:xfrm>
            <a:prstGeom prst="rect">
              <a:avLst/>
            </a:prstGeom>
            <a:solidFill>
              <a:srgbClr val="FE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buClr>
                  <a:srgbClr val="FEC60B"/>
                </a:buClr>
              </a:pPr>
              <a:endParaRPr lang="en-US" altLang="en-US" sz="1350">
                <a:solidFill>
                  <a:srgbClr val="000000"/>
                </a:solidFill>
              </a:endParaRPr>
            </a:p>
          </p:txBody>
        </p:sp>
        <p:pic>
          <p:nvPicPr>
            <p:cNvPr id="25" name="Picture 35" descr="SAP_Application_v1">
              <a:extLst>
                <a:ext uri="{FF2B5EF4-FFF2-40B4-BE49-F238E27FC236}">
                  <a16:creationId xmlns:a16="http://schemas.microsoft.com/office/drawing/2014/main" id="{674C2989-2E8E-4BAC-933E-665A4D769C9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1839" y="3680210"/>
              <a:ext cx="673791" cy="250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6" name="Picture 42" descr="Screen Shot 2013-03-25 at 6.46.53 PM.png">
            <a:extLst>
              <a:ext uri="{FF2B5EF4-FFF2-40B4-BE49-F238E27FC236}">
                <a16:creationId xmlns:a16="http://schemas.microsoft.com/office/drawing/2014/main" id="{5B78A44A-41C3-4C85-83A1-B671EF860E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38525" y="1521112"/>
            <a:ext cx="471488" cy="108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
            <a:extLst>
              <a:ext uri="{FF2B5EF4-FFF2-40B4-BE49-F238E27FC236}">
                <a16:creationId xmlns:a16="http://schemas.microsoft.com/office/drawing/2014/main" id="{58AEB59C-B452-47C3-BCDE-BD970712E3E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70885" y="1466344"/>
            <a:ext cx="479822" cy="2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5">
            <a:extLst>
              <a:ext uri="{FF2B5EF4-FFF2-40B4-BE49-F238E27FC236}">
                <a16:creationId xmlns:a16="http://schemas.microsoft.com/office/drawing/2014/main" id="{1BE03AFE-E204-4BEF-B64B-5FACCBFE28F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93144" y="1469916"/>
            <a:ext cx="463153" cy="248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3">
            <a:extLst>
              <a:ext uri="{FF2B5EF4-FFF2-40B4-BE49-F238E27FC236}">
                <a16:creationId xmlns:a16="http://schemas.microsoft.com/office/drawing/2014/main" id="{5ADFF9A3-3FD5-4663-BF5D-2C00EAC8539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75209" y="1497299"/>
            <a:ext cx="525066"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4">
            <a:extLst>
              <a:ext uri="{FF2B5EF4-FFF2-40B4-BE49-F238E27FC236}">
                <a16:creationId xmlns:a16="http://schemas.microsoft.com/office/drawing/2014/main" id="{C6D95137-D1EC-4E40-9659-9B917823B23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43575" y="1497300"/>
            <a:ext cx="473869" cy="173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 name="Group 48">
            <a:extLst>
              <a:ext uri="{FF2B5EF4-FFF2-40B4-BE49-F238E27FC236}">
                <a16:creationId xmlns:a16="http://schemas.microsoft.com/office/drawing/2014/main" id="{C27AC48C-97D7-4346-B857-13C7F956EC2F}"/>
              </a:ext>
            </a:extLst>
          </p:cNvPr>
          <p:cNvGrpSpPr>
            <a:grpSpLocks/>
          </p:cNvGrpSpPr>
          <p:nvPr/>
        </p:nvGrpSpPr>
        <p:grpSpPr bwMode="auto">
          <a:xfrm>
            <a:off x="3968353" y="1412765"/>
            <a:ext cx="565547" cy="342900"/>
            <a:chOff x="609600" y="3507226"/>
            <a:chExt cx="753273" cy="608460"/>
          </a:xfrm>
        </p:grpSpPr>
        <p:pic>
          <p:nvPicPr>
            <p:cNvPr id="32" name="Picture 35" descr="SAP_Application_v1">
              <a:extLst>
                <a:ext uri="{FF2B5EF4-FFF2-40B4-BE49-F238E27FC236}">
                  <a16:creationId xmlns:a16="http://schemas.microsoft.com/office/drawing/2014/main" id="{307A530D-FB3A-4C85-A671-1E0723C719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3507226"/>
              <a:ext cx="753273"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29">
              <a:extLst>
                <a:ext uri="{FF2B5EF4-FFF2-40B4-BE49-F238E27FC236}">
                  <a16:creationId xmlns:a16="http://schemas.microsoft.com/office/drawing/2014/main" id="{D6DC2CFD-908A-44BC-B651-297AD05E1576}"/>
                </a:ext>
              </a:extLst>
            </p:cNvPr>
            <p:cNvSpPr txBox="1">
              <a:spLocks noChangeArrowheads="1"/>
            </p:cNvSpPr>
            <p:nvPr/>
          </p:nvSpPr>
          <p:spPr bwMode="auto">
            <a:xfrm>
              <a:off x="631387" y="3654303"/>
              <a:ext cx="682822" cy="3802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buClr>
                  <a:srgbClr val="84BD00"/>
                </a:buClr>
              </a:pPr>
              <a:endParaRPr lang="en-US" altLang="en-US" sz="675" b="1">
                <a:solidFill>
                  <a:srgbClr val="595959"/>
                </a:solidFill>
                <a:cs typeface="Arial" panose="020B0604020202020204" pitchFamily="34" charset="0"/>
              </a:endParaRPr>
            </a:p>
          </p:txBody>
        </p:sp>
      </p:grpSp>
      <p:pic>
        <p:nvPicPr>
          <p:cNvPr id="34" name="Picture 15">
            <a:extLst>
              <a:ext uri="{FF2B5EF4-FFF2-40B4-BE49-F238E27FC236}">
                <a16:creationId xmlns:a16="http://schemas.microsoft.com/office/drawing/2014/main" id="{FC1F2028-1B1A-4DBE-867E-64CC44B734D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15991" y="1477059"/>
            <a:ext cx="226219" cy="217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3" descr="A close up of a sign&#10;&#10;Description generated with high confidence">
            <a:extLst>
              <a:ext uri="{FF2B5EF4-FFF2-40B4-BE49-F238E27FC236}">
                <a16:creationId xmlns:a16="http://schemas.microsoft.com/office/drawing/2014/main" id="{C2B9091B-5B2C-41A8-9777-5DBFB9BBFB2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51926" y="2364183"/>
            <a:ext cx="1128128" cy="2267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itle 2">
            <a:extLst>
              <a:ext uri="{FF2B5EF4-FFF2-40B4-BE49-F238E27FC236}">
                <a16:creationId xmlns:a16="http://schemas.microsoft.com/office/drawing/2014/main" id="{6FDF5C69-08F1-465B-9F86-45A4CDEE1CFD}"/>
              </a:ext>
            </a:extLst>
          </p:cNvPr>
          <p:cNvSpPr txBox="1">
            <a:spLocks/>
          </p:cNvSpPr>
          <p:nvPr/>
        </p:nvSpPr>
        <p:spPr>
          <a:xfrm>
            <a:off x="278057" y="259487"/>
            <a:ext cx="8230147" cy="437508"/>
          </a:xfrm>
          <a:prstGeom prst="rect">
            <a:avLst/>
          </a:prstGeom>
        </p:spPr>
        <p:txBody>
          <a:bodyPr/>
          <a:lstStyle>
            <a:lvl1pPr algn="l" rtl="0" fontAlgn="base">
              <a:spcBef>
                <a:spcPct val="0"/>
              </a:spcBef>
              <a:spcAft>
                <a:spcPct val="0"/>
              </a:spcAft>
              <a:defRPr sz="2800" b="1">
                <a:solidFill>
                  <a:srgbClr val="000000"/>
                </a:solidFill>
                <a:latin typeface="+mj-lt"/>
                <a:ea typeface="+mj-ea"/>
                <a:cs typeface="+mj-cs"/>
              </a:defRPr>
            </a:lvl1pPr>
            <a:lvl2pPr algn="l" rtl="0" fontAlgn="base">
              <a:spcBef>
                <a:spcPct val="0"/>
              </a:spcBef>
              <a:spcAft>
                <a:spcPct val="0"/>
              </a:spcAft>
              <a:defRPr sz="2800" b="1">
                <a:solidFill>
                  <a:srgbClr val="000000"/>
                </a:solidFill>
                <a:latin typeface="Arial" charset="0"/>
              </a:defRPr>
            </a:lvl2pPr>
            <a:lvl3pPr algn="l" rtl="0" fontAlgn="base">
              <a:spcBef>
                <a:spcPct val="0"/>
              </a:spcBef>
              <a:spcAft>
                <a:spcPct val="0"/>
              </a:spcAft>
              <a:defRPr sz="2800" b="1">
                <a:solidFill>
                  <a:srgbClr val="000000"/>
                </a:solidFill>
                <a:latin typeface="Arial" charset="0"/>
              </a:defRPr>
            </a:lvl3pPr>
            <a:lvl4pPr algn="l" rtl="0" fontAlgn="base">
              <a:spcBef>
                <a:spcPct val="0"/>
              </a:spcBef>
              <a:spcAft>
                <a:spcPct val="0"/>
              </a:spcAft>
              <a:defRPr sz="2800" b="1">
                <a:solidFill>
                  <a:srgbClr val="000000"/>
                </a:solidFill>
                <a:latin typeface="Arial" charset="0"/>
              </a:defRPr>
            </a:lvl4pPr>
            <a:lvl5pPr algn="l" rtl="0" fontAlgn="base">
              <a:spcBef>
                <a:spcPct val="0"/>
              </a:spcBef>
              <a:spcAft>
                <a:spcPct val="0"/>
              </a:spcAft>
              <a:defRPr sz="2800" b="1">
                <a:solidFill>
                  <a:srgbClr val="000000"/>
                </a:solidFill>
                <a:latin typeface="Arial" charset="0"/>
              </a:defRPr>
            </a:lvl5pPr>
            <a:lvl6pPr marL="457106" algn="l" rtl="0" eaLnBrk="1" fontAlgn="base" hangingPunct="1">
              <a:spcBef>
                <a:spcPct val="0"/>
              </a:spcBef>
              <a:spcAft>
                <a:spcPct val="0"/>
              </a:spcAft>
              <a:defRPr sz="3000" b="1">
                <a:solidFill>
                  <a:schemeClr val="tx1"/>
                </a:solidFill>
                <a:latin typeface="Arial" charset="0"/>
              </a:defRPr>
            </a:lvl6pPr>
            <a:lvl7pPr marL="914220" algn="l" rtl="0" eaLnBrk="1" fontAlgn="base" hangingPunct="1">
              <a:spcBef>
                <a:spcPct val="0"/>
              </a:spcBef>
              <a:spcAft>
                <a:spcPct val="0"/>
              </a:spcAft>
              <a:defRPr sz="3000" b="1">
                <a:solidFill>
                  <a:schemeClr val="tx1"/>
                </a:solidFill>
                <a:latin typeface="Arial" charset="0"/>
              </a:defRPr>
            </a:lvl7pPr>
            <a:lvl8pPr marL="1371328" algn="l" rtl="0" eaLnBrk="1" fontAlgn="base" hangingPunct="1">
              <a:spcBef>
                <a:spcPct val="0"/>
              </a:spcBef>
              <a:spcAft>
                <a:spcPct val="0"/>
              </a:spcAft>
              <a:defRPr sz="3000" b="1">
                <a:solidFill>
                  <a:schemeClr val="tx1"/>
                </a:solidFill>
                <a:latin typeface="Arial" charset="0"/>
              </a:defRPr>
            </a:lvl8pPr>
            <a:lvl9pPr marL="1828439" algn="l" rtl="0" eaLnBrk="1" fontAlgn="base" hangingPunct="1">
              <a:spcBef>
                <a:spcPct val="0"/>
              </a:spcBef>
              <a:spcAft>
                <a:spcPct val="0"/>
              </a:spcAft>
              <a:defRPr sz="3000" b="1">
                <a:solidFill>
                  <a:schemeClr val="tx1"/>
                </a:solidFill>
                <a:latin typeface="Arial" charset="0"/>
              </a:defRPr>
            </a:lvl9pPr>
          </a:lstStyle>
          <a:p>
            <a:pPr eaLnBrk="1" hangingPunct="1"/>
            <a:r>
              <a:rPr lang="en-US" sz="2400" kern="0"/>
              <a:t>Powering the Most Demanding Applications</a:t>
            </a:r>
            <a:endParaRPr lang="en-US" sz="2400" kern="0" dirty="0"/>
          </a:p>
        </p:txBody>
      </p:sp>
    </p:spTree>
    <p:extLst>
      <p:ext uri="{BB962C8B-B14F-4D97-AF65-F5344CB8AC3E}">
        <p14:creationId xmlns:p14="http://schemas.microsoft.com/office/powerpoint/2010/main" val="826235365"/>
      </p:ext>
    </p:extLst>
  </p:cSld>
  <p:clrMapOvr>
    <a:masterClrMapping/>
  </p:clrMapOvr>
  <p:transition spd="slow">
    <p:circl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3">
            <a:extLst>
              <a:ext uri="{FF2B5EF4-FFF2-40B4-BE49-F238E27FC236}">
                <a16:creationId xmlns:a16="http://schemas.microsoft.com/office/drawing/2014/main" id="{541CA37F-DA34-487F-B708-E6BDC279EAA3}"/>
              </a:ext>
            </a:extLst>
          </p:cNvPr>
          <p:cNvSpPr>
            <a:spLocks noGrp="1" noChangeArrowheads="1"/>
          </p:cNvSpPr>
          <p:nvPr>
            <p:ph type="ctrTitle"/>
          </p:nvPr>
        </p:nvSpPr>
        <p:spPr>
          <a:xfrm>
            <a:off x="803275" y="2046288"/>
            <a:ext cx="7772400" cy="1298575"/>
          </a:xfrm>
        </p:spPr>
        <p:txBody>
          <a:bodyPr/>
          <a:lstStyle/>
          <a:p>
            <a:pPr eaLnBrk="1" hangingPunct="1"/>
            <a:r>
              <a:rPr lang="en-US" altLang="en-US" sz="4400" dirty="0"/>
              <a:t>Why FlexPod?</a:t>
            </a:r>
            <a:br>
              <a:rPr lang="en-US" altLang="en-US" sz="3200" dirty="0"/>
            </a:br>
            <a:r>
              <a:rPr lang="en-US" altLang="en-US" sz="2400" dirty="0"/>
              <a:t>Latest FlexPod Innovations (Sept 2019 to Jan 2020)  </a:t>
            </a:r>
            <a:br>
              <a:rPr lang="en-US" altLang="en-US" dirty="0"/>
            </a:br>
            <a:endParaRPr lang="en-US" altLang="en-US" sz="1800" dirty="0"/>
          </a:p>
        </p:txBody>
      </p:sp>
    </p:spTree>
    <p:extLst>
      <p:ext uri="{BB962C8B-B14F-4D97-AF65-F5344CB8AC3E}">
        <p14:creationId xmlns:p14="http://schemas.microsoft.com/office/powerpoint/2010/main" val="3868603394"/>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8185FA-4B0A-834A-B27D-73BA312DB37F}"/>
              </a:ext>
            </a:extLst>
          </p:cNvPr>
          <p:cNvSpPr/>
          <p:nvPr/>
        </p:nvSpPr>
        <p:spPr bwMode="auto">
          <a:xfrm>
            <a:off x="614670" y="959329"/>
            <a:ext cx="2101263" cy="3840586"/>
          </a:xfrm>
          <a:prstGeom prst="rect">
            <a:avLst/>
          </a:prstGeom>
          <a:solidFill>
            <a:srgbClr val="DCECF4">
              <a:alpha val="50196"/>
            </a:srgbClr>
          </a:solidFill>
          <a:ln w="9525" cap="flat" cmpd="sng" algn="ctr">
            <a:solidFill>
              <a:schemeClr val="accent2">
                <a:lumMod val="20000"/>
                <a:lumOff val="80000"/>
              </a:schemeClr>
            </a:solidFill>
            <a:prstDash val="solid"/>
            <a:round/>
            <a:headEnd type="none" w="med" len="med"/>
            <a:tailEnd type="none" w="med" len="med"/>
          </a:ln>
          <a:effectLst/>
        </p:spPr>
        <p:txBody>
          <a:bodyPr wrap="none" anchor="ctr"/>
          <a:lstStyle/>
          <a:p>
            <a:pPr marL="0" marR="0" lvl="0" indent="0" algn="ctr" defTabSz="914400" rtl="0" eaLnBrk="1" fontAlgn="base" latinLnBrk="0" hangingPunct="1">
              <a:lnSpc>
                <a:spcPct val="100000"/>
              </a:lnSpc>
              <a:spcBef>
                <a:spcPct val="0"/>
              </a:spcBef>
              <a:spcAft>
                <a:spcPct val="0"/>
              </a:spcAft>
              <a:buClr>
                <a:srgbClr val="F0DB12"/>
              </a:buClr>
              <a:buSzTx/>
              <a:buFont typeface="Wingdings 2" pitchFamily="18" charset="2"/>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pic>
        <p:nvPicPr>
          <p:cNvPr id="6" name="Picture 13" descr="A close up of a sign&#10;&#10;Description generated with high confidence">
            <a:extLst>
              <a:ext uri="{FF2B5EF4-FFF2-40B4-BE49-F238E27FC236}">
                <a16:creationId xmlns:a16="http://schemas.microsoft.com/office/drawing/2014/main" id="{DA892106-F10A-F946-8DE4-5291494B53C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72438" y="1557860"/>
            <a:ext cx="1435100" cy="288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1">
            <a:extLst>
              <a:ext uri="{FF2B5EF4-FFF2-40B4-BE49-F238E27FC236}">
                <a16:creationId xmlns:a16="http://schemas.microsoft.com/office/drawing/2014/main" id="{D86EEF87-AE8A-7F46-97EA-CC0120E8E032}"/>
              </a:ext>
            </a:extLst>
          </p:cNvPr>
          <p:cNvSpPr txBox="1">
            <a:spLocks/>
          </p:cNvSpPr>
          <p:nvPr/>
        </p:nvSpPr>
        <p:spPr>
          <a:xfrm>
            <a:off x="3154232" y="1081908"/>
            <a:ext cx="5646868" cy="3718005"/>
          </a:xfrm>
          <a:prstGeom prst="rect">
            <a:avLst/>
          </a:prstGeom>
        </p:spPr>
        <p:txBody>
          <a:bodyPr anchor="t"/>
          <a:lst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889000" rtl="0" eaLnBrk="0" fontAlgn="base" latinLnBrk="0" hangingPunct="0">
              <a:lnSpc>
                <a:spcPct val="90000"/>
              </a:lnSpc>
              <a:spcBef>
                <a:spcPts val="676"/>
              </a:spcBef>
              <a:spcAft>
                <a:spcPct val="0"/>
              </a:spcAft>
              <a:buClrTx/>
              <a:buSzTx/>
              <a:buFont typeface="Wingdings" panose="05000000000000000000" pitchFamily="2" charset="2"/>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Platform innovations</a:t>
            </a:r>
          </a:p>
          <a:p>
            <a:pPr marL="0" lvl="0" indent="0">
              <a:spcBef>
                <a:spcPts val="300"/>
              </a:spcBef>
              <a:buNone/>
              <a:defRPr/>
            </a:pPr>
            <a:r>
              <a:rPr lang="en-US" sz="1400" dirty="0">
                <a:cs typeface="Arial"/>
              </a:rPr>
              <a:t>FlexPod Datacenter solution for the most recent </a:t>
            </a:r>
            <a:r>
              <a:rPr lang="en-US" sz="1400" b="1" dirty="0">
                <a:cs typeface="Arial"/>
              </a:rPr>
              <a:t>VMware vSphere update </a:t>
            </a:r>
            <a:r>
              <a:rPr lang="en-US" sz="1400" dirty="0">
                <a:cs typeface="Arial"/>
              </a:rPr>
              <a:t>(CVD)</a:t>
            </a:r>
          </a:p>
          <a:p>
            <a:pPr marL="0" marR="0" lvl="0" indent="0" algn="l" defTabSz="914400" rtl="0" eaLnBrk="0" fontAlgn="base" latinLnBrk="0" hangingPunct="0">
              <a:lnSpc>
                <a:spcPct val="100000"/>
              </a:lnSpc>
              <a:spcBef>
                <a:spcPts val="300"/>
              </a:spcBef>
              <a:spcAft>
                <a:spcPct val="0"/>
              </a:spcAft>
              <a:buClrTx/>
              <a:buSz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a:endParaRPr>
          </a:p>
          <a:p>
            <a:pPr marL="0" marR="0" lvl="0" indent="0" algn="l" defTabSz="889000" rtl="0" eaLnBrk="0" fontAlgn="base" latinLnBrk="0" hangingPunct="0">
              <a:lnSpc>
                <a:spcPct val="90000"/>
              </a:lnSpc>
              <a:spcBef>
                <a:spcPts val="676"/>
              </a:spcBef>
              <a:spcAft>
                <a:spcPct val="0"/>
              </a:spcAft>
              <a:buClrTx/>
              <a:buSzTx/>
              <a:buFont typeface="Arial"/>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Unmatched Versatility</a:t>
            </a:r>
          </a:p>
          <a:p>
            <a:pPr marL="0" indent="0">
              <a:spcBef>
                <a:spcPts val="300"/>
              </a:spcBef>
              <a:buNone/>
              <a:defRPr/>
            </a:pPr>
            <a:r>
              <a:rPr lang="en-US" sz="1400" b="1" kern="0" dirty="0"/>
              <a:t>Latest SAP HANA software </a:t>
            </a:r>
            <a:r>
              <a:rPr lang="en-US" sz="1400" kern="0" dirty="0"/>
              <a:t>running on the most current FlexPod hardware and software (CVD)</a:t>
            </a: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0" fontAlgn="base" latinLnBrk="0" hangingPunct="0">
              <a:lnSpc>
                <a:spcPct val="100000"/>
              </a:lnSpc>
              <a:spcBef>
                <a:spcPts val="300"/>
              </a:spcBef>
              <a:spcAft>
                <a:spcPct val="0"/>
              </a:spcAft>
              <a:buClrTx/>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a:endParaRPr>
          </a:p>
          <a:p>
            <a:pPr marL="0" marR="0" lvl="0" indent="0" algn="l" defTabSz="889000" rtl="0" eaLnBrk="0" fontAlgn="base" latinLnBrk="0" hangingPunct="0">
              <a:lnSpc>
                <a:spcPct val="90000"/>
              </a:lnSpc>
              <a:spcBef>
                <a:spcPts val="676"/>
              </a:spcBef>
              <a:spcAft>
                <a:spcPct val="0"/>
              </a:spcAft>
              <a:buClrTx/>
              <a:buSzTx/>
              <a:buFont typeface="Arial"/>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Platform trusted worldwide</a:t>
            </a:r>
          </a:p>
          <a:p>
            <a:pPr marL="0" marR="0" lvl="0" indent="0" algn="l" defTabSz="914400" rtl="0" eaLnBrk="0" fontAlgn="base" latinLnBrk="0" hangingPunct="0">
              <a:lnSpc>
                <a:spcPct val="100000"/>
              </a:lnSpc>
              <a:spcBef>
                <a:spcPts val="300"/>
              </a:spcBef>
              <a:spcAft>
                <a:spcPct val="0"/>
              </a:spcAft>
              <a:buClrTx/>
              <a:buSzTx/>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SA </a:t>
            </a:r>
            <a:r>
              <a:rPr kumimoji="0" lang="en-US" sz="1400" b="1" i="0" u="none" strike="noStrike" kern="1200" cap="none" spc="0" normalizeH="0" baseline="0" noProof="0" dirty="0">
                <a:ln>
                  <a:noFill/>
                </a:ln>
                <a:solidFill>
                  <a:srgbClr val="000000"/>
                </a:solidFill>
                <a:effectLst/>
                <a:uLnTx/>
                <a:uFillTx/>
                <a:latin typeface="Arial"/>
                <a:ea typeface="+mn-ea"/>
                <a:cs typeface="+mn-cs"/>
              </a:rPr>
              <a:t>configuration assurance and lifecycle management </a:t>
            </a:r>
            <a:r>
              <a:rPr kumimoji="0" lang="en-US" sz="1400" b="0" i="0" u="none" strike="noStrike" kern="1200" cap="none" spc="0" normalizeH="0" baseline="0" noProof="0" dirty="0">
                <a:ln>
                  <a:noFill/>
                </a:ln>
                <a:solidFill>
                  <a:srgbClr val="000000"/>
                </a:solidFill>
                <a:effectLst/>
                <a:uLnTx/>
                <a:uFillTx/>
                <a:latin typeface="Arial"/>
                <a:ea typeface="+mn-ea"/>
                <a:cs typeface="+mn-cs"/>
              </a:rPr>
              <a:t>including support of Cisco ACI networking, end-to-end </a:t>
            </a:r>
            <a:r>
              <a:rPr kumimoji="0" lang="en-US" sz="1400" b="0" i="0" u="none" strike="noStrike" kern="1200" cap="none" spc="0" normalizeH="0" baseline="0" noProof="0" dirty="0" err="1">
                <a:ln>
                  <a:noFill/>
                </a:ln>
                <a:solidFill>
                  <a:srgbClr val="000000"/>
                </a:solidFill>
                <a:effectLst/>
                <a:uLnTx/>
                <a:uFillTx/>
                <a:latin typeface="Arial"/>
                <a:ea typeface="+mn-ea"/>
                <a:cs typeface="+mn-cs"/>
              </a:rPr>
              <a:t>NVMe</a:t>
            </a:r>
            <a:r>
              <a:rPr kumimoji="0" lang="en-US" sz="1400" b="0" i="0" u="none" strike="noStrike" kern="1200" cap="none" spc="0" normalizeH="0" baseline="0" noProof="0" dirty="0">
                <a:ln>
                  <a:noFill/>
                </a:ln>
                <a:solidFill>
                  <a:srgbClr val="000000"/>
                </a:solidFill>
                <a:effectLst/>
                <a:uLnTx/>
                <a:uFillTx/>
                <a:latin typeface="Arial"/>
                <a:ea typeface="+mn-ea"/>
                <a:cs typeface="+mn-cs"/>
              </a:rPr>
              <a:t>, MetroCluster awareness</a:t>
            </a:r>
          </a:p>
          <a:p>
            <a:pPr marL="206957" marR="0" lvl="0" indent="-206957" algn="l" defTabSz="914400" rtl="0" eaLnBrk="0" fontAlgn="base" latinLnBrk="0" hangingPunct="0">
              <a:lnSpc>
                <a:spcPct val="100000"/>
              </a:lnSpc>
              <a:spcBef>
                <a:spcPts val="300"/>
              </a:spcBef>
              <a:spcAft>
                <a:spcPct val="0"/>
              </a:spcAft>
              <a:buClrTx/>
              <a:buSzTx/>
              <a:buFont typeface="Arial"/>
              <a:buChar char="•"/>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a:endParaRPr>
          </a:p>
          <a:p>
            <a:pPr marL="206957" marR="0" lvl="0" indent="-206957" algn="l" defTabSz="914400" rtl="0" eaLnBrk="0" fontAlgn="base" latinLnBrk="0" hangingPunct="0">
              <a:lnSpc>
                <a:spcPct val="100000"/>
              </a:lnSpc>
              <a:spcBef>
                <a:spcPts val="300"/>
              </a:spcBef>
              <a:spcAft>
                <a:spcPct val="0"/>
              </a:spcAft>
              <a:buClrTx/>
              <a:buSzTx/>
              <a:buFont typeface="Arial"/>
              <a:buChar char="•"/>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a:endParaRPr>
          </a:p>
          <a:p>
            <a:pPr marL="0" marR="0" lvl="0" indent="0" algn="l" defTabSz="914400" rtl="0" eaLnBrk="0" fontAlgn="base" latinLnBrk="0" hangingPunct="0">
              <a:lnSpc>
                <a:spcPct val="100000"/>
              </a:lnSpc>
              <a:spcBef>
                <a:spcPts val="300"/>
              </a:spcBef>
              <a:spcAft>
                <a:spcPct val="0"/>
              </a:spcAft>
              <a:buClrTx/>
              <a:buSzTx/>
              <a:buFont typeface="Arial"/>
              <a:buNone/>
              <a:tabLst/>
              <a:defRPr/>
            </a:pPr>
            <a:endParaRPr kumimoji="0" lang="en-US" sz="2000" b="1" i="0" u="none" strike="noStrike" kern="0" cap="none" spc="0" normalizeH="0" baseline="0" noProof="0" dirty="0">
              <a:ln>
                <a:noFill/>
              </a:ln>
              <a:solidFill>
                <a:srgbClr val="409BCC"/>
              </a:solidFill>
              <a:effectLst/>
              <a:uLnTx/>
              <a:uFillTx/>
              <a:latin typeface="Helvetica Neue"/>
              <a:ea typeface="+mn-ea"/>
              <a:cs typeface="+mn-cs"/>
            </a:endParaRPr>
          </a:p>
        </p:txBody>
      </p:sp>
      <p:pic>
        <p:nvPicPr>
          <p:cNvPr id="10" name="Picture 3">
            <a:extLst>
              <a:ext uri="{FF2B5EF4-FFF2-40B4-BE49-F238E27FC236}">
                <a16:creationId xmlns:a16="http://schemas.microsoft.com/office/drawing/2014/main" id="{C1D262C2-DEC9-1B45-95F4-C69BFC877D6F}"/>
              </a:ext>
            </a:extLst>
          </p:cNvPr>
          <p:cNvPicPr>
            <a:picLocks noChangeAspect="1"/>
          </p:cNvPicPr>
          <p:nvPr/>
        </p:nvPicPr>
        <p:blipFill>
          <a:blip r:embed="rId4" cstate="screen">
            <a:duotone>
              <a:prstClr val="black"/>
              <a:srgbClr val="0067C5">
                <a:tint val="45000"/>
                <a:satMod val="400000"/>
              </a:srgbClr>
            </a:duotone>
            <a:extLst>
              <a:ext uri="{28A0092B-C50C-407E-A947-70E740481C1C}">
                <a14:useLocalDpi xmlns:a14="http://schemas.microsoft.com/office/drawing/2010/main"/>
              </a:ext>
            </a:extLst>
          </a:blip>
          <a:srcRect/>
          <a:stretch>
            <a:fillRect/>
          </a:stretch>
        </p:blipFill>
        <p:spPr bwMode="auto">
          <a:xfrm>
            <a:off x="1566175" y="3749982"/>
            <a:ext cx="1049932" cy="1049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03537449-5DC4-2442-91FD-BDE98D4D384D}"/>
              </a:ext>
            </a:extLst>
          </p:cNvPr>
          <p:cNvPicPr>
            <a:picLocks noChangeAspect="1"/>
          </p:cNvPicPr>
          <p:nvPr/>
        </p:nvPicPr>
        <p:blipFill>
          <a:blip r:embed="rId5" cstate="screen">
            <a:duotone>
              <a:prstClr val="black"/>
              <a:srgbClr val="0067C5">
                <a:tint val="45000"/>
                <a:satMod val="400000"/>
              </a:srgbClr>
            </a:duotone>
            <a:extLst>
              <a:ext uri="{28A0092B-C50C-407E-A947-70E740481C1C}">
                <a14:useLocalDpi xmlns:a14="http://schemas.microsoft.com/office/drawing/2010/main"/>
              </a:ext>
            </a:extLst>
          </a:blip>
          <a:srcRect/>
          <a:stretch>
            <a:fillRect/>
          </a:stretch>
        </p:blipFill>
        <p:spPr bwMode="auto">
          <a:xfrm>
            <a:off x="731870" y="3854902"/>
            <a:ext cx="1083958" cy="108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0" descr="MSFT_logo_rgb_C-Gray.png">
            <a:extLst>
              <a:ext uri="{FF2B5EF4-FFF2-40B4-BE49-F238E27FC236}">
                <a16:creationId xmlns:a16="http://schemas.microsoft.com/office/drawing/2014/main" id="{9355C66B-4880-2044-81D3-8F702E101033}"/>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401483" y="1087206"/>
            <a:ext cx="771525"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2">
            <a:extLst>
              <a:ext uri="{FF2B5EF4-FFF2-40B4-BE49-F238E27FC236}">
                <a16:creationId xmlns:a16="http://schemas.microsoft.com/office/drawing/2014/main" id="{D9B20BEE-0C5B-A541-AAE1-CA5F687D6AB5}"/>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87108" y="1350731"/>
            <a:ext cx="6683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2" descr="Screen Shot 2013-03-25 at 6.46.53 PM.png">
            <a:extLst>
              <a:ext uri="{FF2B5EF4-FFF2-40B4-BE49-F238E27FC236}">
                <a16:creationId xmlns:a16="http://schemas.microsoft.com/office/drawing/2014/main" id="{5519D064-2D9E-5342-A86E-7B5DB2F6DB4F}"/>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23608" y="1084031"/>
            <a:ext cx="708025"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a:extLst>
              <a:ext uri="{FF2B5EF4-FFF2-40B4-BE49-F238E27FC236}">
                <a16:creationId xmlns:a16="http://schemas.microsoft.com/office/drawing/2014/main" id="{D2D814BD-6364-C34A-8CBC-1297317AA380}"/>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480858" y="1360256"/>
            <a:ext cx="31591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35" descr="SAP_Application_v1">
            <a:extLst>
              <a:ext uri="{FF2B5EF4-FFF2-40B4-BE49-F238E27FC236}">
                <a16:creationId xmlns:a16="http://schemas.microsoft.com/office/drawing/2014/main" id="{A7F3F577-059C-4740-9089-5A8B653DE8FA}"/>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976158" y="1369781"/>
            <a:ext cx="504825" cy="14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a:extLst>
              <a:ext uri="{FF2B5EF4-FFF2-40B4-BE49-F238E27FC236}">
                <a16:creationId xmlns:a16="http://schemas.microsoft.com/office/drawing/2014/main" id="{7A993C16-BD9A-6E41-ACD5-218839FAD02B}"/>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2257146" y="1082443"/>
            <a:ext cx="4587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3">
            <a:extLst>
              <a:ext uri="{FF2B5EF4-FFF2-40B4-BE49-F238E27FC236}">
                <a16:creationId xmlns:a16="http://schemas.microsoft.com/office/drawing/2014/main" id="{06FC2BCA-DA35-EE4D-9E4B-3470CAE178E8}"/>
              </a:ext>
            </a:extLst>
          </p:cNvPr>
          <p:cNvSpPr txBox="1">
            <a:spLocks/>
          </p:cNvSpPr>
          <p:nvPr/>
        </p:nvSpPr>
        <p:spPr>
          <a:xfrm>
            <a:off x="228600" y="275557"/>
            <a:ext cx="8534399"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kern="0" dirty="0">
                <a:latin typeface="Arial"/>
              </a:rPr>
              <a:t>Latest FlexPod Innovations</a:t>
            </a:r>
            <a:r>
              <a:rPr kumimoji="0" lang="en-US" sz="2800" b="1" i="0" u="none" strike="noStrike" kern="0" cap="none" spc="0" normalizeH="0" baseline="0" noProof="0" dirty="0">
                <a:ln>
                  <a:noFill/>
                </a:ln>
                <a:solidFill>
                  <a:srgbClr val="000000"/>
                </a:solidFill>
                <a:effectLst/>
                <a:uLnTx/>
                <a:uFillTx/>
                <a:latin typeface="Arial"/>
                <a:ea typeface="+mj-ea"/>
                <a:cs typeface="+mj-cs"/>
              </a:rPr>
              <a:t> </a:t>
            </a:r>
          </a:p>
        </p:txBody>
      </p:sp>
    </p:spTree>
    <p:extLst>
      <p:ext uri="{BB962C8B-B14F-4D97-AF65-F5344CB8AC3E}">
        <p14:creationId xmlns:p14="http://schemas.microsoft.com/office/powerpoint/2010/main" val="160200181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8185FA-4B0A-834A-B27D-73BA312DB37F}"/>
              </a:ext>
            </a:extLst>
          </p:cNvPr>
          <p:cNvSpPr/>
          <p:nvPr/>
        </p:nvSpPr>
        <p:spPr bwMode="auto">
          <a:xfrm>
            <a:off x="614670" y="959329"/>
            <a:ext cx="2101263" cy="3840586"/>
          </a:xfrm>
          <a:prstGeom prst="rect">
            <a:avLst/>
          </a:prstGeom>
          <a:solidFill>
            <a:srgbClr val="DCECF4">
              <a:alpha val="50196"/>
            </a:srgbClr>
          </a:solidFill>
          <a:ln w="9525" cap="flat" cmpd="sng" algn="ctr">
            <a:solidFill>
              <a:schemeClr val="accent2">
                <a:lumMod val="20000"/>
                <a:lumOff val="80000"/>
              </a:schemeClr>
            </a:solidFill>
            <a:prstDash val="solid"/>
            <a:round/>
            <a:headEnd type="none" w="med" len="med"/>
            <a:tailEnd type="none" w="med" len="med"/>
          </a:ln>
          <a:effectLst/>
        </p:spPr>
        <p:txBody>
          <a:bodyPr wrap="none" anchor="ctr"/>
          <a:lstStyle/>
          <a:p>
            <a:pPr marL="0" marR="0" lvl="0" indent="0" algn="ctr" defTabSz="914400" rtl="0" eaLnBrk="1" fontAlgn="base" latinLnBrk="0" hangingPunct="1">
              <a:lnSpc>
                <a:spcPct val="100000"/>
              </a:lnSpc>
              <a:spcBef>
                <a:spcPct val="0"/>
              </a:spcBef>
              <a:spcAft>
                <a:spcPct val="0"/>
              </a:spcAft>
              <a:buClr>
                <a:srgbClr val="F0DB12"/>
              </a:buClr>
              <a:buSzTx/>
              <a:buFont typeface="Wingdings 2" pitchFamily="18" charset="2"/>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pic>
        <p:nvPicPr>
          <p:cNvPr id="6" name="Picture 13" descr="A close up of a sign&#10;&#10;Description generated with high confidence">
            <a:extLst>
              <a:ext uri="{FF2B5EF4-FFF2-40B4-BE49-F238E27FC236}">
                <a16:creationId xmlns:a16="http://schemas.microsoft.com/office/drawing/2014/main" id="{DA892106-F10A-F946-8DE4-5291494B53C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72438" y="1557860"/>
            <a:ext cx="1435100" cy="288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1">
            <a:extLst>
              <a:ext uri="{FF2B5EF4-FFF2-40B4-BE49-F238E27FC236}">
                <a16:creationId xmlns:a16="http://schemas.microsoft.com/office/drawing/2014/main" id="{D86EEF87-AE8A-7F46-97EA-CC0120E8E032}"/>
              </a:ext>
            </a:extLst>
          </p:cNvPr>
          <p:cNvSpPr txBox="1">
            <a:spLocks/>
          </p:cNvSpPr>
          <p:nvPr/>
        </p:nvSpPr>
        <p:spPr>
          <a:xfrm>
            <a:off x="3169326" y="1085234"/>
            <a:ext cx="5646868" cy="3854830"/>
          </a:xfrm>
          <a:prstGeom prst="rect">
            <a:avLst/>
          </a:prstGeom>
        </p:spPr>
        <p:txBody>
          <a:bodyPr anchor="t"/>
          <a:lst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889000" rtl="0" eaLnBrk="0" fontAlgn="base" latinLnBrk="0" hangingPunct="0">
              <a:lnSpc>
                <a:spcPct val="90000"/>
              </a:lnSpc>
              <a:spcBef>
                <a:spcPts val="676"/>
              </a:spcBef>
              <a:spcAft>
                <a:spcPct val="0"/>
              </a:spcAft>
              <a:buClrTx/>
              <a:buSzTx/>
              <a:buFont typeface="Wingdings" panose="05000000000000000000" pitchFamily="2" charset="2"/>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Platform innovations</a:t>
            </a:r>
          </a:p>
          <a:p>
            <a:pPr marL="0" lvl="0" indent="0">
              <a:spcBef>
                <a:spcPts val="300"/>
              </a:spcBef>
              <a:buNone/>
              <a:defRPr/>
            </a:pPr>
            <a:r>
              <a:rPr lang="en-US" sz="1400" b="1" kern="0" dirty="0"/>
              <a:t>Best in class performance of modern applications</a:t>
            </a:r>
            <a:r>
              <a:rPr lang="en-US" sz="1400" kern="0" dirty="0"/>
              <a:t>:</a:t>
            </a:r>
          </a:p>
          <a:p>
            <a:pPr marL="544195" lvl="1" indent="-206375">
              <a:spcBef>
                <a:spcPts val="300"/>
              </a:spcBef>
              <a:defRPr/>
            </a:pPr>
            <a:r>
              <a:rPr lang="en-US" sz="1200" kern="0" dirty="0"/>
              <a:t>3x better VM performance, 2x better VM density with Memory-Accelerated FlexPod</a:t>
            </a:r>
            <a:endParaRPr lang="en-US" sz="1200" kern="0" dirty="0">
              <a:cs typeface="Arial"/>
            </a:endParaRPr>
          </a:p>
          <a:p>
            <a:pPr marL="544195" lvl="1" indent="-206375">
              <a:spcBef>
                <a:spcPts val="300"/>
              </a:spcBef>
              <a:defRPr/>
            </a:pPr>
            <a:r>
              <a:rPr lang="en-US" sz="1200" kern="0" dirty="0"/>
              <a:t>End-to-end NVMe driving 40% better performance than all flash</a:t>
            </a:r>
            <a:endParaRPr lang="en-US" sz="1200" kern="0" dirty="0">
              <a:cs typeface="Arial"/>
            </a:endParaRPr>
          </a:p>
          <a:p>
            <a:pPr marL="0" lvl="0" indent="0">
              <a:spcBef>
                <a:spcPts val="300"/>
              </a:spcBef>
              <a:buNone/>
              <a:defRPr/>
            </a:pPr>
            <a:r>
              <a:rPr lang="en-US" sz="1400" b="1" kern="0" dirty="0"/>
              <a:t>AI/ML Full Stack CVD for Nvidia T4 and V100</a:t>
            </a:r>
            <a:endParaRPr lang="en-US" sz="1400" kern="0" dirty="0"/>
          </a:p>
          <a:p>
            <a:pPr marL="544195" lvl="1" indent="-206375">
              <a:spcBef>
                <a:spcPts val="300"/>
              </a:spcBef>
              <a:defRPr/>
            </a:pPr>
            <a:r>
              <a:rPr lang="en-US" sz="1200" kern="0" dirty="0"/>
              <a:t>Portfolio of AI/ML Solutions from Data Preparation to  Training/Learning to Inferencing/Deployment</a:t>
            </a:r>
            <a:endParaRPr lang="en-US" sz="1200" kern="0" dirty="0">
              <a:cs typeface="Arial"/>
            </a:endParaRPr>
          </a:p>
          <a:p>
            <a:pPr marL="544195" lvl="1" indent="-206375">
              <a:spcBef>
                <a:spcPts val="300"/>
              </a:spcBef>
              <a:defRPr/>
            </a:pPr>
            <a:r>
              <a:rPr kumimoji="0" lang="en-US" sz="1200" b="0" i="0" u="none" strike="noStrike" kern="0" cap="none" spc="0" normalizeH="0" baseline="0" noProof="0" dirty="0">
                <a:ln>
                  <a:noFill/>
                </a:ln>
                <a:solidFill>
                  <a:srgbClr val="000000"/>
                </a:solidFill>
                <a:effectLst/>
                <a:uLnTx/>
                <a:uFillTx/>
                <a:latin typeface="Arial"/>
                <a:ea typeface="+mn-ea"/>
                <a:cs typeface="Arial"/>
              </a:rPr>
              <a:t>Inc</a:t>
            </a:r>
            <a:r>
              <a:rPr lang="en-US" sz="1200" kern="0" dirty="0">
                <a:latin typeface="Arial"/>
                <a:cs typeface="Arial"/>
              </a:rPr>
              <a:t>ludes extensive testing for both Nvidia V100 and T4 Card</a:t>
            </a:r>
            <a:endParaRPr lang="en-US" sz="1200" b="0" i="0" u="none" strike="noStrike" kern="0" cap="none" spc="0" normalizeH="0" baseline="0" noProof="0" dirty="0">
              <a:ln>
                <a:noFill/>
              </a:ln>
              <a:solidFill>
                <a:srgbClr val="000000"/>
              </a:solidFill>
              <a:effectLst/>
              <a:uLnTx/>
              <a:uFillTx/>
              <a:latin typeface="Arial"/>
              <a:cs typeface="Arial"/>
            </a:endParaRPr>
          </a:p>
          <a:p>
            <a:pPr marL="0" marR="0" lvl="0" indent="0" algn="l" defTabSz="889000" rtl="0" eaLnBrk="0" fontAlgn="base" latinLnBrk="0" hangingPunct="0">
              <a:lnSpc>
                <a:spcPct val="90000"/>
              </a:lnSpc>
              <a:spcBef>
                <a:spcPts val="676"/>
              </a:spcBef>
              <a:spcAft>
                <a:spcPct val="0"/>
              </a:spcAft>
              <a:buClrTx/>
              <a:buSzTx/>
              <a:buFont typeface="Arial"/>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Unmatched Versatility</a:t>
            </a:r>
          </a:p>
          <a:p>
            <a:pPr marL="0" marR="0" lvl="0" indent="0" algn="l" defTabSz="914400" rtl="0" eaLnBrk="0" fontAlgn="base" latinLnBrk="0" hangingPunct="0">
              <a:lnSpc>
                <a:spcPct val="100000"/>
              </a:lnSpc>
              <a:spcBef>
                <a:spcPts val="300"/>
              </a:spcBef>
              <a:spcAft>
                <a:spcPct val="0"/>
              </a:spcAft>
              <a:buClrTx/>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rPr>
              <a:t>Storage tiering to public cloud </a:t>
            </a:r>
            <a:r>
              <a:rPr kumimoji="0" lang="en-US" sz="1400" b="0" i="0" u="none" strike="noStrike" kern="0" cap="none" spc="0" normalizeH="0" baseline="0" noProof="0" dirty="0">
                <a:ln>
                  <a:noFill/>
                </a:ln>
                <a:solidFill>
                  <a:srgbClr val="000000"/>
                </a:solidFill>
                <a:effectLst/>
                <a:uLnTx/>
                <a:uFillTx/>
                <a:latin typeface="Arial"/>
                <a:ea typeface="+mn-ea"/>
                <a:cs typeface="Arial"/>
              </a:rPr>
              <a:t>for FlexPod with </a:t>
            </a:r>
            <a:r>
              <a:rPr kumimoji="0" lang="en-US" sz="1400" b="0" i="0" u="none" strike="noStrike" kern="0" cap="none" spc="0" normalizeH="0" baseline="0" noProof="0" dirty="0" err="1">
                <a:ln>
                  <a:noFill/>
                </a:ln>
                <a:solidFill>
                  <a:srgbClr val="000000"/>
                </a:solidFill>
                <a:effectLst/>
                <a:uLnTx/>
                <a:uFillTx/>
                <a:latin typeface="Arial"/>
                <a:ea typeface="+mn-ea"/>
                <a:cs typeface="Arial"/>
              </a:rPr>
              <a:t>FabricPool</a:t>
            </a:r>
            <a:r>
              <a:rPr kumimoji="0" lang="en-US" sz="1400" b="0" i="0" u="none" strike="noStrike" kern="0" cap="none" spc="0" normalizeH="0" baseline="0" noProof="0" dirty="0">
                <a:ln>
                  <a:noFill/>
                </a:ln>
                <a:solidFill>
                  <a:srgbClr val="000000"/>
                </a:solidFill>
                <a:effectLst/>
                <a:uLnTx/>
                <a:uFillTx/>
                <a:latin typeface="Arial"/>
                <a:ea typeface="+mn-ea"/>
                <a:cs typeface="Arial"/>
              </a:rPr>
              <a:t> (TR)</a:t>
            </a:r>
          </a:p>
          <a:p>
            <a:pPr marL="0" indent="0">
              <a:spcBef>
                <a:spcPts val="300"/>
              </a:spcBef>
              <a:buNone/>
              <a:defRPr/>
            </a:pPr>
            <a:r>
              <a:rPr lang="en-US" sz="1400" b="1" dirty="0"/>
              <a:t>ROBO FlexPod VMware solution</a:t>
            </a:r>
            <a:r>
              <a:rPr lang="en-US" sz="1400" dirty="0"/>
              <a:t> that leverages the C190 flash system, and UCS C220 rack server</a:t>
            </a:r>
            <a:r>
              <a:rPr lang="en-US" sz="1400" kern="0" dirty="0"/>
              <a:t> (CVD)</a:t>
            </a:r>
            <a:endParaRPr kumimoji="0" lang="en-US" sz="1400" b="0" i="0" u="none" strike="noStrike" kern="0" cap="none" spc="0" normalizeH="0" baseline="0" noProof="0" dirty="0">
              <a:ln>
                <a:noFill/>
              </a:ln>
              <a:solidFill>
                <a:srgbClr val="000000"/>
              </a:solidFill>
              <a:effectLst/>
              <a:uLnTx/>
              <a:uFillTx/>
              <a:latin typeface="Arial"/>
              <a:ea typeface="+mn-ea"/>
              <a:cs typeface="Arial"/>
            </a:endParaRPr>
          </a:p>
          <a:p>
            <a:pPr marL="0" marR="0" lvl="0" indent="0" algn="l" defTabSz="889000" rtl="0" eaLnBrk="0" fontAlgn="base" latinLnBrk="0" hangingPunct="0">
              <a:lnSpc>
                <a:spcPct val="90000"/>
              </a:lnSpc>
              <a:spcBef>
                <a:spcPts val="676"/>
              </a:spcBef>
              <a:spcAft>
                <a:spcPct val="0"/>
              </a:spcAft>
              <a:buClrTx/>
              <a:buSzTx/>
              <a:buFont typeface="Arial"/>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Platform trusted worldwide</a:t>
            </a:r>
          </a:p>
          <a:p>
            <a:pPr marL="0" marR="0" lvl="0" indent="0" algn="l" defTabSz="914400" rtl="0" eaLnBrk="0" fontAlgn="base" latinLnBrk="0" hangingPunct="0">
              <a:lnSpc>
                <a:spcPct val="100000"/>
              </a:lnSpc>
              <a:spcBef>
                <a:spcPts val="300"/>
              </a:spcBef>
              <a:spcAft>
                <a:spcPct val="0"/>
              </a:spcAft>
              <a:buClrTx/>
              <a:buSzTx/>
              <a:buFont typeface="Arial"/>
              <a:buNone/>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a:rPr>
              <a:t>FlexPod hardening and best practices </a:t>
            </a:r>
            <a:r>
              <a:rPr kumimoji="0" lang="en-US" altLang="en-US" sz="1400" b="0" i="0" u="none" strike="noStrike" kern="1200" cap="none" spc="0" normalizeH="0" baseline="0" noProof="0" dirty="0">
                <a:ln>
                  <a:noFill/>
                </a:ln>
                <a:solidFill>
                  <a:srgbClr val="000000"/>
                </a:solidFill>
                <a:effectLst/>
                <a:uLnTx/>
                <a:uFillTx/>
                <a:latin typeface="Arial"/>
                <a:ea typeface="+mn-ea"/>
                <a:cs typeface="Arial"/>
              </a:rPr>
              <a:t>against ransomware (TR)</a:t>
            </a:r>
            <a:endPar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endParaRPr>
          </a:p>
          <a:p>
            <a:pPr marL="206375" marR="0" lvl="0" indent="-206375" algn="l" defTabSz="914400" rtl="0" eaLnBrk="0" fontAlgn="base" latinLnBrk="0" hangingPunct="0">
              <a:lnSpc>
                <a:spcPct val="100000"/>
              </a:lnSpc>
              <a:spcBef>
                <a:spcPts val="300"/>
              </a:spcBef>
              <a:spcAft>
                <a:spcPct val="0"/>
              </a:spcAft>
              <a:buClrTx/>
              <a:buSzTx/>
              <a:buFont typeface="Arial"/>
              <a:buChar char="•"/>
              <a:tabLst/>
              <a:defRPr/>
            </a:pPr>
            <a:endParaRPr lang="en-US" sz="1400" b="0" i="0" u="none" strike="noStrike" kern="0" cap="none" spc="0" normalizeH="0" baseline="0" noProof="0" dirty="0">
              <a:ln>
                <a:noFill/>
              </a:ln>
              <a:solidFill>
                <a:srgbClr val="000000"/>
              </a:solidFill>
              <a:effectLst/>
              <a:uLnTx/>
              <a:uFillTx/>
              <a:latin typeface="Arial"/>
              <a:cs typeface="Arial"/>
            </a:endParaRPr>
          </a:p>
          <a:p>
            <a:pPr marL="206375" marR="0" lvl="0" indent="-206375" algn="l" defTabSz="914400" rtl="0" eaLnBrk="0" fontAlgn="base" latinLnBrk="0" hangingPunct="0">
              <a:lnSpc>
                <a:spcPct val="100000"/>
              </a:lnSpc>
              <a:spcBef>
                <a:spcPts val="300"/>
              </a:spcBef>
              <a:spcAft>
                <a:spcPct val="0"/>
              </a:spcAft>
              <a:buClrTx/>
              <a:buSzTx/>
              <a:buFont typeface="Arial"/>
              <a:buChar char="•"/>
              <a:tabLst/>
              <a:defRPr/>
            </a:pPr>
            <a:endParaRPr lang="en-US" sz="1400" b="0" i="0" u="none" strike="noStrike" kern="0" cap="none" spc="0" normalizeH="0" baseline="0" noProof="0" dirty="0">
              <a:ln>
                <a:noFill/>
              </a:ln>
              <a:solidFill>
                <a:srgbClr val="000000"/>
              </a:solidFill>
              <a:effectLst/>
              <a:uLnTx/>
              <a:uFillTx/>
              <a:latin typeface="Arial"/>
              <a:cs typeface="Arial"/>
            </a:endParaRPr>
          </a:p>
          <a:p>
            <a:pPr marL="0" marR="0" lvl="0" indent="0" algn="l" defTabSz="914400" rtl="0" eaLnBrk="0" fontAlgn="base" latinLnBrk="0" hangingPunct="0">
              <a:lnSpc>
                <a:spcPct val="100000"/>
              </a:lnSpc>
              <a:spcBef>
                <a:spcPts val="300"/>
              </a:spcBef>
              <a:spcAft>
                <a:spcPct val="0"/>
              </a:spcAft>
              <a:buClrTx/>
              <a:buSzTx/>
              <a:buFont typeface="Arial"/>
              <a:buNone/>
              <a:tabLst/>
              <a:defRPr/>
            </a:pPr>
            <a:endParaRPr kumimoji="0" lang="en-US" sz="2000" b="1" i="0" u="none" strike="noStrike" kern="0" cap="none" spc="0" normalizeH="0" baseline="0" noProof="0" dirty="0">
              <a:ln>
                <a:noFill/>
              </a:ln>
              <a:solidFill>
                <a:srgbClr val="409BCC"/>
              </a:solidFill>
              <a:effectLst/>
              <a:uLnTx/>
              <a:uFillTx/>
              <a:latin typeface="Helvetica Neue"/>
              <a:ea typeface="+mn-ea"/>
              <a:cs typeface="+mn-cs"/>
            </a:endParaRPr>
          </a:p>
        </p:txBody>
      </p:sp>
      <p:pic>
        <p:nvPicPr>
          <p:cNvPr id="10" name="Picture 3">
            <a:extLst>
              <a:ext uri="{FF2B5EF4-FFF2-40B4-BE49-F238E27FC236}">
                <a16:creationId xmlns:a16="http://schemas.microsoft.com/office/drawing/2014/main" id="{C1D262C2-DEC9-1B45-95F4-C69BFC877D6F}"/>
              </a:ext>
            </a:extLst>
          </p:cNvPr>
          <p:cNvPicPr>
            <a:picLocks noChangeAspect="1"/>
          </p:cNvPicPr>
          <p:nvPr/>
        </p:nvPicPr>
        <p:blipFill>
          <a:blip r:embed="rId4" cstate="screen">
            <a:duotone>
              <a:prstClr val="black"/>
              <a:srgbClr val="0067C5">
                <a:tint val="45000"/>
                <a:satMod val="400000"/>
              </a:srgbClr>
            </a:duotone>
            <a:extLst>
              <a:ext uri="{28A0092B-C50C-407E-A947-70E740481C1C}">
                <a14:useLocalDpi xmlns:a14="http://schemas.microsoft.com/office/drawing/2010/main"/>
              </a:ext>
            </a:extLst>
          </a:blip>
          <a:srcRect/>
          <a:stretch>
            <a:fillRect/>
          </a:stretch>
        </p:blipFill>
        <p:spPr bwMode="auto">
          <a:xfrm>
            <a:off x="1566175" y="3749982"/>
            <a:ext cx="1049932" cy="1049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03537449-5DC4-2442-91FD-BDE98D4D384D}"/>
              </a:ext>
            </a:extLst>
          </p:cNvPr>
          <p:cNvPicPr>
            <a:picLocks noChangeAspect="1"/>
          </p:cNvPicPr>
          <p:nvPr/>
        </p:nvPicPr>
        <p:blipFill>
          <a:blip r:embed="rId5" cstate="screen">
            <a:duotone>
              <a:prstClr val="black"/>
              <a:srgbClr val="0067C5">
                <a:tint val="45000"/>
                <a:satMod val="400000"/>
              </a:srgbClr>
            </a:duotone>
            <a:extLst>
              <a:ext uri="{28A0092B-C50C-407E-A947-70E740481C1C}">
                <a14:useLocalDpi xmlns:a14="http://schemas.microsoft.com/office/drawing/2010/main"/>
              </a:ext>
            </a:extLst>
          </a:blip>
          <a:srcRect/>
          <a:stretch>
            <a:fillRect/>
          </a:stretch>
        </p:blipFill>
        <p:spPr bwMode="auto">
          <a:xfrm>
            <a:off x="731870" y="3854902"/>
            <a:ext cx="1083958" cy="108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0" descr="MSFT_logo_rgb_C-Gray.png">
            <a:extLst>
              <a:ext uri="{FF2B5EF4-FFF2-40B4-BE49-F238E27FC236}">
                <a16:creationId xmlns:a16="http://schemas.microsoft.com/office/drawing/2014/main" id="{9355C66B-4880-2044-81D3-8F702E101033}"/>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401483" y="1087206"/>
            <a:ext cx="771525"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2">
            <a:extLst>
              <a:ext uri="{FF2B5EF4-FFF2-40B4-BE49-F238E27FC236}">
                <a16:creationId xmlns:a16="http://schemas.microsoft.com/office/drawing/2014/main" id="{D9B20BEE-0C5B-A541-AAE1-CA5F687D6AB5}"/>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87108" y="1350731"/>
            <a:ext cx="6683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2" descr="Screen Shot 2013-03-25 at 6.46.53 PM.png">
            <a:extLst>
              <a:ext uri="{FF2B5EF4-FFF2-40B4-BE49-F238E27FC236}">
                <a16:creationId xmlns:a16="http://schemas.microsoft.com/office/drawing/2014/main" id="{5519D064-2D9E-5342-A86E-7B5DB2F6DB4F}"/>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23608" y="1084031"/>
            <a:ext cx="708025"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a:extLst>
              <a:ext uri="{FF2B5EF4-FFF2-40B4-BE49-F238E27FC236}">
                <a16:creationId xmlns:a16="http://schemas.microsoft.com/office/drawing/2014/main" id="{D2D814BD-6364-C34A-8CBC-1297317AA380}"/>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480858" y="1360256"/>
            <a:ext cx="31591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35" descr="SAP_Application_v1">
            <a:extLst>
              <a:ext uri="{FF2B5EF4-FFF2-40B4-BE49-F238E27FC236}">
                <a16:creationId xmlns:a16="http://schemas.microsoft.com/office/drawing/2014/main" id="{A7F3F577-059C-4740-9089-5A8B653DE8FA}"/>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976158" y="1369781"/>
            <a:ext cx="504825" cy="14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a:extLst>
              <a:ext uri="{FF2B5EF4-FFF2-40B4-BE49-F238E27FC236}">
                <a16:creationId xmlns:a16="http://schemas.microsoft.com/office/drawing/2014/main" id="{7A993C16-BD9A-6E41-ACD5-218839FAD02B}"/>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2257146" y="1082443"/>
            <a:ext cx="4587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3">
            <a:extLst>
              <a:ext uri="{FF2B5EF4-FFF2-40B4-BE49-F238E27FC236}">
                <a16:creationId xmlns:a16="http://schemas.microsoft.com/office/drawing/2014/main" id="{06FC2BCA-DA35-EE4D-9E4B-3470CAE178E8}"/>
              </a:ext>
            </a:extLst>
          </p:cNvPr>
          <p:cNvSpPr txBox="1">
            <a:spLocks/>
          </p:cNvSpPr>
          <p:nvPr/>
        </p:nvSpPr>
        <p:spPr>
          <a:xfrm>
            <a:off x="237750" y="262136"/>
            <a:ext cx="8534399"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kern="0" dirty="0">
                <a:latin typeface="Arial"/>
              </a:rPr>
              <a:t>Latest </a:t>
            </a:r>
            <a:r>
              <a:rPr kumimoji="0" lang="en-US" sz="2800" b="1" i="0" u="none" strike="noStrike" kern="0" cap="none" spc="0" normalizeH="0" baseline="0" noProof="0" dirty="0">
                <a:ln>
                  <a:noFill/>
                </a:ln>
                <a:solidFill>
                  <a:srgbClr val="000000"/>
                </a:solidFill>
                <a:effectLst/>
                <a:uLnTx/>
                <a:uFillTx/>
                <a:latin typeface="Arial"/>
                <a:ea typeface="+mj-ea"/>
                <a:cs typeface="+mj-cs"/>
              </a:rPr>
              <a:t>FlexPod Innovations</a:t>
            </a:r>
          </a:p>
        </p:txBody>
      </p:sp>
    </p:spTree>
    <p:extLst>
      <p:ext uri="{BB962C8B-B14F-4D97-AF65-F5344CB8AC3E}">
        <p14:creationId xmlns:p14="http://schemas.microsoft.com/office/powerpoint/2010/main" val="142663150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Screen Shot 2016-07-14 at 2.40.14 PM.png">
            <a:extLst>
              <a:ext uri="{FF2B5EF4-FFF2-40B4-BE49-F238E27FC236}">
                <a16:creationId xmlns:a16="http://schemas.microsoft.com/office/drawing/2014/main" id="{23FC601C-3E90-2F43-9BFB-E5E9807F23D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 y="1513643"/>
            <a:ext cx="4467852" cy="1886173"/>
          </a:xfrm>
          <a:prstGeom prst="rect">
            <a:avLst/>
          </a:prstGeom>
        </p:spPr>
      </p:pic>
      <p:sp>
        <p:nvSpPr>
          <p:cNvPr id="2" name="Content Placeholder 1">
            <a:extLst>
              <a:ext uri="{FF2B5EF4-FFF2-40B4-BE49-F238E27FC236}">
                <a16:creationId xmlns:a16="http://schemas.microsoft.com/office/drawing/2014/main" id="{DD0C9510-EC8B-8148-8746-9DD2CB515AB9}"/>
              </a:ext>
            </a:extLst>
          </p:cNvPr>
          <p:cNvSpPr>
            <a:spLocks noGrp="1"/>
          </p:cNvSpPr>
          <p:nvPr>
            <p:ph sz="quarter" idx="10"/>
          </p:nvPr>
        </p:nvSpPr>
        <p:spPr>
          <a:xfrm>
            <a:off x="4579158" y="3504137"/>
            <a:ext cx="4183841" cy="648835"/>
          </a:xfrm>
        </p:spPr>
        <p:txBody>
          <a:bodyPr/>
          <a:lstStyle/>
          <a:p>
            <a:pPr marL="0" indent="0">
              <a:buNone/>
            </a:pPr>
            <a:r>
              <a:rPr lang="en-US" sz="1200" dirty="0">
                <a:solidFill>
                  <a:srgbClr val="4CABD6"/>
                </a:solidFill>
              </a:rPr>
              <a:t> FlexPod Recognitions and Accolades</a:t>
            </a:r>
          </a:p>
          <a:p>
            <a:pPr marL="141881" indent="-141881"/>
            <a:r>
              <a:rPr lang="en-US" sz="1200" dirty="0"/>
              <a:t>World’s most trusted CI platform**</a:t>
            </a:r>
          </a:p>
          <a:p>
            <a:pPr marL="141881" indent="-141881"/>
            <a:r>
              <a:rPr lang="en-US" sz="1200" dirty="0"/>
              <a:t>FlexPod storage continues to garner awards	</a:t>
            </a:r>
          </a:p>
          <a:p>
            <a:pPr marL="141881" indent="-141881"/>
            <a:r>
              <a:rPr lang="en-US" sz="1200" dirty="0"/>
              <a:t>FlexPod has 30% share from  Q42018 to Q42019*</a:t>
            </a:r>
          </a:p>
          <a:p>
            <a:endParaRPr lang="en-US" sz="1200" dirty="0"/>
          </a:p>
        </p:txBody>
      </p:sp>
      <p:sp>
        <p:nvSpPr>
          <p:cNvPr id="4" name="Text Placeholder 3">
            <a:extLst>
              <a:ext uri="{FF2B5EF4-FFF2-40B4-BE49-F238E27FC236}">
                <a16:creationId xmlns:a16="http://schemas.microsoft.com/office/drawing/2014/main" id="{8988D8AB-1664-6646-BCDE-79B48C4BA396}"/>
              </a:ext>
            </a:extLst>
          </p:cNvPr>
          <p:cNvSpPr>
            <a:spLocks noGrp="1"/>
          </p:cNvSpPr>
          <p:nvPr>
            <p:ph type="body" idx="11"/>
          </p:nvPr>
        </p:nvSpPr>
        <p:spPr/>
        <p:txBody>
          <a:bodyPr/>
          <a:lstStyle/>
          <a:p>
            <a:r>
              <a:rPr lang="en-US" dirty="0"/>
              <a:t>Success by the numbers</a:t>
            </a:r>
          </a:p>
          <a:p>
            <a:endParaRPr lang="en-US" dirty="0"/>
          </a:p>
          <a:p>
            <a:endParaRPr lang="en-US" dirty="0"/>
          </a:p>
        </p:txBody>
      </p:sp>
      <p:sp>
        <p:nvSpPr>
          <p:cNvPr id="3" name="Title 2">
            <a:extLst>
              <a:ext uri="{FF2B5EF4-FFF2-40B4-BE49-F238E27FC236}">
                <a16:creationId xmlns:a16="http://schemas.microsoft.com/office/drawing/2014/main" id="{A9460090-095E-AF4E-A804-2702304505DB}"/>
              </a:ext>
            </a:extLst>
          </p:cNvPr>
          <p:cNvSpPr>
            <a:spLocks noGrp="1"/>
          </p:cNvSpPr>
          <p:nvPr>
            <p:ph type="title"/>
          </p:nvPr>
        </p:nvSpPr>
        <p:spPr/>
        <p:txBody>
          <a:bodyPr/>
          <a:lstStyle/>
          <a:p>
            <a:r>
              <a:rPr lang="en-US" dirty="0"/>
              <a:t>FlexPod Momentum </a:t>
            </a:r>
          </a:p>
        </p:txBody>
      </p:sp>
      <p:sp>
        <p:nvSpPr>
          <p:cNvPr id="7" name="Content Placeholder 1">
            <a:extLst>
              <a:ext uri="{FF2B5EF4-FFF2-40B4-BE49-F238E27FC236}">
                <a16:creationId xmlns:a16="http://schemas.microsoft.com/office/drawing/2014/main" id="{BCB9E3D1-8F01-9C49-B632-BE3BE5AD29BB}"/>
              </a:ext>
            </a:extLst>
          </p:cNvPr>
          <p:cNvSpPr txBox="1">
            <a:spLocks/>
          </p:cNvSpPr>
          <p:nvPr/>
        </p:nvSpPr>
        <p:spPr bwMode="auto">
          <a:xfrm>
            <a:off x="228600" y="3504137"/>
            <a:ext cx="4124396" cy="110447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33321" indent="-233321" algn="l" rtl="0" eaLnBrk="0" fontAlgn="base" hangingPunct="0">
              <a:spcBef>
                <a:spcPts val="600"/>
              </a:spcBef>
              <a:spcAft>
                <a:spcPct val="0"/>
              </a:spcAft>
              <a:buClrTx/>
              <a:buFont typeface="Arial"/>
              <a:buChar char="•"/>
              <a:defRPr sz="1800">
                <a:solidFill>
                  <a:srgbClr val="000000"/>
                </a:solidFill>
                <a:latin typeface="+mn-lt"/>
                <a:ea typeface="+mn-ea"/>
                <a:cs typeface="+mn-cs"/>
              </a:defRPr>
            </a:lvl1pPr>
            <a:lvl2pPr marL="457118" indent="-233321" algn="l" rtl="0" eaLnBrk="0" fontAlgn="base" hangingPunct="0">
              <a:spcBef>
                <a:spcPts val="400"/>
              </a:spcBef>
              <a:spcAft>
                <a:spcPct val="0"/>
              </a:spcAft>
              <a:buClrTx/>
              <a:buFont typeface="Arial"/>
              <a:buChar char="•"/>
              <a:defRPr sz="1600">
                <a:solidFill>
                  <a:srgbClr val="000000"/>
                </a:solidFill>
                <a:latin typeface="+mn-lt"/>
              </a:defRPr>
            </a:lvl2pPr>
            <a:lvl3pPr marL="693619" indent="-228558" algn="l" rtl="0" eaLnBrk="0" fontAlgn="base" hangingPunct="0">
              <a:spcBef>
                <a:spcPts val="400"/>
              </a:spcBef>
              <a:spcAft>
                <a:spcPct val="0"/>
              </a:spcAft>
              <a:buClrTx/>
              <a:buFont typeface="Arial"/>
              <a:buChar char="•"/>
              <a:defRPr sz="1800">
                <a:solidFill>
                  <a:srgbClr val="000000"/>
                </a:solidFill>
                <a:latin typeface="+mn-lt"/>
              </a:defRPr>
            </a:lvl3pPr>
            <a:lvl4pPr marL="917414" indent="-228558" algn="l" rtl="0" eaLnBrk="0" fontAlgn="base" hangingPunct="0">
              <a:spcBef>
                <a:spcPts val="400"/>
              </a:spcBef>
              <a:spcAft>
                <a:spcPct val="0"/>
              </a:spcAft>
              <a:buClrTx/>
              <a:buFont typeface="Arial"/>
              <a:buChar char="•"/>
              <a:defRPr sz="1600">
                <a:solidFill>
                  <a:srgbClr val="000000"/>
                </a:solidFill>
                <a:latin typeface="+mn-lt"/>
              </a:defRPr>
            </a:lvl4pPr>
            <a:lvl5pPr marL="1150739" indent="-228558" algn="l" rtl="0" eaLnBrk="0" fontAlgn="base" hangingPunct="0">
              <a:spcBef>
                <a:spcPts val="40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Tx/>
              <a:buSzTx/>
              <a:buFont typeface="Arial"/>
              <a:buNone/>
              <a:tabLst/>
              <a:defRPr/>
            </a:pPr>
            <a:r>
              <a:rPr lang="en-US" sz="1200" kern="0" dirty="0">
                <a:solidFill>
                  <a:srgbClr val="4CABD6"/>
                </a:solidFill>
                <a:latin typeface="Arial"/>
              </a:rPr>
              <a:t>10-Years of evolving technologies, innovations and solutions:</a:t>
            </a:r>
            <a:endParaRPr kumimoji="0" lang="en-US" sz="1200" b="0" i="0" u="none" strike="noStrike" kern="0" cap="none" spc="0" normalizeH="0" baseline="0" noProof="0" dirty="0">
              <a:ln>
                <a:noFill/>
              </a:ln>
              <a:solidFill>
                <a:srgbClr val="4CABD6"/>
              </a:solidFill>
              <a:effectLst/>
              <a:uLnTx/>
              <a:uFillTx/>
              <a:latin typeface="Arial"/>
              <a:ea typeface="+mn-ea"/>
              <a:cs typeface="+mn-cs"/>
            </a:endParaRPr>
          </a:p>
          <a:p>
            <a:pPr marL="141881" marR="0" lvl="0" indent="-141881" algn="l" defTabSz="914400" rtl="0" eaLnBrk="0" fontAlgn="base" latinLnBrk="0" hangingPunct="0">
              <a:lnSpc>
                <a:spcPct val="100000"/>
              </a:lnSpc>
              <a:spcBef>
                <a:spcPts val="600"/>
              </a:spcBef>
              <a:spcAft>
                <a:spcPct val="0"/>
              </a:spcAft>
              <a:buClrTx/>
              <a:buSzTx/>
              <a:buFont typeface="Arial"/>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New foundational FlexPod technology updates</a:t>
            </a:r>
          </a:p>
          <a:p>
            <a:pPr marL="141881" marR="0" lvl="0" indent="-141881" algn="l" defTabSz="914400" rtl="0" eaLnBrk="0" fontAlgn="base" latinLnBrk="0" hangingPunct="0">
              <a:lnSpc>
                <a:spcPct val="100000"/>
              </a:lnSpc>
              <a:spcBef>
                <a:spcPts val="600"/>
              </a:spcBef>
              <a:spcAft>
                <a:spcPct val="0"/>
              </a:spcAft>
              <a:buClrTx/>
              <a:buSzTx/>
              <a:buFont typeface="Arial"/>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Modern workloads: AI/ML, latest enterprise applications</a:t>
            </a:r>
          </a:p>
          <a:p>
            <a:pPr marL="141881" marR="0" lvl="0" indent="-141881" algn="l" defTabSz="914400" rtl="0" eaLnBrk="0" fontAlgn="base" latinLnBrk="0" hangingPunct="0">
              <a:lnSpc>
                <a:spcPct val="100000"/>
              </a:lnSpc>
              <a:spcBef>
                <a:spcPts val="600"/>
              </a:spcBef>
              <a:spcAft>
                <a:spcPct val="0"/>
              </a:spcAft>
              <a:buClrTx/>
              <a:buSzTx/>
              <a:buFont typeface="Arial"/>
              <a:buChar char="•"/>
              <a:tabLst/>
              <a:defRPr/>
            </a:pPr>
            <a:r>
              <a:rPr lang="en-US" sz="1200" kern="0" dirty="0">
                <a:latin typeface="Arial"/>
              </a:rPr>
              <a:t>The most cloud-connected CI platform</a:t>
            </a:r>
            <a:endParaRPr kumimoji="0" lang="en-US" sz="12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Tx/>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a:p>
            <a:pPr marL="233321" marR="0" lvl="0" indent="-233321" algn="l" defTabSz="914400" rtl="0" eaLnBrk="0" fontAlgn="base" latinLnBrk="0" hangingPunct="0">
              <a:lnSpc>
                <a:spcPct val="100000"/>
              </a:lnSpc>
              <a:spcBef>
                <a:spcPts val="600"/>
              </a:spcBef>
              <a:spcAft>
                <a:spcPct val="0"/>
              </a:spcAft>
              <a:buClrTx/>
              <a:buSzTx/>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sp>
        <p:nvSpPr>
          <p:cNvPr id="9" name="TextBox 25">
            <a:extLst>
              <a:ext uri="{FF2B5EF4-FFF2-40B4-BE49-F238E27FC236}">
                <a16:creationId xmlns:a16="http://schemas.microsoft.com/office/drawing/2014/main" id="{5AE9376A-4D3F-A54F-9B57-336C47A3641F}"/>
              </a:ext>
            </a:extLst>
          </p:cNvPr>
          <p:cNvSpPr txBox="1">
            <a:spLocks noChangeArrowheads="1"/>
          </p:cNvSpPr>
          <p:nvPr/>
        </p:nvSpPr>
        <p:spPr bwMode="gray">
          <a:xfrm>
            <a:off x="1753504" y="2047347"/>
            <a:ext cx="1232650" cy="377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FlexPod customers</a:t>
            </a:r>
          </a:p>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round the world</a:t>
            </a:r>
          </a:p>
        </p:txBody>
      </p:sp>
      <p:sp>
        <p:nvSpPr>
          <p:cNvPr id="10" name="TextBox 9">
            <a:extLst>
              <a:ext uri="{FF2B5EF4-FFF2-40B4-BE49-F238E27FC236}">
                <a16:creationId xmlns:a16="http://schemas.microsoft.com/office/drawing/2014/main" id="{B16E9E9D-1AC5-0440-8C2D-CF740F7C1DE6}"/>
              </a:ext>
            </a:extLst>
          </p:cNvPr>
          <p:cNvSpPr txBox="1">
            <a:spLocks/>
          </p:cNvSpPr>
          <p:nvPr/>
        </p:nvSpPr>
        <p:spPr bwMode="gray">
          <a:xfrm>
            <a:off x="1870064" y="1446768"/>
            <a:ext cx="971550" cy="631825"/>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9,500</a:t>
            </a:r>
            <a:endParaRPr kumimoji="0" lang="en-US" sz="20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AEE31367-E05C-7D42-9C00-08660FBE9291}"/>
              </a:ext>
            </a:extLst>
          </p:cNvPr>
          <p:cNvSpPr txBox="1">
            <a:spLocks/>
          </p:cNvSpPr>
          <p:nvPr/>
        </p:nvSpPr>
        <p:spPr bwMode="gray">
          <a:xfrm>
            <a:off x="3142933" y="1434154"/>
            <a:ext cx="1095375" cy="631825"/>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170+</a:t>
            </a:r>
            <a:endParaRPr kumimoji="0" lang="en-US" sz="18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12" name="TextBox 29">
            <a:extLst>
              <a:ext uri="{FF2B5EF4-FFF2-40B4-BE49-F238E27FC236}">
                <a16:creationId xmlns:a16="http://schemas.microsoft.com/office/drawing/2014/main" id="{E8A21C19-DD20-6A42-930F-6A1AD77D7BD6}"/>
              </a:ext>
            </a:extLst>
          </p:cNvPr>
          <p:cNvSpPr txBox="1">
            <a:spLocks noChangeArrowheads="1"/>
          </p:cNvSpPr>
          <p:nvPr/>
        </p:nvSpPr>
        <p:spPr bwMode="gray">
          <a:xfrm>
            <a:off x="3031625" y="2047347"/>
            <a:ext cx="1256679" cy="2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validated designs</a:t>
            </a:r>
          </a:p>
        </p:txBody>
      </p:sp>
      <p:sp>
        <p:nvSpPr>
          <p:cNvPr id="13" name="TextBox 31">
            <a:extLst>
              <a:ext uri="{FF2B5EF4-FFF2-40B4-BE49-F238E27FC236}">
                <a16:creationId xmlns:a16="http://schemas.microsoft.com/office/drawing/2014/main" id="{3E3B9087-42EA-5746-AB39-89FFB6378155}"/>
              </a:ext>
            </a:extLst>
          </p:cNvPr>
          <p:cNvSpPr txBox="1">
            <a:spLocks noChangeArrowheads="1"/>
          </p:cNvSpPr>
          <p:nvPr/>
        </p:nvSpPr>
        <p:spPr bwMode="gray">
          <a:xfrm>
            <a:off x="304339" y="2047347"/>
            <a:ext cx="1258446" cy="377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combined revenue to date</a:t>
            </a:r>
          </a:p>
        </p:txBody>
      </p:sp>
      <p:sp>
        <p:nvSpPr>
          <p:cNvPr id="14" name="TextBox 13">
            <a:extLst>
              <a:ext uri="{FF2B5EF4-FFF2-40B4-BE49-F238E27FC236}">
                <a16:creationId xmlns:a16="http://schemas.microsoft.com/office/drawing/2014/main" id="{6BC03329-D97F-7648-ADC8-4B419CE18F7B}"/>
              </a:ext>
            </a:extLst>
          </p:cNvPr>
          <p:cNvSpPr txBox="1">
            <a:spLocks/>
          </p:cNvSpPr>
          <p:nvPr/>
        </p:nvSpPr>
        <p:spPr bwMode="gray">
          <a:xfrm>
            <a:off x="322179" y="1464316"/>
            <a:ext cx="1135063" cy="631825"/>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13.5B+</a:t>
            </a:r>
            <a:endParaRPr kumimoji="0" lang="en-US" sz="20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15" name="TextBox 16">
            <a:extLst>
              <a:ext uri="{FF2B5EF4-FFF2-40B4-BE49-F238E27FC236}">
                <a16:creationId xmlns:a16="http://schemas.microsoft.com/office/drawing/2014/main" id="{8A2C603F-E2E0-274E-B9C4-C076A725E64B}"/>
              </a:ext>
            </a:extLst>
          </p:cNvPr>
          <p:cNvSpPr txBox="1">
            <a:spLocks noChangeArrowheads="1"/>
          </p:cNvSpPr>
          <p:nvPr/>
        </p:nvSpPr>
        <p:spPr bwMode="gray">
          <a:xfrm>
            <a:off x="1792880" y="2899462"/>
            <a:ext cx="1200766" cy="37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artners serving 100 countries</a:t>
            </a:r>
          </a:p>
        </p:txBody>
      </p:sp>
      <p:sp>
        <p:nvSpPr>
          <p:cNvPr id="16" name="TextBox 15">
            <a:extLst>
              <a:ext uri="{FF2B5EF4-FFF2-40B4-BE49-F238E27FC236}">
                <a16:creationId xmlns:a16="http://schemas.microsoft.com/office/drawing/2014/main" id="{13132AFF-04AA-6742-8DC4-59969F7EDBD1}"/>
              </a:ext>
            </a:extLst>
          </p:cNvPr>
          <p:cNvSpPr txBox="1">
            <a:spLocks/>
          </p:cNvSpPr>
          <p:nvPr/>
        </p:nvSpPr>
        <p:spPr bwMode="gray">
          <a:xfrm>
            <a:off x="1885939" y="2334648"/>
            <a:ext cx="971550" cy="631825"/>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1,100</a:t>
            </a:r>
            <a:endParaRPr kumimoji="0" lang="en-US" sz="20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38FFD6E6-A3A1-CD49-935B-8C43648A1915}"/>
              </a:ext>
            </a:extLst>
          </p:cNvPr>
          <p:cNvSpPr txBox="1">
            <a:spLocks/>
          </p:cNvSpPr>
          <p:nvPr/>
        </p:nvSpPr>
        <p:spPr bwMode="gray">
          <a:xfrm>
            <a:off x="3245943" y="2348185"/>
            <a:ext cx="868362" cy="631825"/>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250</a:t>
            </a:r>
            <a:endParaRPr kumimoji="0" lang="en-US" sz="20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18" name="TextBox 20">
            <a:extLst>
              <a:ext uri="{FF2B5EF4-FFF2-40B4-BE49-F238E27FC236}">
                <a16:creationId xmlns:a16="http://schemas.microsoft.com/office/drawing/2014/main" id="{48039754-2323-004A-9805-52F226D68821}"/>
              </a:ext>
            </a:extLst>
          </p:cNvPr>
          <p:cNvSpPr txBox="1">
            <a:spLocks noChangeArrowheads="1"/>
          </p:cNvSpPr>
          <p:nvPr/>
        </p:nvSpPr>
        <p:spPr bwMode="gray">
          <a:xfrm>
            <a:off x="3116074" y="2899462"/>
            <a:ext cx="1137379" cy="37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erson-years of joint engineering</a:t>
            </a:r>
          </a:p>
        </p:txBody>
      </p:sp>
      <p:sp>
        <p:nvSpPr>
          <p:cNvPr id="19" name="TextBox 22">
            <a:extLst>
              <a:ext uri="{FF2B5EF4-FFF2-40B4-BE49-F238E27FC236}">
                <a16:creationId xmlns:a16="http://schemas.microsoft.com/office/drawing/2014/main" id="{71EE58F9-5153-994D-ADB9-5CA43647BFDC}"/>
              </a:ext>
            </a:extLst>
          </p:cNvPr>
          <p:cNvSpPr txBox="1">
            <a:spLocks noChangeArrowheads="1"/>
          </p:cNvSpPr>
          <p:nvPr/>
        </p:nvSpPr>
        <p:spPr bwMode="gray">
          <a:xfrm>
            <a:off x="513409" y="2899462"/>
            <a:ext cx="701573" cy="37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2" tIns="34281" rIns="68562" bIns="34281">
            <a:spAutoFit/>
          </a:bodyPr>
          <a:lstStyle>
            <a:lvl1pPr defTabSz="512763">
              <a:defRPr sz="2000">
                <a:solidFill>
                  <a:schemeClr val="tx1"/>
                </a:solidFill>
                <a:latin typeface="Arial" panose="020B0604020202020204" pitchFamily="34" charset="0"/>
              </a:defRPr>
            </a:lvl1pPr>
            <a:lvl2pPr defTabSz="512763">
              <a:defRPr sz="2000">
                <a:solidFill>
                  <a:schemeClr val="tx1"/>
                </a:solidFill>
                <a:latin typeface="Arial" panose="020B0604020202020204" pitchFamily="34" charset="0"/>
              </a:defRPr>
            </a:lvl2pPr>
            <a:lvl3pPr defTabSz="512763">
              <a:defRPr sz="2000">
                <a:solidFill>
                  <a:schemeClr val="tx1"/>
                </a:solidFill>
                <a:latin typeface="Arial" panose="020B0604020202020204" pitchFamily="34" charset="0"/>
              </a:defRPr>
            </a:lvl3pPr>
            <a:lvl4pPr defTabSz="512763">
              <a:defRPr sz="2000">
                <a:solidFill>
                  <a:schemeClr val="tx1"/>
                </a:solidFill>
                <a:latin typeface="Arial" panose="020B0604020202020204" pitchFamily="34" charset="0"/>
              </a:defRPr>
            </a:lvl4pPr>
            <a:lvl5pPr defTabSz="512763">
              <a:defRPr sz="2000">
                <a:solidFill>
                  <a:schemeClr val="tx1"/>
                </a:solidFill>
                <a:latin typeface="Arial" panose="020B0604020202020204" pitchFamily="34" charset="0"/>
              </a:defRPr>
            </a:lvl5pPr>
            <a:lvl6pPr marL="2284413" indent="1588" defTabSz="512763" eaLnBrk="0" fontAlgn="base" hangingPunct="0">
              <a:spcBef>
                <a:spcPct val="0"/>
              </a:spcBef>
              <a:spcAft>
                <a:spcPct val="0"/>
              </a:spcAft>
              <a:defRPr sz="2000">
                <a:solidFill>
                  <a:schemeClr val="tx1"/>
                </a:solidFill>
                <a:latin typeface="Arial" panose="020B0604020202020204" pitchFamily="34" charset="0"/>
              </a:defRPr>
            </a:lvl6pPr>
            <a:lvl7pPr marL="2741613" indent="1588" defTabSz="512763" eaLnBrk="0" fontAlgn="base" hangingPunct="0">
              <a:spcBef>
                <a:spcPct val="0"/>
              </a:spcBef>
              <a:spcAft>
                <a:spcPct val="0"/>
              </a:spcAft>
              <a:defRPr sz="2000">
                <a:solidFill>
                  <a:schemeClr val="tx1"/>
                </a:solidFill>
                <a:latin typeface="Arial" panose="020B0604020202020204" pitchFamily="34" charset="0"/>
              </a:defRPr>
            </a:lvl7pPr>
            <a:lvl8pPr marL="3198813" indent="1588" defTabSz="512763" eaLnBrk="0" fontAlgn="base" hangingPunct="0">
              <a:spcBef>
                <a:spcPct val="0"/>
              </a:spcBef>
              <a:spcAft>
                <a:spcPct val="0"/>
              </a:spcAft>
              <a:defRPr sz="2000">
                <a:solidFill>
                  <a:schemeClr val="tx1"/>
                </a:solidFill>
                <a:latin typeface="Arial" panose="020B0604020202020204" pitchFamily="34" charset="0"/>
              </a:defRPr>
            </a:lvl8pPr>
            <a:lvl9pPr marL="3656013" indent="1588" defTabSz="51276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51276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etabytes sold</a:t>
            </a:r>
          </a:p>
        </p:txBody>
      </p:sp>
      <p:sp>
        <p:nvSpPr>
          <p:cNvPr id="20" name="TextBox 19">
            <a:extLst>
              <a:ext uri="{FF2B5EF4-FFF2-40B4-BE49-F238E27FC236}">
                <a16:creationId xmlns:a16="http://schemas.microsoft.com/office/drawing/2014/main" id="{02BFBA05-DFE9-7A4E-8CB9-68068660DD7F}"/>
              </a:ext>
            </a:extLst>
          </p:cNvPr>
          <p:cNvSpPr txBox="1">
            <a:spLocks/>
          </p:cNvSpPr>
          <p:nvPr/>
        </p:nvSpPr>
        <p:spPr bwMode="gray">
          <a:xfrm>
            <a:off x="304717" y="2356873"/>
            <a:ext cx="1136650" cy="630238"/>
          </a:xfrm>
          <a:prstGeom prst="rect">
            <a:avLst/>
          </a:prstGeom>
          <a:noFill/>
          <a:ln>
            <a:noFill/>
          </a:ln>
        </p:spPr>
        <p:txBody>
          <a:bodyPr lIns="68562" tIns="34281" rIns="68562" bIns="34281"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ctr" defTabSz="514184" rtl="0" eaLnBrk="1" fontAlgn="base" latinLnBrk="0" hangingPunct="1">
              <a:lnSpc>
                <a:spcPct val="100000"/>
              </a:lnSpc>
              <a:spcBef>
                <a:spcPct val="0"/>
              </a:spcBef>
              <a:spcAft>
                <a:spcPct val="0"/>
              </a:spcAft>
              <a:buClrTx/>
              <a:buSzTx/>
              <a:buFontTx/>
              <a:buNone/>
              <a:tabLst/>
              <a:defRPr/>
            </a:pPr>
            <a:r>
              <a:rPr kumimoji="0" lang="en-US" sz="2000" b="1" i="0" u="none" strike="noStrike" kern="100" cap="none" spc="-50" normalizeH="0" baseline="0" noProof="0" dirty="0">
                <a:ln>
                  <a:noFill/>
                </a:ln>
                <a:solidFill>
                  <a:prstClr val="white"/>
                </a:solidFill>
                <a:effectLst/>
                <a:uLnTx/>
                <a:uFillTx/>
                <a:latin typeface="Arial"/>
                <a:ea typeface="+mn-ea"/>
                <a:cs typeface="+mn-cs"/>
              </a:rPr>
              <a:t>6,000+</a:t>
            </a:r>
            <a:endParaRPr kumimoji="0" lang="en-US" sz="2000" b="1" i="0" u="none" strike="noStrike" kern="100" cap="none" spc="-50" normalizeH="0" baseline="30000" noProof="0" dirty="0">
              <a:ln>
                <a:noFill/>
              </a:ln>
              <a:solidFill>
                <a:prstClr val="white"/>
              </a:solidFill>
              <a:effectLst/>
              <a:uLnTx/>
              <a:uFillTx/>
              <a:latin typeface="Arial"/>
              <a:ea typeface="+mn-ea"/>
              <a:cs typeface="+mn-cs"/>
            </a:endParaRPr>
          </a:p>
        </p:txBody>
      </p:sp>
      <p:sp>
        <p:nvSpPr>
          <p:cNvPr id="23" name="TextBox 1">
            <a:extLst>
              <a:ext uri="{FF2B5EF4-FFF2-40B4-BE49-F238E27FC236}">
                <a16:creationId xmlns:a16="http://schemas.microsoft.com/office/drawing/2014/main" id="{83E2948C-8683-5848-890D-852BB6004ABC}"/>
              </a:ext>
            </a:extLst>
          </p:cNvPr>
          <p:cNvSpPr txBox="1">
            <a:spLocks noChangeArrowheads="1"/>
          </p:cNvSpPr>
          <p:nvPr/>
        </p:nvSpPr>
        <p:spPr bwMode="auto">
          <a:xfrm>
            <a:off x="4604285" y="4574274"/>
            <a:ext cx="44678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srgbClr val="4C4948"/>
                </a:solidFill>
                <a:effectLst/>
                <a:uLnTx/>
                <a:uFillTx/>
                <a:latin typeface="Arial" charset="0"/>
                <a:ea typeface="+mn-ea"/>
                <a:cs typeface="+mn-cs"/>
              </a:rPr>
              <a:t>*IDC Converged Systems Tracker, WW Integrated Systems and Reference Architectures. Q4 2018 – Q3 2019 </a:t>
            </a:r>
          </a:p>
        </p:txBody>
      </p:sp>
      <p:sp>
        <p:nvSpPr>
          <p:cNvPr id="22" name="TextBox 1">
            <a:extLst>
              <a:ext uri="{FF2B5EF4-FFF2-40B4-BE49-F238E27FC236}">
                <a16:creationId xmlns:a16="http://schemas.microsoft.com/office/drawing/2014/main" id="{38D8A471-EA5E-47E6-8FFF-2DF51475AF7E}"/>
              </a:ext>
            </a:extLst>
          </p:cNvPr>
          <p:cNvSpPr txBox="1">
            <a:spLocks noChangeArrowheads="1"/>
          </p:cNvSpPr>
          <p:nvPr/>
        </p:nvSpPr>
        <p:spPr bwMode="auto">
          <a:xfrm>
            <a:off x="4572000" y="4696559"/>
            <a:ext cx="44678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srgbClr val="4C4948"/>
                </a:solidFill>
                <a:effectLst/>
                <a:uLnTx/>
                <a:uFillTx/>
                <a:latin typeface="Arial" charset="0"/>
                <a:ea typeface="+mn-ea"/>
                <a:cs typeface="+mn-cs"/>
              </a:rPr>
              <a:t>** Top Rated ITCS Converged Infrastructure Solutions  2018 , 2019</a:t>
            </a:r>
          </a:p>
        </p:txBody>
      </p:sp>
      <p:pic>
        <p:nvPicPr>
          <p:cNvPr id="2050" name="Picture 2">
            <a:extLst>
              <a:ext uri="{FF2B5EF4-FFF2-40B4-BE49-F238E27FC236}">
                <a16:creationId xmlns:a16="http://schemas.microsoft.com/office/drawing/2014/main" id="{5F787C7D-C990-40A2-9F16-2A9047C6B5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0104" y="1488230"/>
            <a:ext cx="1354923" cy="1990694"/>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image017">
            <a:extLst>
              <a:ext uri="{FF2B5EF4-FFF2-40B4-BE49-F238E27FC236}">
                <a16:creationId xmlns:a16="http://schemas.microsoft.com/office/drawing/2014/main" id="{E5EA15A9-1D82-498A-9A5E-9C2FED0BF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3932" y="1513178"/>
            <a:ext cx="1847789" cy="188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375162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89D712-05C6-A946-AE05-21892BAE5953}"/>
              </a:ext>
            </a:extLst>
          </p:cNvPr>
          <p:cNvPicPr>
            <a:picLocks noChangeAspect="1"/>
          </p:cNvPicPr>
          <p:nvPr/>
        </p:nvPicPr>
        <p:blipFill>
          <a:blip r:embed="rId3"/>
          <a:stretch>
            <a:fillRect/>
          </a:stretch>
        </p:blipFill>
        <p:spPr>
          <a:xfrm>
            <a:off x="2380630" y="801264"/>
            <a:ext cx="2191370" cy="1643528"/>
          </a:xfrm>
          <a:prstGeom prst="rect">
            <a:avLst/>
          </a:prstGeom>
        </p:spPr>
      </p:pic>
      <p:pic>
        <p:nvPicPr>
          <p:cNvPr id="6" name="Picture 5">
            <a:extLst>
              <a:ext uri="{FF2B5EF4-FFF2-40B4-BE49-F238E27FC236}">
                <a16:creationId xmlns:a16="http://schemas.microsoft.com/office/drawing/2014/main" id="{F2E29A1D-0ED3-F94B-9C6A-5FF2469D0CF8}"/>
              </a:ext>
            </a:extLst>
          </p:cNvPr>
          <p:cNvPicPr>
            <a:picLocks noChangeAspect="1"/>
          </p:cNvPicPr>
          <p:nvPr/>
        </p:nvPicPr>
        <p:blipFill>
          <a:blip r:embed="rId4"/>
          <a:stretch>
            <a:fillRect/>
          </a:stretch>
        </p:blipFill>
        <p:spPr>
          <a:xfrm>
            <a:off x="2423803" y="2551383"/>
            <a:ext cx="2105025" cy="634604"/>
          </a:xfrm>
          <a:prstGeom prst="rect">
            <a:avLst/>
          </a:prstGeom>
        </p:spPr>
      </p:pic>
      <p:sp>
        <p:nvSpPr>
          <p:cNvPr id="2" name="Title 1">
            <a:extLst>
              <a:ext uri="{FF2B5EF4-FFF2-40B4-BE49-F238E27FC236}">
                <a16:creationId xmlns:a16="http://schemas.microsoft.com/office/drawing/2014/main" id="{B73A8061-1114-4649-9455-DC8C4C30C4E7}"/>
              </a:ext>
            </a:extLst>
          </p:cNvPr>
          <p:cNvSpPr>
            <a:spLocks noGrp="1"/>
          </p:cNvSpPr>
          <p:nvPr>
            <p:ph type="title"/>
          </p:nvPr>
        </p:nvSpPr>
        <p:spPr>
          <a:xfrm>
            <a:off x="228600" y="235593"/>
            <a:ext cx="8534399" cy="535781"/>
          </a:xfrm>
        </p:spPr>
        <p:txBody>
          <a:bodyPr/>
          <a:lstStyle/>
          <a:p>
            <a:r>
              <a:rPr lang="en-US" dirty="0"/>
              <a:t>The First End-to-End </a:t>
            </a:r>
            <a:r>
              <a:rPr lang="en-US" dirty="0" err="1"/>
              <a:t>NVMe</a:t>
            </a:r>
            <a:r>
              <a:rPr lang="en-US" dirty="0"/>
              <a:t> CI Solution</a:t>
            </a:r>
          </a:p>
        </p:txBody>
      </p:sp>
      <p:cxnSp>
        <p:nvCxnSpPr>
          <p:cNvPr id="14" name="Straight Connector 13">
            <a:extLst>
              <a:ext uri="{FF2B5EF4-FFF2-40B4-BE49-F238E27FC236}">
                <a16:creationId xmlns:a16="http://schemas.microsoft.com/office/drawing/2014/main" id="{FF64EE74-3BC7-E640-8747-1A11073CF2EB}"/>
              </a:ext>
            </a:extLst>
          </p:cNvPr>
          <p:cNvCxnSpPr>
            <a:cxnSpLocks/>
          </p:cNvCxnSpPr>
          <p:nvPr/>
        </p:nvCxnSpPr>
        <p:spPr>
          <a:xfrm flipV="1">
            <a:off x="1785981" y="1499352"/>
            <a:ext cx="659048" cy="1180500"/>
          </a:xfrm>
          <a:prstGeom prst="line">
            <a:avLst/>
          </a:prstGeom>
          <a:ln>
            <a:solidFill>
              <a:srgbClr val="0B5687"/>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178A1A7-B08E-9541-AA71-CD06C55A96C7}"/>
              </a:ext>
            </a:extLst>
          </p:cNvPr>
          <p:cNvCxnSpPr>
            <a:cxnSpLocks/>
          </p:cNvCxnSpPr>
          <p:nvPr/>
        </p:nvCxnSpPr>
        <p:spPr>
          <a:xfrm>
            <a:off x="1785981" y="3033849"/>
            <a:ext cx="659048" cy="1317458"/>
          </a:xfrm>
          <a:prstGeom prst="line">
            <a:avLst/>
          </a:prstGeom>
          <a:ln>
            <a:solidFill>
              <a:srgbClr val="0B5687"/>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D6576C4-4252-7C4D-8EE6-47BF740DEE6A}"/>
              </a:ext>
            </a:extLst>
          </p:cNvPr>
          <p:cNvSpPr txBox="1"/>
          <p:nvPr/>
        </p:nvSpPr>
        <p:spPr>
          <a:xfrm>
            <a:off x="2492270" y="1898633"/>
            <a:ext cx="1968091" cy="261610"/>
          </a:xfrm>
          <a:prstGeom prst="rect">
            <a:avLst/>
          </a:prstGeom>
          <a:solidFill>
            <a:srgbClr val="0B5687"/>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NVMe</a:t>
            </a:r>
            <a:r>
              <a:rPr kumimoji="0" lang="en-US" sz="10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capable UCS servers</a:t>
            </a:r>
          </a:p>
        </p:txBody>
      </p:sp>
      <p:sp>
        <p:nvSpPr>
          <p:cNvPr id="3" name="Up-Down Arrow 2">
            <a:extLst>
              <a:ext uri="{FF2B5EF4-FFF2-40B4-BE49-F238E27FC236}">
                <a16:creationId xmlns:a16="http://schemas.microsoft.com/office/drawing/2014/main" id="{934B4366-1C47-9C45-B880-FFF37F5B699B}"/>
              </a:ext>
            </a:extLst>
          </p:cNvPr>
          <p:cNvSpPr/>
          <p:nvPr/>
        </p:nvSpPr>
        <p:spPr>
          <a:xfrm>
            <a:off x="3399664" y="2202646"/>
            <a:ext cx="153303" cy="448683"/>
          </a:xfrm>
          <a:prstGeom prst="upDownArrow">
            <a:avLst/>
          </a:prstGeom>
          <a:solidFill>
            <a:srgbClr val="0B56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8246AF"/>
              </a:solidFill>
              <a:effectLst/>
              <a:uLnTx/>
              <a:uFillTx/>
              <a:latin typeface="Arial"/>
              <a:ea typeface="+mn-ea"/>
              <a:cs typeface="+mn-cs"/>
            </a:endParaRPr>
          </a:p>
        </p:txBody>
      </p:sp>
      <p:sp>
        <p:nvSpPr>
          <p:cNvPr id="36" name="Up-Down Arrow 35">
            <a:extLst>
              <a:ext uri="{FF2B5EF4-FFF2-40B4-BE49-F238E27FC236}">
                <a16:creationId xmlns:a16="http://schemas.microsoft.com/office/drawing/2014/main" id="{BD24A00A-E18C-0848-93D2-76D69E61799B}"/>
              </a:ext>
            </a:extLst>
          </p:cNvPr>
          <p:cNvSpPr/>
          <p:nvPr/>
        </p:nvSpPr>
        <p:spPr>
          <a:xfrm>
            <a:off x="3395534" y="3485051"/>
            <a:ext cx="161563" cy="384251"/>
          </a:xfrm>
          <a:prstGeom prst="upDownArrow">
            <a:avLst/>
          </a:prstGeom>
          <a:solidFill>
            <a:srgbClr val="4CABD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8246AF"/>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50433994-50DF-D746-A37B-0AC3E6D29C9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449005" y="3888450"/>
            <a:ext cx="2054620" cy="556460"/>
          </a:xfrm>
          <a:prstGeom prst="rect">
            <a:avLst/>
          </a:prstGeom>
        </p:spPr>
      </p:pic>
      <p:sp>
        <p:nvSpPr>
          <p:cNvPr id="37" name="TextBox 36">
            <a:extLst>
              <a:ext uri="{FF2B5EF4-FFF2-40B4-BE49-F238E27FC236}">
                <a16:creationId xmlns:a16="http://schemas.microsoft.com/office/drawing/2014/main" id="{B05D6E01-06F8-A244-AD31-752389AC5F41}"/>
              </a:ext>
            </a:extLst>
          </p:cNvPr>
          <p:cNvSpPr txBox="1"/>
          <p:nvPr/>
        </p:nvSpPr>
        <p:spPr>
          <a:xfrm>
            <a:off x="3599437" y="3545210"/>
            <a:ext cx="916360" cy="273376"/>
          </a:xfrm>
          <a:prstGeom prst="rect">
            <a:avLst/>
          </a:prstGeom>
        </p:spPr>
        <p:txBody>
          <a:bodyPr vert="horz" wrap="none" lIns="68580" tIns="34290" rIns="68580" bIns="34290" rtlCol="0" anchor="t">
            <a:noAutofit/>
          </a:bodyPr>
          <a:lstStyle/>
          <a:p>
            <a:pPr marL="0" marR="0" lvl="0" indent="0" algn="l" defTabSz="914400" rtl="0" eaLnBrk="0" fontAlgn="base" latinLnBrk="0" hangingPunct="0">
              <a:lnSpc>
                <a:spcPct val="95000"/>
              </a:lnSpc>
              <a:spcBef>
                <a:spcPts val="300"/>
              </a:spcBef>
              <a:spcAft>
                <a:spcPts val="150"/>
              </a:spcAft>
              <a:buClr>
                <a:srgbClr val="0067C5"/>
              </a:buClr>
              <a:buSzTx/>
              <a:buFontTx/>
              <a:buNone/>
              <a:tabLst/>
              <a:defRPr/>
            </a:pPr>
            <a:r>
              <a:rPr kumimoji="0" lang="en-US" sz="1400" b="1" i="0" u="none" strike="noStrike" kern="1200" cap="none" spc="0" normalizeH="0" baseline="0" noProof="0" dirty="0" err="1">
                <a:ln>
                  <a:noFill/>
                </a:ln>
                <a:solidFill>
                  <a:sysClr val="windowText" lastClr="000000"/>
                </a:solidFill>
                <a:effectLst/>
                <a:uLnTx/>
                <a:uFillTx/>
                <a:latin typeface="Arial" panose="020B0604020202020204" pitchFamily="34" charset="0"/>
                <a:ea typeface="+mn-ea"/>
                <a:cs typeface="+mn-cs"/>
              </a:rPr>
              <a:t>NVMe</a:t>
            </a:r>
            <a:r>
              <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rPr>
              <a:t>/FC</a:t>
            </a:r>
          </a:p>
        </p:txBody>
      </p:sp>
      <p:sp>
        <p:nvSpPr>
          <p:cNvPr id="45" name="TextBox 44">
            <a:extLst>
              <a:ext uri="{FF2B5EF4-FFF2-40B4-BE49-F238E27FC236}">
                <a16:creationId xmlns:a16="http://schemas.microsoft.com/office/drawing/2014/main" id="{1E2902AD-8413-A149-843B-E8A0B762D39B}"/>
              </a:ext>
            </a:extLst>
          </p:cNvPr>
          <p:cNvSpPr txBox="1"/>
          <p:nvPr/>
        </p:nvSpPr>
        <p:spPr>
          <a:xfrm>
            <a:off x="3564296" y="2280626"/>
            <a:ext cx="916360" cy="273376"/>
          </a:xfrm>
          <a:prstGeom prst="rect">
            <a:avLst/>
          </a:prstGeom>
        </p:spPr>
        <p:txBody>
          <a:bodyPr vert="horz" wrap="none" lIns="68580" tIns="34290" rIns="68580" bIns="34290" rtlCol="0" anchor="t">
            <a:noAutofit/>
          </a:bodyPr>
          <a:lstStyle/>
          <a:p>
            <a:pPr marL="0" marR="0" lvl="0" indent="0" algn="l" defTabSz="914400" rtl="0" eaLnBrk="0" fontAlgn="base" latinLnBrk="0" hangingPunct="0">
              <a:lnSpc>
                <a:spcPct val="95000"/>
              </a:lnSpc>
              <a:spcBef>
                <a:spcPts val="300"/>
              </a:spcBef>
              <a:spcAft>
                <a:spcPts val="150"/>
              </a:spcAft>
              <a:buClr>
                <a:srgbClr val="0067C5"/>
              </a:buClr>
              <a:buSzTx/>
              <a:buFontTx/>
              <a:buNone/>
              <a:tabLst/>
              <a:defRPr/>
            </a:pPr>
            <a:r>
              <a:rPr kumimoji="0" lang="en-US" sz="1400" b="1" i="0" u="none" strike="noStrike" kern="1200" cap="none" spc="0" normalizeH="0" baseline="0" noProof="0" dirty="0" err="1">
                <a:ln>
                  <a:noFill/>
                </a:ln>
                <a:solidFill>
                  <a:sysClr val="windowText" lastClr="000000"/>
                </a:solidFill>
                <a:effectLst/>
                <a:uLnTx/>
                <a:uFillTx/>
                <a:latin typeface="Arial" panose="020B0604020202020204" pitchFamily="34" charset="0"/>
                <a:ea typeface="+mn-ea"/>
                <a:cs typeface="+mn-cs"/>
              </a:rPr>
              <a:t>NVMe</a:t>
            </a:r>
            <a:r>
              <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rPr>
              <a:t>/FC</a:t>
            </a:r>
          </a:p>
        </p:txBody>
      </p:sp>
      <p:sp>
        <p:nvSpPr>
          <p:cNvPr id="46" name="Content Placeholder 2">
            <a:extLst>
              <a:ext uri="{FF2B5EF4-FFF2-40B4-BE49-F238E27FC236}">
                <a16:creationId xmlns:a16="http://schemas.microsoft.com/office/drawing/2014/main" id="{77BA7E67-C7F3-2D43-8C7A-1ADF0DDEC0C9}"/>
              </a:ext>
            </a:extLst>
          </p:cNvPr>
          <p:cNvSpPr txBox="1">
            <a:spLocks/>
          </p:cNvSpPr>
          <p:nvPr/>
        </p:nvSpPr>
        <p:spPr>
          <a:xfrm>
            <a:off x="4836222" y="1352520"/>
            <a:ext cx="4011709" cy="2258216"/>
          </a:xfrm>
          <a:prstGeom prst="rect">
            <a:avLst/>
          </a:prstGeom>
        </p:spPr>
        <p:txBody>
          <a:bodyPr anchor="t"/>
          <a:lstStyle>
            <a:lvl1pPr marL="235159" indent="-235159" algn="l" defTabSz="915216" rtl="0" eaLnBrk="1" latinLnBrk="0" hangingPunct="1">
              <a:lnSpc>
                <a:spcPct val="95000"/>
              </a:lnSpc>
              <a:spcBef>
                <a:spcPts val="1200"/>
              </a:spcBef>
              <a:spcAft>
                <a:spcPts val="400"/>
              </a:spcAft>
              <a:buClr>
                <a:schemeClr val="accent1"/>
              </a:buClr>
              <a:buFont typeface="Wingdings" panose="05000000000000000000" pitchFamily="2" charset="2"/>
              <a:buChar char="§"/>
              <a:defRPr sz="2200" kern="1200">
                <a:solidFill>
                  <a:schemeClr val="tx1"/>
                </a:solidFill>
                <a:latin typeface="+mn-lt"/>
                <a:ea typeface="+mn-ea"/>
                <a:cs typeface="+mn-cs"/>
              </a:defRPr>
            </a:lvl1pPr>
            <a:lvl2pPr marL="457608" indent="-228804"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Char char="§"/>
              <a:defRPr sz="1800" kern="1200">
                <a:solidFill>
                  <a:schemeClr val="tx1"/>
                </a:solidFill>
                <a:latin typeface="+mn-lt"/>
                <a:ea typeface="+mn-ea"/>
                <a:cs typeface="+mn-cs"/>
              </a:defRPr>
            </a:lvl2pPr>
            <a:lvl3pPr marL="686412"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600" kern="1200">
                <a:solidFill>
                  <a:schemeClr val="tx1"/>
                </a:solidFill>
                <a:latin typeface="+mn-lt"/>
                <a:ea typeface="+mn-ea"/>
                <a:cs typeface="+mn-cs"/>
              </a:defRPr>
            </a:lvl3pPr>
            <a:lvl4pPr marL="915216"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400" kern="1200">
                <a:solidFill>
                  <a:schemeClr val="tx1"/>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Char char="§"/>
              <a:tabLst/>
              <a:defRPr lang="en-US" sz="1200" kern="1200" dirty="0">
                <a:solidFill>
                  <a:schemeClr val="tx1"/>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High performance, ultra low latency for your most demanding apps compared to the fastest AFF systems</a:t>
            </a:r>
          </a:p>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Deliver </a:t>
            </a:r>
            <a:r>
              <a:rPr lang="en-US" sz="1400" dirty="0">
                <a:solidFill>
                  <a:srgbClr val="000000"/>
                </a:solidFill>
                <a:latin typeface="Arial"/>
                <a:cs typeface="Arial"/>
              </a:rPr>
              <a:t>up to 55</a:t>
            </a:r>
            <a:r>
              <a:rPr kumimoji="0" lang="en-US" sz="1400" b="0" i="0" u="none" strike="noStrike" kern="1200" cap="none" spc="0" normalizeH="0" baseline="0" noProof="0" dirty="0">
                <a:ln>
                  <a:noFill/>
                </a:ln>
                <a:solidFill>
                  <a:srgbClr val="000000"/>
                </a:solidFill>
                <a:effectLst/>
                <a:uLnTx/>
                <a:uFillTx/>
                <a:latin typeface="Arial"/>
                <a:ea typeface="+mn-ea"/>
                <a:cs typeface="Arial"/>
              </a:rPr>
              <a:t>% more</a:t>
            </a:r>
            <a:r>
              <a:rPr kumimoji="0" lang="en-US" sz="1400" b="0" i="0" u="none" strike="noStrike" kern="1200" cap="none" spc="0" normalizeH="0" baseline="0" noProof="0">
                <a:ln>
                  <a:noFill/>
                </a:ln>
                <a:solidFill>
                  <a:srgbClr val="000000"/>
                </a:solidFill>
                <a:effectLst/>
                <a:uLnTx/>
                <a:uFillTx/>
                <a:latin typeface="Arial"/>
                <a:ea typeface="+mn-ea"/>
                <a:cs typeface="Arial"/>
              </a:rPr>
              <a:t> throughput</a:t>
            </a:r>
            <a:r>
              <a:rPr kumimoji="0" lang="en-US" sz="1400" b="0" i="0" u="none" strike="noStrike" kern="1200" cap="none" spc="0" normalizeH="0" baseline="0" noProof="0" dirty="0">
                <a:ln>
                  <a:noFill/>
                </a:ln>
                <a:solidFill>
                  <a:srgbClr val="000000"/>
                </a:solidFill>
                <a:effectLst/>
                <a:uLnTx/>
                <a:uFillTx/>
                <a:latin typeface="Arial"/>
                <a:ea typeface="+mn-ea"/>
                <a:cs typeface="Arial"/>
              </a:rPr>
              <a:t> performance on Oracle than all flash</a:t>
            </a:r>
          </a:p>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Reduce Oracle latency by up to 25% for existing workloads</a:t>
            </a:r>
          </a:p>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lang="en-US" sz="1400" dirty="0">
                <a:solidFill>
                  <a:srgbClr val="000000"/>
                </a:solidFill>
                <a:latin typeface="Arial"/>
                <a:cs typeface="Arial"/>
              </a:rPr>
              <a:t>Decrease </a:t>
            </a:r>
            <a:r>
              <a:rPr lang="en-US" sz="1600" dirty="0">
                <a:solidFill>
                  <a:srgbClr val="000000"/>
                </a:solidFill>
                <a:latin typeface="Arial"/>
                <a:cs typeface="Arial"/>
              </a:rPr>
              <a:t>CPU</a:t>
            </a:r>
            <a:r>
              <a:rPr lang="en-US" sz="1400" dirty="0">
                <a:solidFill>
                  <a:srgbClr val="000000"/>
                </a:solidFill>
                <a:latin typeface="Arial"/>
                <a:cs typeface="Arial"/>
              </a:rPr>
              <a:t> utilization up to 35%</a:t>
            </a:r>
          </a:p>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lang="en-US" sz="1400" dirty="0">
                <a:solidFill>
                  <a:srgbClr val="000000"/>
                </a:solidFill>
                <a:latin typeface="Arial"/>
                <a:cs typeface="Arial"/>
              </a:rPr>
              <a:t>Upgrade at almost no cost from FC on array and MDS FC switch</a:t>
            </a:r>
          </a:p>
          <a:p>
            <a:pPr marL="235159" marR="0" lvl="0" indent="-235159" algn="l" defTabSz="915216" rtl="0" eaLnBrk="1" fontAlgn="base" latinLnBrk="0" hangingPunct="1">
              <a:lnSpc>
                <a:spcPct val="95000"/>
              </a:lnSpc>
              <a:spcBef>
                <a:spcPts val="1200"/>
              </a:spcBef>
              <a:spcAft>
                <a:spcPts val="400"/>
              </a:spcAft>
              <a:buClr>
                <a:srgbClr val="000000"/>
              </a:buClr>
              <a:buSzTx/>
              <a:buFont typeface="Arial" panose="020B0604020202020204"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a:rPr>
              <a:t>Lower software costs </a:t>
            </a:r>
            <a:r>
              <a:rPr lang="en-US" sz="1400" dirty="0">
                <a:solidFill>
                  <a:srgbClr val="000000"/>
                </a:solidFill>
                <a:latin typeface="Arial"/>
                <a:cs typeface="Arial"/>
              </a:rPr>
              <a:t>due to less </a:t>
            </a:r>
            <a:r>
              <a:rPr lang="en-US" sz="1400">
                <a:solidFill>
                  <a:srgbClr val="000000"/>
                </a:solidFill>
                <a:latin typeface="Arial"/>
                <a:cs typeface="Arial"/>
              </a:rPr>
              <a:t>CPU utilization</a:t>
            </a:r>
            <a:endParaRPr kumimoji="0" lang="en-US" sz="1400" i="0" u="none" strike="noStrike" kern="1200" cap="none" spc="0" normalizeH="0" baseline="0" noProof="0" dirty="0">
              <a:ln>
                <a:noFill/>
              </a:ln>
              <a:solidFill>
                <a:srgbClr val="0067C5"/>
              </a:solidFill>
              <a:effectLst/>
              <a:uLnTx/>
              <a:uFillTx/>
              <a:latin typeface="Arial"/>
              <a:ea typeface="+mn-ea"/>
              <a:cs typeface="+mn-cs"/>
            </a:endParaRPr>
          </a:p>
        </p:txBody>
      </p:sp>
      <p:sp>
        <p:nvSpPr>
          <p:cNvPr id="49" name="TextBox 48">
            <a:extLst>
              <a:ext uri="{FF2B5EF4-FFF2-40B4-BE49-F238E27FC236}">
                <a16:creationId xmlns:a16="http://schemas.microsoft.com/office/drawing/2014/main" id="{EEB69EA1-59F7-864C-BFC4-78712ED069EE}"/>
              </a:ext>
            </a:extLst>
          </p:cNvPr>
          <p:cNvSpPr txBox="1"/>
          <p:nvPr/>
        </p:nvSpPr>
        <p:spPr>
          <a:xfrm>
            <a:off x="2445029" y="3035390"/>
            <a:ext cx="2035627" cy="430887"/>
          </a:xfrm>
          <a:prstGeom prst="rect">
            <a:avLst/>
          </a:prstGeom>
          <a:solidFill>
            <a:srgbClr val="2D98D3"/>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NVMe</a:t>
            </a:r>
            <a:r>
              <a:rPr kumimoji="0" lang="en-US" sz="10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capable </a:t>
            </a:r>
            <a:br>
              <a:rPr kumimoji="0" lang="en-US" sz="10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br>
            <a:r>
              <a:rPr kumimoji="0" lang="en-US" sz="10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DS FC switch</a:t>
            </a:r>
          </a:p>
        </p:txBody>
      </p:sp>
      <p:pic>
        <p:nvPicPr>
          <p:cNvPr id="24" name="Picture 23" descr="FlexPod_Angle1.png">
            <a:extLst>
              <a:ext uri="{FF2B5EF4-FFF2-40B4-BE49-F238E27FC236}">
                <a16:creationId xmlns:a16="http://schemas.microsoft.com/office/drawing/2014/main" id="{CFDC3E1C-0B04-9341-984D-15CC2AE4030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4929" r="19909" b="13272"/>
          <a:stretch/>
        </p:blipFill>
        <p:spPr>
          <a:xfrm>
            <a:off x="271436" y="609016"/>
            <a:ext cx="1514545" cy="3851401"/>
          </a:xfrm>
          <a:prstGeom prst="rect">
            <a:avLst/>
          </a:prstGeom>
        </p:spPr>
      </p:pic>
      <p:sp>
        <p:nvSpPr>
          <p:cNvPr id="22" name="Rounded Rectangle 21">
            <a:extLst>
              <a:ext uri="{FF2B5EF4-FFF2-40B4-BE49-F238E27FC236}">
                <a16:creationId xmlns:a16="http://schemas.microsoft.com/office/drawing/2014/main" id="{433CC7FA-CBB1-B449-9CD0-24F78EF2DA44}"/>
              </a:ext>
            </a:extLst>
          </p:cNvPr>
          <p:cNvSpPr/>
          <p:nvPr/>
        </p:nvSpPr>
        <p:spPr>
          <a:xfrm>
            <a:off x="2449005" y="4429349"/>
            <a:ext cx="2054620" cy="376482"/>
          </a:xfrm>
          <a:prstGeom prst="roundRect">
            <a:avLst>
              <a:gd name="adj" fmla="val 3910"/>
            </a:avLst>
          </a:prstGeom>
          <a:solidFill>
            <a:srgbClr val="4CAB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a:ea typeface="+mn-ea"/>
                <a:cs typeface="+mn-cs"/>
              </a:rPr>
              <a:t>Storage with </a:t>
            </a:r>
            <a:r>
              <a:rPr kumimoji="0" lang="en-US" sz="1050" b="1" i="0" u="none" strike="noStrike" kern="1200" cap="none" spc="0" normalizeH="0" baseline="0" noProof="0" dirty="0" err="1">
                <a:ln>
                  <a:noFill/>
                </a:ln>
                <a:solidFill>
                  <a:prstClr val="white"/>
                </a:solidFill>
                <a:effectLst/>
                <a:uLnTx/>
                <a:uFillTx/>
                <a:latin typeface="Arial"/>
                <a:ea typeface="+mn-ea"/>
                <a:cs typeface="+mn-cs"/>
              </a:rPr>
              <a:t>NVMe</a:t>
            </a:r>
            <a:r>
              <a:rPr kumimoji="0" lang="en-US" sz="1050" b="1" i="0" u="none" strike="noStrike" kern="1200" cap="none" spc="0" normalizeH="0" baseline="0" noProof="0" dirty="0">
                <a:ln>
                  <a:noFill/>
                </a:ln>
                <a:solidFill>
                  <a:prstClr val="white"/>
                </a:solidFill>
                <a:effectLst/>
                <a:uLnTx/>
                <a:uFillTx/>
                <a:latin typeface="Arial"/>
                <a:ea typeface="+mn-ea"/>
                <a:cs typeface="+mn-cs"/>
              </a:rPr>
              <a:t> flash and </a:t>
            </a:r>
            <a:r>
              <a:rPr kumimoji="0" lang="en-US" sz="1050" b="1" i="0" u="none" strike="noStrike" kern="1200" cap="none" spc="0" normalizeH="0" baseline="0" noProof="0" dirty="0" err="1">
                <a:ln>
                  <a:noFill/>
                </a:ln>
                <a:solidFill>
                  <a:prstClr val="white"/>
                </a:solidFill>
                <a:effectLst/>
                <a:uLnTx/>
                <a:uFillTx/>
                <a:latin typeface="Arial"/>
                <a:ea typeface="+mn-ea"/>
                <a:cs typeface="+mn-cs"/>
              </a:rPr>
              <a:t>NVMe</a:t>
            </a:r>
            <a:r>
              <a:rPr kumimoji="0" lang="en-US" sz="1050" b="1" i="0" u="none" strike="noStrike" kern="1200" cap="none" spc="0" normalizeH="0" baseline="0" noProof="0" dirty="0">
                <a:ln>
                  <a:noFill/>
                </a:ln>
                <a:solidFill>
                  <a:prstClr val="white"/>
                </a:solidFill>
                <a:effectLst/>
                <a:uLnTx/>
                <a:uFillTx/>
                <a:latin typeface="Arial"/>
                <a:ea typeface="+mn-ea"/>
                <a:cs typeface="+mn-cs"/>
              </a:rPr>
              <a:t>/FC</a:t>
            </a:r>
          </a:p>
        </p:txBody>
      </p:sp>
    </p:spTree>
    <p:extLst>
      <p:ext uri="{BB962C8B-B14F-4D97-AF65-F5344CB8AC3E}">
        <p14:creationId xmlns:p14="http://schemas.microsoft.com/office/powerpoint/2010/main" val="134203012"/>
      </p:ext>
    </p:extLst>
  </p:cSld>
  <p:clrMapOvr>
    <a:masterClrMapping/>
  </p:clrMapOvr>
  <p:transition spd="slow">
    <p:circl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1">
            <a:extLst>
              <a:ext uri="{FF2B5EF4-FFF2-40B4-BE49-F238E27FC236}">
                <a16:creationId xmlns:a16="http://schemas.microsoft.com/office/drawing/2014/main" id="{E6A41672-00D0-5746-BA7C-F25304C12919}"/>
              </a:ext>
            </a:extLst>
          </p:cNvPr>
          <p:cNvSpPr txBox="1">
            <a:spLocks/>
          </p:cNvSpPr>
          <p:nvPr/>
        </p:nvSpPr>
        <p:spPr bwMode="auto">
          <a:xfrm>
            <a:off x="256705" y="603385"/>
            <a:ext cx="362490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8" tIns="34284" rIns="68568" bIns="34284"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684196" eaLnBrk="0" hangingPunct="0">
              <a:spcBef>
                <a:spcPts val="0"/>
              </a:spcBef>
              <a:spcAft>
                <a:spcPts val="0"/>
              </a:spcAft>
              <a:defRPr/>
            </a:pPr>
            <a:r>
              <a:rPr lang="en-US" sz="1600">
                <a:solidFill>
                  <a:srgbClr val="95918F"/>
                </a:solidFill>
                <a:latin typeface="+mn-lt"/>
                <a:ea typeface="+mn-ea"/>
                <a:cs typeface="+mn-cs"/>
              </a:rPr>
              <a:t>Focus on Full Data Life Cycle, Simplicity, and </a:t>
            </a:r>
            <a:br>
              <a:rPr lang="en-US" sz="1600">
                <a:solidFill>
                  <a:srgbClr val="95918F"/>
                </a:solidFill>
                <a:latin typeface="+mn-lt"/>
                <a:ea typeface="+mn-ea"/>
                <a:cs typeface="+mn-cs"/>
              </a:rPr>
            </a:br>
            <a:r>
              <a:rPr lang="en-US" sz="1600">
                <a:solidFill>
                  <a:srgbClr val="95918F"/>
                </a:solidFill>
                <a:latin typeface="+mn-lt"/>
                <a:ea typeface="+mn-ea"/>
                <a:cs typeface="+mn-cs"/>
              </a:rPr>
              <a:t>Manageability</a:t>
            </a:r>
          </a:p>
        </p:txBody>
      </p:sp>
      <p:sp>
        <p:nvSpPr>
          <p:cNvPr id="87" name="Rectangle 86">
            <a:extLst>
              <a:ext uri="{FF2B5EF4-FFF2-40B4-BE49-F238E27FC236}">
                <a16:creationId xmlns:a16="http://schemas.microsoft.com/office/drawing/2014/main" id="{37669161-F2A3-4F44-8575-6548D95ADA28}"/>
              </a:ext>
            </a:extLst>
          </p:cNvPr>
          <p:cNvSpPr/>
          <p:nvPr/>
        </p:nvSpPr>
        <p:spPr>
          <a:xfrm>
            <a:off x="4419470" y="1928582"/>
            <a:ext cx="2507278" cy="461665"/>
          </a:xfrm>
          <a:prstGeom prst="rect">
            <a:avLst/>
          </a:prstGeom>
        </p:spPr>
        <p:txBody>
          <a:bodyPr wrap="square" anchor="t">
            <a:spAutoFit/>
          </a:bodyPr>
          <a:lstStyle/>
          <a:p>
            <a:pPr algn="ctr" defTabSz="457189"/>
            <a:r>
              <a:rPr lang="en-US" sz="1200" dirty="0">
                <a:solidFill>
                  <a:srgbClr val="282828"/>
                </a:solidFill>
                <a:latin typeface="+mn-lt"/>
                <a:ea typeface="ＭＳ Ｐゴシック" charset="0"/>
              </a:rPr>
              <a:t>Full portfolio for all AI/ML computing needs</a:t>
            </a:r>
          </a:p>
        </p:txBody>
      </p:sp>
      <p:grpSp>
        <p:nvGrpSpPr>
          <p:cNvPr id="88" name="Group 87">
            <a:extLst>
              <a:ext uri="{FF2B5EF4-FFF2-40B4-BE49-F238E27FC236}">
                <a16:creationId xmlns:a16="http://schemas.microsoft.com/office/drawing/2014/main" id="{2CFC21F9-2114-C24A-B208-2935EA58E068}"/>
              </a:ext>
            </a:extLst>
          </p:cNvPr>
          <p:cNvGrpSpPr/>
          <p:nvPr/>
        </p:nvGrpSpPr>
        <p:grpSpPr>
          <a:xfrm>
            <a:off x="5489233" y="1680716"/>
            <a:ext cx="225828" cy="226006"/>
            <a:chOff x="6925435" y="3203130"/>
            <a:chExt cx="711208" cy="711767"/>
          </a:xfrm>
        </p:grpSpPr>
        <p:sp>
          <p:nvSpPr>
            <p:cNvPr id="89" name="Oval 112">
              <a:extLst>
                <a:ext uri="{FF2B5EF4-FFF2-40B4-BE49-F238E27FC236}">
                  <a16:creationId xmlns:a16="http://schemas.microsoft.com/office/drawing/2014/main" id="{D8462A4A-3B9B-E749-8A01-12EAFA41BD16}"/>
                </a:ext>
              </a:extLst>
            </p:cNvPr>
            <p:cNvSpPr>
              <a:spLocks noChangeArrowheads="1"/>
            </p:cNvSpPr>
            <p:nvPr/>
          </p:nvSpPr>
          <p:spPr bwMode="auto">
            <a:xfrm>
              <a:off x="6925435" y="3203130"/>
              <a:ext cx="711208" cy="711767"/>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90" name="Freeform 113">
              <a:extLst>
                <a:ext uri="{FF2B5EF4-FFF2-40B4-BE49-F238E27FC236}">
                  <a16:creationId xmlns:a16="http://schemas.microsoft.com/office/drawing/2014/main" id="{6CCA45FD-B140-3F46-83AE-214A9EB97CBE}"/>
                </a:ext>
              </a:extLst>
            </p:cNvPr>
            <p:cNvSpPr>
              <a:spLocks/>
            </p:cNvSpPr>
            <p:nvPr/>
          </p:nvSpPr>
          <p:spPr bwMode="auto">
            <a:xfrm>
              <a:off x="7101280" y="3399942"/>
              <a:ext cx="534804" cy="514955"/>
            </a:xfrm>
            <a:custGeom>
              <a:avLst/>
              <a:gdLst>
                <a:gd name="T0" fmla="*/ 1083 w 1083"/>
                <a:gd name="T1" fmla="*/ 364 h 1042"/>
                <a:gd name="T2" fmla="*/ 724 w 1083"/>
                <a:gd name="T3" fmla="*/ 6 h 1042"/>
                <a:gd name="T4" fmla="*/ 714 w 1083"/>
                <a:gd name="T5" fmla="*/ 0 h 1042"/>
                <a:gd name="T6" fmla="*/ 360 w 1083"/>
                <a:gd name="T7" fmla="*/ 0 h 1042"/>
                <a:gd name="T8" fmla="*/ 350 w 1083"/>
                <a:gd name="T9" fmla="*/ 6 h 1042"/>
                <a:gd name="T10" fmla="*/ 115 w 1083"/>
                <a:gd name="T11" fmla="*/ 376 h 1042"/>
                <a:gd name="T12" fmla="*/ 125 w 1083"/>
                <a:gd name="T13" fmla="*/ 395 h 1042"/>
                <a:gd name="T14" fmla="*/ 204 w 1083"/>
                <a:gd name="T15" fmla="*/ 395 h 1042"/>
                <a:gd name="T16" fmla="*/ 214 w 1083"/>
                <a:gd name="T17" fmla="*/ 414 h 1042"/>
                <a:gd name="T18" fmla="*/ 4 w 1083"/>
                <a:gd name="T19" fmla="*/ 745 h 1042"/>
                <a:gd name="T20" fmla="*/ 7 w 1083"/>
                <a:gd name="T21" fmla="*/ 761 h 1042"/>
                <a:gd name="T22" fmla="*/ 7 w 1083"/>
                <a:gd name="T23" fmla="*/ 761 h 1042"/>
                <a:gd name="T24" fmla="*/ 282 w 1083"/>
                <a:gd name="T25" fmla="*/ 1037 h 1042"/>
                <a:gd name="T26" fmla="*/ 364 w 1083"/>
                <a:gd name="T27" fmla="*/ 1042 h 1042"/>
                <a:gd name="T28" fmla="*/ 1083 w 1083"/>
                <a:gd name="T29" fmla="*/ 364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3" h="1042">
                  <a:moveTo>
                    <a:pt x="1083" y="364"/>
                  </a:moveTo>
                  <a:cubicBezTo>
                    <a:pt x="724" y="6"/>
                    <a:pt x="724" y="6"/>
                    <a:pt x="724" y="6"/>
                  </a:cubicBezTo>
                  <a:cubicBezTo>
                    <a:pt x="722" y="3"/>
                    <a:pt x="718" y="0"/>
                    <a:pt x="714" y="0"/>
                  </a:cubicBezTo>
                  <a:cubicBezTo>
                    <a:pt x="360" y="0"/>
                    <a:pt x="360" y="0"/>
                    <a:pt x="360" y="0"/>
                  </a:cubicBezTo>
                  <a:cubicBezTo>
                    <a:pt x="356" y="0"/>
                    <a:pt x="352" y="2"/>
                    <a:pt x="350" y="6"/>
                  </a:cubicBezTo>
                  <a:cubicBezTo>
                    <a:pt x="115" y="376"/>
                    <a:pt x="115" y="376"/>
                    <a:pt x="115" y="376"/>
                  </a:cubicBezTo>
                  <a:cubicBezTo>
                    <a:pt x="110" y="384"/>
                    <a:pt x="116" y="395"/>
                    <a:pt x="125" y="395"/>
                  </a:cubicBezTo>
                  <a:cubicBezTo>
                    <a:pt x="204" y="395"/>
                    <a:pt x="204" y="395"/>
                    <a:pt x="204" y="395"/>
                  </a:cubicBezTo>
                  <a:cubicBezTo>
                    <a:pt x="213" y="395"/>
                    <a:pt x="219" y="406"/>
                    <a:pt x="214" y="414"/>
                  </a:cubicBezTo>
                  <a:cubicBezTo>
                    <a:pt x="4" y="745"/>
                    <a:pt x="4" y="745"/>
                    <a:pt x="4" y="745"/>
                  </a:cubicBezTo>
                  <a:cubicBezTo>
                    <a:pt x="0" y="751"/>
                    <a:pt x="2" y="757"/>
                    <a:pt x="7" y="761"/>
                  </a:cubicBezTo>
                  <a:cubicBezTo>
                    <a:pt x="7" y="761"/>
                    <a:pt x="7" y="761"/>
                    <a:pt x="7" y="761"/>
                  </a:cubicBezTo>
                  <a:cubicBezTo>
                    <a:pt x="282" y="1037"/>
                    <a:pt x="282" y="1037"/>
                    <a:pt x="282" y="1037"/>
                  </a:cubicBezTo>
                  <a:cubicBezTo>
                    <a:pt x="309" y="1040"/>
                    <a:pt x="336" y="1042"/>
                    <a:pt x="364" y="1042"/>
                  </a:cubicBezTo>
                  <a:cubicBezTo>
                    <a:pt x="747" y="1042"/>
                    <a:pt x="1061" y="742"/>
                    <a:pt x="1083" y="364"/>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91" name="Freeform 114">
              <a:extLst>
                <a:ext uri="{FF2B5EF4-FFF2-40B4-BE49-F238E27FC236}">
                  <a16:creationId xmlns:a16="http://schemas.microsoft.com/office/drawing/2014/main" id="{62002640-4C69-8647-99BA-E40079C4925D}"/>
                </a:ext>
              </a:extLst>
            </p:cNvPr>
            <p:cNvSpPr>
              <a:spLocks/>
            </p:cNvSpPr>
            <p:nvPr/>
          </p:nvSpPr>
          <p:spPr bwMode="auto">
            <a:xfrm>
              <a:off x="7099882" y="3399942"/>
              <a:ext cx="362034" cy="379926"/>
            </a:xfrm>
            <a:custGeom>
              <a:avLst/>
              <a:gdLst>
                <a:gd name="T0" fmla="*/ 717 w 733"/>
                <a:gd name="T1" fmla="*/ 0 h 769"/>
                <a:gd name="T2" fmla="*/ 363 w 733"/>
                <a:gd name="T3" fmla="*/ 0 h 769"/>
                <a:gd name="T4" fmla="*/ 353 w 733"/>
                <a:gd name="T5" fmla="*/ 6 h 769"/>
                <a:gd name="T6" fmla="*/ 118 w 733"/>
                <a:gd name="T7" fmla="*/ 376 h 769"/>
                <a:gd name="T8" fmla="*/ 128 w 733"/>
                <a:gd name="T9" fmla="*/ 395 h 769"/>
                <a:gd name="T10" fmla="*/ 207 w 733"/>
                <a:gd name="T11" fmla="*/ 395 h 769"/>
                <a:gd name="T12" fmla="*/ 217 w 733"/>
                <a:gd name="T13" fmla="*/ 414 h 769"/>
                <a:gd name="T14" fmla="*/ 7 w 733"/>
                <a:gd name="T15" fmla="*/ 745 h 769"/>
                <a:gd name="T16" fmla="*/ 24 w 733"/>
                <a:gd name="T17" fmla="*/ 762 h 769"/>
                <a:gd name="T18" fmla="*/ 580 w 733"/>
                <a:gd name="T19" fmla="*/ 418 h 769"/>
                <a:gd name="T20" fmla="*/ 573 w 733"/>
                <a:gd name="T21" fmla="*/ 395 h 769"/>
                <a:gd name="T22" fmla="*/ 414 w 733"/>
                <a:gd name="T23" fmla="*/ 395 h 769"/>
                <a:gd name="T24" fmla="*/ 405 w 733"/>
                <a:gd name="T25" fmla="*/ 374 h 769"/>
                <a:gd name="T26" fmla="*/ 726 w 733"/>
                <a:gd name="T27" fmla="*/ 21 h 769"/>
                <a:gd name="T28" fmla="*/ 717 w 733"/>
                <a:gd name="T29"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3" h="769">
                  <a:moveTo>
                    <a:pt x="717" y="0"/>
                  </a:moveTo>
                  <a:cubicBezTo>
                    <a:pt x="363" y="0"/>
                    <a:pt x="363" y="0"/>
                    <a:pt x="363" y="0"/>
                  </a:cubicBezTo>
                  <a:cubicBezTo>
                    <a:pt x="359" y="0"/>
                    <a:pt x="355" y="2"/>
                    <a:pt x="353" y="6"/>
                  </a:cubicBezTo>
                  <a:cubicBezTo>
                    <a:pt x="118" y="376"/>
                    <a:pt x="118" y="376"/>
                    <a:pt x="118" y="376"/>
                  </a:cubicBezTo>
                  <a:cubicBezTo>
                    <a:pt x="113" y="384"/>
                    <a:pt x="119" y="395"/>
                    <a:pt x="128" y="395"/>
                  </a:cubicBezTo>
                  <a:cubicBezTo>
                    <a:pt x="207" y="395"/>
                    <a:pt x="207" y="395"/>
                    <a:pt x="207" y="395"/>
                  </a:cubicBezTo>
                  <a:cubicBezTo>
                    <a:pt x="216" y="395"/>
                    <a:pt x="222" y="406"/>
                    <a:pt x="217" y="414"/>
                  </a:cubicBezTo>
                  <a:cubicBezTo>
                    <a:pt x="7" y="745"/>
                    <a:pt x="7" y="745"/>
                    <a:pt x="7" y="745"/>
                  </a:cubicBezTo>
                  <a:cubicBezTo>
                    <a:pt x="0" y="756"/>
                    <a:pt x="13" y="769"/>
                    <a:pt x="24" y="762"/>
                  </a:cubicBezTo>
                  <a:cubicBezTo>
                    <a:pt x="580" y="418"/>
                    <a:pt x="580" y="418"/>
                    <a:pt x="580" y="418"/>
                  </a:cubicBezTo>
                  <a:cubicBezTo>
                    <a:pt x="590" y="412"/>
                    <a:pt x="586" y="395"/>
                    <a:pt x="573" y="395"/>
                  </a:cubicBezTo>
                  <a:cubicBezTo>
                    <a:pt x="414" y="395"/>
                    <a:pt x="414" y="395"/>
                    <a:pt x="414" y="395"/>
                  </a:cubicBezTo>
                  <a:cubicBezTo>
                    <a:pt x="404" y="395"/>
                    <a:pt x="398" y="382"/>
                    <a:pt x="405" y="374"/>
                  </a:cubicBezTo>
                  <a:cubicBezTo>
                    <a:pt x="726" y="21"/>
                    <a:pt x="726" y="21"/>
                    <a:pt x="726" y="21"/>
                  </a:cubicBezTo>
                  <a:cubicBezTo>
                    <a:pt x="733" y="13"/>
                    <a:pt x="727" y="0"/>
                    <a:pt x="71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grpSp>
      <p:grpSp>
        <p:nvGrpSpPr>
          <p:cNvPr id="92" name="Group 28">
            <a:extLst>
              <a:ext uri="{FF2B5EF4-FFF2-40B4-BE49-F238E27FC236}">
                <a16:creationId xmlns:a16="http://schemas.microsoft.com/office/drawing/2014/main" id="{D4C46A0B-0C0F-7C48-95C5-C788738F8EE2}"/>
              </a:ext>
            </a:extLst>
          </p:cNvPr>
          <p:cNvGrpSpPr>
            <a:grpSpLocks noChangeAspect="1"/>
          </p:cNvGrpSpPr>
          <p:nvPr/>
        </p:nvGrpSpPr>
        <p:grpSpPr bwMode="auto">
          <a:xfrm>
            <a:off x="5489233" y="2440980"/>
            <a:ext cx="225828" cy="225562"/>
            <a:chOff x="1896" y="624"/>
            <a:chExt cx="2560" cy="2557"/>
          </a:xfrm>
        </p:grpSpPr>
        <p:sp>
          <p:nvSpPr>
            <p:cNvPr id="93" name="Oval 29">
              <a:extLst>
                <a:ext uri="{FF2B5EF4-FFF2-40B4-BE49-F238E27FC236}">
                  <a16:creationId xmlns:a16="http://schemas.microsoft.com/office/drawing/2014/main" id="{C12354A7-4232-1A4D-B201-A724D461F118}"/>
                </a:ext>
              </a:extLst>
            </p:cNvPr>
            <p:cNvSpPr>
              <a:spLocks noChangeArrowheads="1"/>
            </p:cNvSpPr>
            <p:nvPr/>
          </p:nvSpPr>
          <p:spPr bwMode="auto">
            <a:xfrm>
              <a:off x="1896" y="635"/>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94" name="Freeform 30">
              <a:extLst>
                <a:ext uri="{FF2B5EF4-FFF2-40B4-BE49-F238E27FC236}">
                  <a16:creationId xmlns:a16="http://schemas.microsoft.com/office/drawing/2014/main" id="{DEDEDBB8-C54E-2143-9547-25BA60C67C5D}"/>
                </a:ext>
              </a:extLst>
            </p:cNvPr>
            <p:cNvSpPr>
              <a:spLocks/>
            </p:cNvSpPr>
            <p:nvPr/>
          </p:nvSpPr>
          <p:spPr bwMode="auto">
            <a:xfrm>
              <a:off x="2214" y="624"/>
              <a:ext cx="2242" cy="2515"/>
            </a:xfrm>
            <a:custGeom>
              <a:avLst/>
              <a:gdLst>
                <a:gd name="T0" fmla="*/ 1170 w 1269"/>
                <a:gd name="T1" fmla="*/ 378 h 1422"/>
                <a:gd name="T2" fmla="*/ 1210 w 1269"/>
                <a:gd name="T3" fmla="*/ 319 h 1422"/>
                <a:gd name="T4" fmla="*/ 1161 w 1269"/>
                <a:gd name="T5" fmla="*/ 59 h 1422"/>
                <a:gd name="T6" fmla="*/ 901 w 1269"/>
                <a:gd name="T7" fmla="*/ 108 h 1422"/>
                <a:gd name="T8" fmla="*/ 532 w 1269"/>
                <a:gd name="T9" fmla="*/ 648 h 1422"/>
                <a:gd name="T10" fmla="*/ 361 w 1269"/>
                <a:gd name="T11" fmla="*/ 421 h 1422"/>
                <a:gd name="T12" fmla="*/ 99 w 1269"/>
                <a:gd name="T13" fmla="*/ 384 h 1422"/>
                <a:gd name="T14" fmla="*/ 62 w 1269"/>
                <a:gd name="T15" fmla="*/ 646 h 1422"/>
                <a:gd name="T16" fmla="*/ 389 w 1269"/>
                <a:gd name="T17" fmla="*/ 1082 h 1422"/>
                <a:gd name="T18" fmla="*/ 390 w 1269"/>
                <a:gd name="T19" fmla="*/ 1083 h 1422"/>
                <a:gd name="T20" fmla="*/ 390 w 1269"/>
                <a:gd name="T21" fmla="*/ 1083 h 1422"/>
                <a:gd name="T22" fmla="*/ 419 w 1269"/>
                <a:gd name="T23" fmla="*/ 1114 h 1422"/>
                <a:gd name="T24" fmla="*/ 419 w 1269"/>
                <a:gd name="T25" fmla="*/ 1114 h 1422"/>
                <a:gd name="T26" fmla="*/ 726 w 1269"/>
                <a:gd name="T27" fmla="*/ 1422 h 1422"/>
                <a:gd name="T28" fmla="*/ 1260 w 1269"/>
                <a:gd name="T29" fmla="*/ 726 h 1422"/>
                <a:gd name="T30" fmla="*/ 1170 w 1269"/>
                <a:gd name="T31" fmla="*/ 378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9" h="1422">
                  <a:moveTo>
                    <a:pt x="1170" y="378"/>
                  </a:moveTo>
                  <a:cubicBezTo>
                    <a:pt x="1210" y="319"/>
                    <a:pt x="1210" y="319"/>
                    <a:pt x="1210" y="319"/>
                  </a:cubicBezTo>
                  <a:cubicBezTo>
                    <a:pt x="1269" y="234"/>
                    <a:pt x="1247" y="117"/>
                    <a:pt x="1161" y="59"/>
                  </a:cubicBezTo>
                  <a:cubicBezTo>
                    <a:pt x="1076" y="0"/>
                    <a:pt x="959" y="22"/>
                    <a:pt x="901" y="108"/>
                  </a:cubicBezTo>
                  <a:cubicBezTo>
                    <a:pt x="532" y="648"/>
                    <a:pt x="532" y="648"/>
                    <a:pt x="532" y="648"/>
                  </a:cubicBezTo>
                  <a:cubicBezTo>
                    <a:pt x="361" y="421"/>
                    <a:pt x="361" y="421"/>
                    <a:pt x="361" y="421"/>
                  </a:cubicBezTo>
                  <a:cubicBezTo>
                    <a:pt x="299" y="338"/>
                    <a:pt x="182" y="322"/>
                    <a:pt x="99" y="384"/>
                  </a:cubicBezTo>
                  <a:cubicBezTo>
                    <a:pt x="16" y="446"/>
                    <a:pt x="0" y="563"/>
                    <a:pt x="62" y="646"/>
                  </a:cubicBezTo>
                  <a:cubicBezTo>
                    <a:pt x="389" y="1082"/>
                    <a:pt x="389" y="1082"/>
                    <a:pt x="389" y="1082"/>
                  </a:cubicBezTo>
                  <a:cubicBezTo>
                    <a:pt x="389" y="1083"/>
                    <a:pt x="390" y="1083"/>
                    <a:pt x="390" y="1083"/>
                  </a:cubicBezTo>
                  <a:cubicBezTo>
                    <a:pt x="390" y="1083"/>
                    <a:pt x="390" y="1083"/>
                    <a:pt x="390" y="1083"/>
                  </a:cubicBezTo>
                  <a:cubicBezTo>
                    <a:pt x="399" y="1095"/>
                    <a:pt x="408" y="1105"/>
                    <a:pt x="419" y="1114"/>
                  </a:cubicBezTo>
                  <a:cubicBezTo>
                    <a:pt x="419" y="1114"/>
                    <a:pt x="419" y="1114"/>
                    <a:pt x="419" y="1114"/>
                  </a:cubicBezTo>
                  <a:cubicBezTo>
                    <a:pt x="726" y="1422"/>
                    <a:pt x="726" y="1422"/>
                    <a:pt x="726" y="1422"/>
                  </a:cubicBezTo>
                  <a:cubicBezTo>
                    <a:pt x="1034" y="1339"/>
                    <a:pt x="1260" y="1059"/>
                    <a:pt x="1260" y="726"/>
                  </a:cubicBezTo>
                  <a:cubicBezTo>
                    <a:pt x="1260" y="600"/>
                    <a:pt x="1227" y="481"/>
                    <a:pt x="1170" y="37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95" name="Freeform 31">
              <a:extLst>
                <a:ext uri="{FF2B5EF4-FFF2-40B4-BE49-F238E27FC236}">
                  <a16:creationId xmlns:a16="http://schemas.microsoft.com/office/drawing/2014/main" id="{C524887B-2B38-4E43-BAF8-6EDF552DBCD6}"/>
                </a:ext>
              </a:extLst>
            </p:cNvPr>
            <p:cNvSpPr>
              <a:spLocks/>
            </p:cNvSpPr>
            <p:nvPr/>
          </p:nvSpPr>
          <p:spPr bwMode="auto">
            <a:xfrm>
              <a:off x="2210" y="624"/>
              <a:ext cx="2246" cy="2050"/>
            </a:xfrm>
            <a:custGeom>
              <a:avLst/>
              <a:gdLst>
                <a:gd name="T0" fmla="*/ 1164 w 1271"/>
                <a:gd name="T1" fmla="*/ 59 h 1159"/>
                <a:gd name="T2" fmla="*/ 903 w 1271"/>
                <a:gd name="T3" fmla="*/ 108 h 1159"/>
                <a:gd name="T4" fmla="*/ 533 w 1271"/>
                <a:gd name="T5" fmla="*/ 649 h 1159"/>
                <a:gd name="T6" fmla="*/ 363 w 1271"/>
                <a:gd name="T7" fmla="*/ 422 h 1159"/>
                <a:gd name="T8" fmla="*/ 100 w 1271"/>
                <a:gd name="T9" fmla="*/ 384 h 1159"/>
                <a:gd name="T10" fmla="*/ 62 w 1271"/>
                <a:gd name="T11" fmla="*/ 647 h 1159"/>
                <a:gd name="T12" fmla="*/ 390 w 1271"/>
                <a:gd name="T13" fmla="*/ 1084 h 1159"/>
                <a:gd name="T14" fmla="*/ 391 w 1271"/>
                <a:gd name="T15" fmla="*/ 1085 h 1159"/>
                <a:gd name="T16" fmla="*/ 391 w 1271"/>
                <a:gd name="T17" fmla="*/ 1085 h 1159"/>
                <a:gd name="T18" fmla="*/ 540 w 1271"/>
                <a:gd name="T19" fmla="*/ 1159 h 1159"/>
                <a:gd name="T20" fmla="*/ 697 w 1271"/>
                <a:gd name="T21" fmla="*/ 1074 h 1159"/>
                <a:gd name="T22" fmla="*/ 1213 w 1271"/>
                <a:gd name="T23" fmla="*/ 320 h 1159"/>
                <a:gd name="T24" fmla="*/ 1164 w 1271"/>
                <a:gd name="T25" fmla="*/ 59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1" h="1159">
                  <a:moveTo>
                    <a:pt x="1164" y="59"/>
                  </a:moveTo>
                  <a:cubicBezTo>
                    <a:pt x="1078" y="0"/>
                    <a:pt x="961" y="22"/>
                    <a:pt x="903" y="108"/>
                  </a:cubicBezTo>
                  <a:cubicBezTo>
                    <a:pt x="533" y="649"/>
                    <a:pt x="533" y="649"/>
                    <a:pt x="533" y="649"/>
                  </a:cubicBezTo>
                  <a:cubicBezTo>
                    <a:pt x="363" y="422"/>
                    <a:pt x="363" y="422"/>
                    <a:pt x="363" y="422"/>
                  </a:cubicBezTo>
                  <a:cubicBezTo>
                    <a:pt x="300" y="339"/>
                    <a:pt x="183" y="322"/>
                    <a:pt x="100" y="384"/>
                  </a:cubicBezTo>
                  <a:cubicBezTo>
                    <a:pt x="17" y="447"/>
                    <a:pt x="0" y="564"/>
                    <a:pt x="62" y="647"/>
                  </a:cubicBezTo>
                  <a:cubicBezTo>
                    <a:pt x="390" y="1084"/>
                    <a:pt x="390" y="1084"/>
                    <a:pt x="390" y="1084"/>
                  </a:cubicBezTo>
                  <a:cubicBezTo>
                    <a:pt x="391" y="1084"/>
                    <a:pt x="391" y="1085"/>
                    <a:pt x="391" y="1085"/>
                  </a:cubicBezTo>
                  <a:cubicBezTo>
                    <a:pt x="391" y="1085"/>
                    <a:pt x="391" y="1085"/>
                    <a:pt x="391" y="1085"/>
                  </a:cubicBezTo>
                  <a:cubicBezTo>
                    <a:pt x="426" y="1130"/>
                    <a:pt x="480" y="1159"/>
                    <a:pt x="540" y="1159"/>
                  </a:cubicBezTo>
                  <a:cubicBezTo>
                    <a:pt x="606" y="1159"/>
                    <a:pt x="664" y="1125"/>
                    <a:pt x="697" y="1074"/>
                  </a:cubicBezTo>
                  <a:cubicBezTo>
                    <a:pt x="1213" y="320"/>
                    <a:pt x="1213" y="320"/>
                    <a:pt x="1213" y="320"/>
                  </a:cubicBezTo>
                  <a:cubicBezTo>
                    <a:pt x="1271" y="234"/>
                    <a:pt x="1249" y="117"/>
                    <a:pt x="1164" y="5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96" name="Freeform 32">
              <a:extLst>
                <a:ext uri="{FF2B5EF4-FFF2-40B4-BE49-F238E27FC236}">
                  <a16:creationId xmlns:a16="http://schemas.microsoft.com/office/drawing/2014/main" id="{48A7553D-65FC-C647-BD9F-DC50B63575D2}"/>
                </a:ext>
              </a:extLst>
            </p:cNvPr>
            <p:cNvSpPr>
              <a:spLocks/>
            </p:cNvSpPr>
            <p:nvPr/>
          </p:nvSpPr>
          <p:spPr bwMode="auto">
            <a:xfrm>
              <a:off x="2832" y="1772"/>
              <a:ext cx="665" cy="902"/>
            </a:xfrm>
            <a:custGeom>
              <a:avLst/>
              <a:gdLst>
                <a:gd name="T0" fmla="*/ 34 w 376"/>
                <a:gd name="T1" fmla="*/ 215 h 510"/>
                <a:gd name="T2" fmla="*/ 0 w 376"/>
                <a:gd name="T3" fmla="*/ 322 h 510"/>
                <a:gd name="T4" fmla="*/ 188 w 376"/>
                <a:gd name="T5" fmla="*/ 510 h 510"/>
                <a:gd name="T6" fmla="*/ 376 w 376"/>
                <a:gd name="T7" fmla="*/ 322 h 510"/>
                <a:gd name="T8" fmla="*/ 343 w 376"/>
                <a:gd name="T9" fmla="*/ 215 h 510"/>
                <a:gd name="T10" fmla="*/ 181 w 376"/>
                <a:gd name="T11" fmla="*/ 0 h 510"/>
                <a:gd name="T12" fmla="*/ 34 w 376"/>
                <a:gd name="T13" fmla="*/ 215 h 510"/>
              </a:gdLst>
              <a:ahLst/>
              <a:cxnLst>
                <a:cxn ang="0">
                  <a:pos x="T0" y="T1"/>
                </a:cxn>
                <a:cxn ang="0">
                  <a:pos x="T2" y="T3"/>
                </a:cxn>
                <a:cxn ang="0">
                  <a:pos x="T4" y="T5"/>
                </a:cxn>
                <a:cxn ang="0">
                  <a:pos x="T6" y="T7"/>
                </a:cxn>
                <a:cxn ang="0">
                  <a:pos x="T8" y="T9"/>
                </a:cxn>
                <a:cxn ang="0">
                  <a:pos x="T10" y="T11"/>
                </a:cxn>
                <a:cxn ang="0">
                  <a:pos x="T12" y="T13"/>
                </a:cxn>
              </a:cxnLst>
              <a:rect l="0" t="0" r="r" b="b"/>
              <a:pathLst>
                <a:path w="376" h="510">
                  <a:moveTo>
                    <a:pt x="34" y="215"/>
                  </a:moveTo>
                  <a:cubicBezTo>
                    <a:pt x="13" y="246"/>
                    <a:pt x="0" y="282"/>
                    <a:pt x="0" y="322"/>
                  </a:cubicBezTo>
                  <a:cubicBezTo>
                    <a:pt x="0" y="426"/>
                    <a:pt x="85" y="510"/>
                    <a:pt x="188" y="510"/>
                  </a:cubicBezTo>
                  <a:cubicBezTo>
                    <a:pt x="292" y="510"/>
                    <a:pt x="376" y="426"/>
                    <a:pt x="376" y="322"/>
                  </a:cubicBezTo>
                  <a:cubicBezTo>
                    <a:pt x="376" y="282"/>
                    <a:pt x="364" y="246"/>
                    <a:pt x="343" y="215"/>
                  </a:cubicBezTo>
                  <a:cubicBezTo>
                    <a:pt x="181" y="0"/>
                    <a:pt x="181" y="0"/>
                    <a:pt x="181" y="0"/>
                  </a:cubicBezTo>
                  <a:lnTo>
                    <a:pt x="34" y="215"/>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grpSp>
      <p:sp>
        <p:nvSpPr>
          <p:cNvPr id="97" name="Rectangle 96">
            <a:extLst>
              <a:ext uri="{FF2B5EF4-FFF2-40B4-BE49-F238E27FC236}">
                <a16:creationId xmlns:a16="http://schemas.microsoft.com/office/drawing/2014/main" id="{AAD96C4B-9782-7548-A4DD-4354F37AEE48}"/>
              </a:ext>
            </a:extLst>
          </p:cNvPr>
          <p:cNvSpPr/>
          <p:nvPr/>
        </p:nvSpPr>
        <p:spPr>
          <a:xfrm>
            <a:off x="4473821" y="2662837"/>
            <a:ext cx="2398576" cy="461665"/>
          </a:xfrm>
          <a:prstGeom prst="rect">
            <a:avLst/>
          </a:prstGeom>
        </p:spPr>
        <p:txBody>
          <a:bodyPr wrap="square" anchor="t">
            <a:spAutoFit/>
          </a:bodyPr>
          <a:lstStyle/>
          <a:p>
            <a:pPr algn="ctr" defTabSz="457189"/>
            <a:r>
              <a:rPr lang="en-US" sz="1200" dirty="0">
                <a:solidFill>
                  <a:srgbClr val="282828"/>
                </a:solidFill>
                <a:latin typeface="+mn-lt"/>
                <a:ea typeface="ＭＳ Ｐゴシック" charset="0"/>
              </a:rPr>
              <a:t>Validated solutions with technology partners</a:t>
            </a:r>
          </a:p>
        </p:txBody>
      </p:sp>
      <p:grpSp>
        <p:nvGrpSpPr>
          <p:cNvPr id="98" name="Group 44">
            <a:extLst>
              <a:ext uri="{FF2B5EF4-FFF2-40B4-BE49-F238E27FC236}">
                <a16:creationId xmlns:a16="http://schemas.microsoft.com/office/drawing/2014/main" id="{1F24EDE0-7443-C54C-B43A-E42201C5E906}"/>
              </a:ext>
            </a:extLst>
          </p:cNvPr>
          <p:cNvGrpSpPr>
            <a:grpSpLocks noChangeAspect="1"/>
          </p:cNvGrpSpPr>
          <p:nvPr/>
        </p:nvGrpSpPr>
        <p:grpSpPr bwMode="auto">
          <a:xfrm>
            <a:off x="5490229" y="3184257"/>
            <a:ext cx="223838" cy="224014"/>
            <a:chOff x="1608" y="347"/>
            <a:chExt cx="2544" cy="2546"/>
          </a:xfrm>
        </p:grpSpPr>
        <p:sp>
          <p:nvSpPr>
            <p:cNvPr id="99" name="Oval 45">
              <a:extLst>
                <a:ext uri="{FF2B5EF4-FFF2-40B4-BE49-F238E27FC236}">
                  <a16:creationId xmlns:a16="http://schemas.microsoft.com/office/drawing/2014/main" id="{8FD76BD9-0194-8944-BBB3-B04DD37AFA22}"/>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0" name="Freeform 46">
              <a:extLst>
                <a:ext uri="{FF2B5EF4-FFF2-40B4-BE49-F238E27FC236}">
                  <a16:creationId xmlns:a16="http://schemas.microsoft.com/office/drawing/2014/main" id="{285157BD-ECE0-B746-8939-EF766DA218AC}"/>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1" name="Freeform 47">
              <a:extLst>
                <a:ext uri="{FF2B5EF4-FFF2-40B4-BE49-F238E27FC236}">
                  <a16:creationId xmlns:a16="http://schemas.microsoft.com/office/drawing/2014/main" id="{EA16289D-3CE4-0444-84B9-28DC071D63FA}"/>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2" name="Freeform 48">
              <a:extLst>
                <a:ext uri="{FF2B5EF4-FFF2-40B4-BE49-F238E27FC236}">
                  <a16:creationId xmlns:a16="http://schemas.microsoft.com/office/drawing/2014/main" id="{5F9F1DCD-5B7B-8B46-BC5D-499282189269}"/>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3" name="Freeform 49">
              <a:extLst>
                <a:ext uri="{FF2B5EF4-FFF2-40B4-BE49-F238E27FC236}">
                  <a16:creationId xmlns:a16="http://schemas.microsoft.com/office/drawing/2014/main" id="{098AFA62-D837-1843-91ED-567600D97B2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4" name="Freeform 50">
              <a:extLst>
                <a:ext uri="{FF2B5EF4-FFF2-40B4-BE49-F238E27FC236}">
                  <a16:creationId xmlns:a16="http://schemas.microsoft.com/office/drawing/2014/main" id="{ABDDF665-4CF4-5E43-86F1-4B5917CD643D}"/>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5" name="Freeform 51">
              <a:extLst>
                <a:ext uri="{FF2B5EF4-FFF2-40B4-BE49-F238E27FC236}">
                  <a16:creationId xmlns:a16="http://schemas.microsoft.com/office/drawing/2014/main" id="{6597EC4C-F475-5A44-8C20-D537FC01BA62}"/>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6" name="Freeform 52">
              <a:extLst>
                <a:ext uri="{FF2B5EF4-FFF2-40B4-BE49-F238E27FC236}">
                  <a16:creationId xmlns:a16="http://schemas.microsoft.com/office/drawing/2014/main" id="{1BF3EC77-CD2D-AF4A-9BD6-A38EC7B214F4}"/>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7" name="Freeform 53">
              <a:extLst>
                <a:ext uri="{FF2B5EF4-FFF2-40B4-BE49-F238E27FC236}">
                  <a16:creationId xmlns:a16="http://schemas.microsoft.com/office/drawing/2014/main" id="{97632E66-B4A8-5C4B-A43A-4E04ADAD831A}"/>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8" name="Freeform 54">
              <a:extLst>
                <a:ext uri="{FF2B5EF4-FFF2-40B4-BE49-F238E27FC236}">
                  <a16:creationId xmlns:a16="http://schemas.microsoft.com/office/drawing/2014/main" id="{CF07C583-E87B-0344-86E9-DF497D5A2FDB}"/>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09" name="Freeform 55">
              <a:extLst>
                <a:ext uri="{FF2B5EF4-FFF2-40B4-BE49-F238E27FC236}">
                  <a16:creationId xmlns:a16="http://schemas.microsoft.com/office/drawing/2014/main" id="{2A3BCF7A-0760-9941-BE09-8C81A10040C6}"/>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0" name="Freeform 56">
              <a:extLst>
                <a:ext uri="{FF2B5EF4-FFF2-40B4-BE49-F238E27FC236}">
                  <a16:creationId xmlns:a16="http://schemas.microsoft.com/office/drawing/2014/main" id="{BA988265-E063-7940-B64B-300D861EC941}"/>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1" name="Freeform 57">
              <a:extLst>
                <a:ext uri="{FF2B5EF4-FFF2-40B4-BE49-F238E27FC236}">
                  <a16:creationId xmlns:a16="http://schemas.microsoft.com/office/drawing/2014/main" id="{A170C88C-24AA-2343-85E3-B4119F1E9D2C}"/>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2" name="Freeform 58">
              <a:extLst>
                <a:ext uri="{FF2B5EF4-FFF2-40B4-BE49-F238E27FC236}">
                  <a16:creationId xmlns:a16="http://schemas.microsoft.com/office/drawing/2014/main" id="{64135317-DBD9-9147-8BB1-3FD2282F46F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3" name="Freeform 59">
              <a:extLst>
                <a:ext uri="{FF2B5EF4-FFF2-40B4-BE49-F238E27FC236}">
                  <a16:creationId xmlns:a16="http://schemas.microsoft.com/office/drawing/2014/main" id="{6A3D6855-5427-B24D-9E56-DFD454194203}"/>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4" name="Freeform 60">
              <a:extLst>
                <a:ext uri="{FF2B5EF4-FFF2-40B4-BE49-F238E27FC236}">
                  <a16:creationId xmlns:a16="http://schemas.microsoft.com/office/drawing/2014/main" id="{89F61079-337D-3B49-848D-4DDC918D5C88}"/>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5" name="Freeform 61">
              <a:extLst>
                <a:ext uri="{FF2B5EF4-FFF2-40B4-BE49-F238E27FC236}">
                  <a16:creationId xmlns:a16="http://schemas.microsoft.com/office/drawing/2014/main" id="{DAF1330C-BDBD-FE4F-9BBF-A6F11DB21680}"/>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6" name="Freeform 62">
              <a:extLst>
                <a:ext uri="{FF2B5EF4-FFF2-40B4-BE49-F238E27FC236}">
                  <a16:creationId xmlns:a16="http://schemas.microsoft.com/office/drawing/2014/main" id="{984B46C1-1C2B-8543-A95B-813FDAF53AF6}"/>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7" name="Freeform 63">
              <a:extLst>
                <a:ext uri="{FF2B5EF4-FFF2-40B4-BE49-F238E27FC236}">
                  <a16:creationId xmlns:a16="http://schemas.microsoft.com/office/drawing/2014/main" id="{B235F404-7554-AE43-B397-03020DED5F19}"/>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8" name="Freeform 64">
              <a:extLst>
                <a:ext uri="{FF2B5EF4-FFF2-40B4-BE49-F238E27FC236}">
                  <a16:creationId xmlns:a16="http://schemas.microsoft.com/office/drawing/2014/main" id="{4AFACC6A-2528-2745-9FC6-3787C886516C}"/>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19" name="Freeform 65">
              <a:extLst>
                <a:ext uri="{FF2B5EF4-FFF2-40B4-BE49-F238E27FC236}">
                  <a16:creationId xmlns:a16="http://schemas.microsoft.com/office/drawing/2014/main" id="{4C8CBEAF-D8B0-5E45-8509-00EAAA4CC719}"/>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0" name="Freeform 66">
              <a:extLst>
                <a:ext uri="{FF2B5EF4-FFF2-40B4-BE49-F238E27FC236}">
                  <a16:creationId xmlns:a16="http://schemas.microsoft.com/office/drawing/2014/main" id="{2416645C-382F-4A4F-92E4-1C3F02EE134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1" name="Freeform 67">
              <a:extLst>
                <a:ext uri="{FF2B5EF4-FFF2-40B4-BE49-F238E27FC236}">
                  <a16:creationId xmlns:a16="http://schemas.microsoft.com/office/drawing/2014/main" id="{670643AE-0BE3-A44B-A975-176948A55464}"/>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2" name="Freeform 68">
              <a:extLst>
                <a:ext uri="{FF2B5EF4-FFF2-40B4-BE49-F238E27FC236}">
                  <a16:creationId xmlns:a16="http://schemas.microsoft.com/office/drawing/2014/main" id="{C6B6CE3B-BE07-C64D-917B-972445AC6E98}"/>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3" name="Freeform 69">
              <a:extLst>
                <a:ext uri="{FF2B5EF4-FFF2-40B4-BE49-F238E27FC236}">
                  <a16:creationId xmlns:a16="http://schemas.microsoft.com/office/drawing/2014/main" id="{1BAE1FE2-401E-2840-AD14-0718F56D39B3}"/>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4" name="Freeform 70">
              <a:extLst>
                <a:ext uri="{FF2B5EF4-FFF2-40B4-BE49-F238E27FC236}">
                  <a16:creationId xmlns:a16="http://schemas.microsoft.com/office/drawing/2014/main" id="{7C2BBCA1-1368-824E-BB2B-F81C14BCF3C3}"/>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5" name="Freeform 71">
              <a:extLst>
                <a:ext uri="{FF2B5EF4-FFF2-40B4-BE49-F238E27FC236}">
                  <a16:creationId xmlns:a16="http://schemas.microsoft.com/office/drawing/2014/main" id="{F8D9A300-88B0-094A-A3DF-2B32A71B2522}"/>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6" name="Freeform 72">
              <a:extLst>
                <a:ext uri="{FF2B5EF4-FFF2-40B4-BE49-F238E27FC236}">
                  <a16:creationId xmlns:a16="http://schemas.microsoft.com/office/drawing/2014/main" id="{43AC4617-52D5-0F4E-AC9C-B9D5FA3FEF1F}"/>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7" name="Freeform 73">
              <a:extLst>
                <a:ext uri="{FF2B5EF4-FFF2-40B4-BE49-F238E27FC236}">
                  <a16:creationId xmlns:a16="http://schemas.microsoft.com/office/drawing/2014/main" id="{084FB0F1-7285-6A47-8FA4-CCDEFAA16196}"/>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8" name="Freeform 74">
              <a:extLst>
                <a:ext uri="{FF2B5EF4-FFF2-40B4-BE49-F238E27FC236}">
                  <a16:creationId xmlns:a16="http://schemas.microsoft.com/office/drawing/2014/main" id="{DE68D17F-95DD-DC40-8DD0-2143A2029914}"/>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29" name="Freeform 75">
              <a:extLst>
                <a:ext uri="{FF2B5EF4-FFF2-40B4-BE49-F238E27FC236}">
                  <a16:creationId xmlns:a16="http://schemas.microsoft.com/office/drawing/2014/main" id="{73EC3F16-5642-5A44-901A-419013776AC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0" name="Freeform 76">
              <a:extLst>
                <a:ext uri="{FF2B5EF4-FFF2-40B4-BE49-F238E27FC236}">
                  <a16:creationId xmlns:a16="http://schemas.microsoft.com/office/drawing/2014/main" id="{9A64267F-8C5D-0442-A065-E4464A04CBB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1" name="Freeform 77">
              <a:extLst>
                <a:ext uri="{FF2B5EF4-FFF2-40B4-BE49-F238E27FC236}">
                  <a16:creationId xmlns:a16="http://schemas.microsoft.com/office/drawing/2014/main" id="{255C52B7-C525-3244-B852-904A5E808991}"/>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2" name="Freeform 78">
              <a:extLst>
                <a:ext uri="{FF2B5EF4-FFF2-40B4-BE49-F238E27FC236}">
                  <a16:creationId xmlns:a16="http://schemas.microsoft.com/office/drawing/2014/main" id="{12B57CD4-3606-7549-B855-C92BF93076E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3" name="Freeform 79">
              <a:extLst>
                <a:ext uri="{FF2B5EF4-FFF2-40B4-BE49-F238E27FC236}">
                  <a16:creationId xmlns:a16="http://schemas.microsoft.com/office/drawing/2014/main" id="{DEAAAAFA-E435-7B47-ADBC-50185771A681}"/>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4" name="Freeform 80">
              <a:extLst>
                <a:ext uri="{FF2B5EF4-FFF2-40B4-BE49-F238E27FC236}">
                  <a16:creationId xmlns:a16="http://schemas.microsoft.com/office/drawing/2014/main" id="{AC1CAF70-BC80-4945-9D53-2DAB0F109662}"/>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135" name="Freeform 81">
              <a:extLst>
                <a:ext uri="{FF2B5EF4-FFF2-40B4-BE49-F238E27FC236}">
                  <a16:creationId xmlns:a16="http://schemas.microsoft.com/office/drawing/2014/main" id="{44FB1AF2-A17B-EC4B-AD03-A590F1465FFC}"/>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grpSp>
      <p:sp>
        <p:nvSpPr>
          <p:cNvPr id="136" name="Rectangle 135">
            <a:extLst>
              <a:ext uri="{FF2B5EF4-FFF2-40B4-BE49-F238E27FC236}">
                <a16:creationId xmlns:a16="http://schemas.microsoft.com/office/drawing/2014/main" id="{8EF0D2F1-FD5A-2149-826A-44A082B43076}"/>
              </a:ext>
            </a:extLst>
          </p:cNvPr>
          <p:cNvSpPr/>
          <p:nvPr/>
        </p:nvSpPr>
        <p:spPr>
          <a:xfrm>
            <a:off x="4720185" y="3403868"/>
            <a:ext cx="1905848" cy="646331"/>
          </a:xfrm>
          <a:prstGeom prst="rect">
            <a:avLst/>
          </a:prstGeom>
        </p:spPr>
        <p:txBody>
          <a:bodyPr wrap="square" anchor="t">
            <a:spAutoFit/>
          </a:bodyPr>
          <a:lstStyle/>
          <a:p>
            <a:pPr algn="ctr" defTabSz="457189"/>
            <a:r>
              <a:rPr lang="en-US" sz="1200" dirty="0">
                <a:solidFill>
                  <a:srgbClr val="282828"/>
                </a:solidFill>
                <a:latin typeface="+mn-lt"/>
                <a:ea typeface="ＭＳ Ｐゴシック" charset="0"/>
              </a:rPr>
              <a:t>Natural extension of existing computing environment</a:t>
            </a:r>
          </a:p>
        </p:txBody>
      </p:sp>
      <p:grpSp>
        <p:nvGrpSpPr>
          <p:cNvPr id="137" name="Group 136">
            <a:extLst>
              <a:ext uri="{FF2B5EF4-FFF2-40B4-BE49-F238E27FC236}">
                <a16:creationId xmlns:a16="http://schemas.microsoft.com/office/drawing/2014/main" id="{4B2C4088-AFDF-EA41-89D0-2983B982919A}"/>
              </a:ext>
            </a:extLst>
          </p:cNvPr>
          <p:cNvGrpSpPr/>
          <p:nvPr/>
        </p:nvGrpSpPr>
        <p:grpSpPr>
          <a:xfrm>
            <a:off x="3796840" y="518034"/>
            <a:ext cx="3610616" cy="3843427"/>
            <a:chOff x="3796839" y="518033"/>
            <a:chExt cx="3610616" cy="3843427"/>
          </a:xfrm>
        </p:grpSpPr>
        <p:sp>
          <p:nvSpPr>
            <p:cNvPr id="138" name="Arc 137">
              <a:extLst>
                <a:ext uri="{FF2B5EF4-FFF2-40B4-BE49-F238E27FC236}">
                  <a16:creationId xmlns:a16="http://schemas.microsoft.com/office/drawing/2014/main" id="{1403061F-EB7F-774E-A39D-3991E0C62D7B}"/>
                </a:ext>
              </a:extLst>
            </p:cNvPr>
            <p:cNvSpPr/>
            <p:nvPr/>
          </p:nvSpPr>
          <p:spPr>
            <a:xfrm>
              <a:off x="3796839" y="750842"/>
              <a:ext cx="3610616" cy="3610618"/>
            </a:xfrm>
            <a:prstGeom prst="arc">
              <a:avLst>
                <a:gd name="adj1" fmla="val 16200000"/>
                <a:gd name="adj2" fmla="val 1852541"/>
              </a:avLst>
            </a:prstGeom>
            <a:noFill/>
            <a:ln w="469900" cap="rnd">
              <a:solidFill>
                <a:srgbClr val="00BCEB">
                  <a:lumMod val="40000"/>
                  <a:lumOff val="60000"/>
                </a:srgbClr>
              </a:solidFill>
            </a:ln>
            <a:effectLst/>
          </p:spPr>
        </p:sp>
        <p:sp>
          <p:nvSpPr>
            <p:cNvPr id="139" name="Arc 138">
              <a:extLst>
                <a:ext uri="{FF2B5EF4-FFF2-40B4-BE49-F238E27FC236}">
                  <a16:creationId xmlns:a16="http://schemas.microsoft.com/office/drawing/2014/main" id="{3117DEBE-AA1F-7C4F-8EC1-A8B00C23D6EA}"/>
                </a:ext>
              </a:extLst>
            </p:cNvPr>
            <p:cNvSpPr/>
            <p:nvPr/>
          </p:nvSpPr>
          <p:spPr>
            <a:xfrm>
              <a:off x="3796839" y="750842"/>
              <a:ext cx="3610616" cy="3610618"/>
            </a:xfrm>
            <a:prstGeom prst="arc">
              <a:avLst>
                <a:gd name="adj1" fmla="val 1850839"/>
                <a:gd name="adj2" fmla="val 8941600"/>
              </a:avLst>
            </a:prstGeom>
            <a:noFill/>
            <a:ln w="469900" cap="rnd">
              <a:solidFill>
                <a:srgbClr val="00BCEB"/>
              </a:solidFill>
            </a:ln>
            <a:effectLst/>
          </p:spPr>
        </p:sp>
        <p:sp>
          <p:nvSpPr>
            <p:cNvPr id="140" name="Arc 139">
              <a:extLst>
                <a:ext uri="{FF2B5EF4-FFF2-40B4-BE49-F238E27FC236}">
                  <a16:creationId xmlns:a16="http://schemas.microsoft.com/office/drawing/2014/main" id="{7CAD8818-534F-AF4D-883D-11C441393F2A}"/>
                </a:ext>
              </a:extLst>
            </p:cNvPr>
            <p:cNvSpPr/>
            <p:nvPr/>
          </p:nvSpPr>
          <p:spPr>
            <a:xfrm>
              <a:off x="3796839" y="750842"/>
              <a:ext cx="3610616" cy="3610618"/>
            </a:xfrm>
            <a:prstGeom prst="arc">
              <a:avLst>
                <a:gd name="adj1" fmla="val 8953331"/>
                <a:gd name="adj2" fmla="val 16193746"/>
              </a:avLst>
            </a:prstGeom>
            <a:noFill/>
            <a:ln w="469900" cap="rnd">
              <a:solidFill>
                <a:srgbClr val="00BCEB">
                  <a:lumMod val="75000"/>
                </a:srgbClr>
              </a:solidFill>
            </a:ln>
            <a:effectLst/>
          </p:spPr>
        </p:sp>
        <p:sp>
          <p:nvSpPr>
            <p:cNvPr id="141" name="Freeform: Shape 112">
              <a:extLst>
                <a:ext uri="{FF2B5EF4-FFF2-40B4-BE49-F238E27FC236}">
                  <a16:creationId xmlns:a16="http://schemas.microsoft.com/office/drawing/2014/main" id="{B2EB2C44-8DD6-9644-A510-3498ADFBDCBB}"/>
                </a:ext>
              </a:extLst>
            </p:cNvPr>
            <p:cNvSpPr/>
            <p:nvPr/>
          </p:nvSpPr>
          <p:spPr>
            <a:xfrm>
              <a:off x="5369337" y="518033"/>
              <a:ext cx="465620" cy="465618"/>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005073">
                <a:lumMod val="75000"/>
              </a:srgbClr>
            </a:solidFill>
            <a:ln w="25400" cap="flat" cmpd="sng" algn="ctr">
              <a:noFill/>
              <a:prstDash val="solid"/>
            </a:ln>
            <a:effectLst/>
          </p:spPr>
          <p:txBody>
            <a:bodyPr spcFirstLastPara="0" vert="horz" wrap="square" lIns="93093" tIns="93093" rIns="93093" bIns="93093" numCol="1" spcCol="1270" anchor="ctr" anchorCtr="0">
              <a:noAutofit/>
            </a:bodyPr>
            <a:lstStyle/>
            <a:p>
              <a:pPr algn="ctr" defTabSz="844529">
                <a:lnSpc>
                  <a:spcPct val="90000"/>
                </a:lnSpc>
                <a:spcAft>
                  <a:spcPct val="35000"/>
                </a:spcAft>
                <a:defRPr/>
              </a:pPr>
              <a:endParaRPr lang="en-US" sz="1900" kern="0">
                <a:solidFill>
                  <a:srgbClr val="005073"/>
                </a:solidFill>
                <a:latin typeface="CiscoSansTT ExtraLight"/>
              </a:endParaRPr>
            </a:p>
          </p:txBody>
        </p:sp>
        <p:sp>
          <p:nvSpPr>
            <p:cNvPr id="142" name="Freeform: Shape 113">
              <a:extLst>
                <a:ext uri="{FF2B5EF4-FFF2-40B4-BE49-F238E27FC236}">
                  <a16:creationId xmlns:a16="http://schemas.microsoft.com/office/drawing/2014/main" id="{A1FED1F9-FEB4-3D49-8EF3-23DD1B1E93E9}"/>
                </a:ext>
              </a:extLst>
            </p:cNvPr>
            <p:cNvSpPr/>
            <p:nvPr/>
          </p:nvSpPr>
          <p:spPr>
            <a:xfrm>
              <a:off x="6919373" y="3248466"/>
              <a:ext cx="465620" cy="46562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005073">
                <a:lumMod val="75000"/>
              </a:srgbClr>
            </a:solidFill>
            <a:ln w="25400" cap="flat" cmpd="sng" algn="ctr">
              <a:noFill/>
              <a:prstDash val="solid"/>
            </a:ln>
            <a:effectLst/>
          </p:spPr>
          <p:txBody>
            <a:bodyPr spcFirstLastPara="0" vert="horz" wrap="square" lIns="93093" tIns="93093" rIns="93093" bIns="93093" numCol="1" spcCol="1270" anchor="ctr" anchorCtr="0">
              <a:noAutofit/>
            </a:bodyPr>
            <a:lstStyle/>
            <a:p>
              <a:pPr algn="ctr" defTabSz="844529">
                <a:lnSpc>
                  <a:spcPct val="90000"/>
                </a:lnSpc>
                <a:spcAft>
                  <a:spcPct val="35000"/>
                </a:spcAft>
                <a:defRPr/>
              </a:pPr>
              <a:endParaRPr lang="en-US" sz="1900" kern="0">
                <a:solidFill>
                  <a:srgbClr val="005073"/>
                </a:solidFill>
                <a:latin typeface="CiscoSansTT ExtraLight"/>
              </a:endParaRPr>
            </a:p>
          </p:txBody>
        </p:sp>
        <p:sp>
          <p:nvSpPr>
            <p:cNvPr id="143" name="Freeform: Shape 114">
              <a:extLst>
                <a:ext uri="{FF2B5EF4-FFF2-40B4-BE49-F238E27FC236}">
                  <a16:creationId xmlns:a16="http://schemas.microsoft.com/office/drawing/2014/main" id="{3BCCE469-E626-A84C-84D9-CD5E5D96499E}"/>
                </a:ext>
              </a:extLst>
            </p:cNvPr>
            <p:cNvSpPr/>
            <p:nvPr/>
          </p:nvSpPr>
          <p:spPr>
            <a:xfrm>
              <a:off x="3818827" y="3248466"/>
              <a:ext cx="465620" cy="46562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005073">
                <a:lumMod val="75000"/>
              </a:srgbClr>
            </a:solidFill>
            <a:ln w="25400" cap="flat" cmpd="sng" algn="ctr">
              <a:noFill/>
              <a:prstDash val="solid"/>
            </a:ln>
            <a:effectLst/>
          </p:spPr>
          <p:txBody>
            <a:bodyPr spcFirstLastPara="0" vert="horz" wrap="square" lIns="93093" tIns="93093" rIns="93093" bIns="93093" numCol="1" spcCol="1270" anchor="ctr" anchorCtr="0">
              <a:noAutofit/>
            </a:bodyPr>
            <a:lstStyle/>
            <a:p>
              <a:pPr algn="ctr" defTabSz="844529">
                <a:lnSpc>
                  <a:spcPct val="90000"/>
                </a:lnSpc>
                <a:spcAft>
                  <a:spcPct val="35000"/>
                </a:spcAft>
                <a:defRPr/>
              </a:pPr>
              <a:endParaRPr lang="en-US" sz="1900" kern="0">
                <a:solidFill>
                  <a:srgbClr val="005073"/>
                </a:solidFill>
                <a:latin typeface="CiscoSansTT ExtraLight"/>
              </a:endParaRPr>
            </a:p>
          </p:txBody>
        </p:sp>
        <p:grpSp>
          <p:nvGrpSpPr>
            <p:cNvPr id="144" name="Group 143">
              <a:extLst>
                <a:ext uri="{FF2B5EF4-FFF2-40B4-BE49-F238E27FC236}">
                  <a16:creationId xmlns:a16="http://schemas.microsoft.com/office/drawing/2014/main" id="{38156718-14C0-684A-A5C5-79D5C4949D5C}"/>
                </a:ext>
              </a:extLst>
            </p:cNvPr>
            <p:cNvGrpSpPr/>
            <p:nvPr/>
          </p:nvGrpSpPr>
          <p:grpSpPr>
            <a:xfrm>
              <a:off x="5517688" y="594279"/>
              <a:ext cx="213842" cy="246552"/>
              <a:chOff x="4554388" y="1618953"/>
              <a:chExt cx="180462" cy="208067"/>
            </a:xfrm>
          </p:grpSpPr>
          <p:sp>
            <p:nvSpPr>
              <p:cNvPr id="153" name="Rounded Rectangle 362">
                <a:extLst>
                  <a:ext uri="{FF2B5EF4-FFF2-40B4-BE49-F238E27FC236}">
                    <a16:creationId xmlns:a16="http://schemas.microsoft.com/office/drawing/2014/main" id="{4F29D63B-932D-744E-83B0-2E7EAA374727}"/>
                  </a:ext>
                </a:extLst>
              </p:cNvPr>
              <p:cNvSpPr/>
              <p:nvPr/>
            </p:nvSpPr>
            <p:spPr>
              <a:xfrm rot="2700000">
                <a:off x="4554390" y="1679289"/>
                <a:ext cx="180460"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54" name="Rounded Rectangle 363">
                <a:extLst>
                  <a:ext uri="{FF2B5EF4-FFF2-40B4-BE49-F238E27FC236}">
                    <a16:creationId xmlns:a16="http://schemas.microsoft.com/office/drawing/2014/main" id="{31793714-7914-E044-89DD-5D95991E14BB}"/>
                  </a:ext>
                </a:extLst>
              </p:cNvPr>
              <p:cNvSpPr/>
              <p:nvPr/>
            </p:nvSpPr>
            <p:spPr>
              <a:xfrm rot="18900000">
                <a:off x="4554388" y="1767233"/>
                <a:ext cx="180462"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55" name="Freeform 364">
                <a:extLst>
                  <a:ext uri="{FF2B5EF4-FFF2-40B4-BE49-F238E27FC236}">
                    <a16:creationId xmlns:a16="http://schemas.microsoft.com/office/drawing/2014/main" id="{F6EB50FE-5434-804B-90EC-0713CC6F0B9C}"/>
                  </a:ext>
                </a:extLst>
              </p:cNvPr>
              <p:cNvSpPr/>
              <p:nvPr/>
            </p:nvSpPr>
            <p:spPr>
              <a:xfrm rot="2700000">
                <a:off x="4659623" y="1724186"/>
                <a:ext cx="57938" cy="57938"/>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rgbClr val="00BCEB">
                  <a:lumMod val="75000"/>
                </a:srgbClr>
              </a:solidFill>
              <a:ln w="12700">
                <a:solidFill>
                  <a:srgbClr val="00BCEB">
                    <a:lumMod val="75000"/>
                  </a:srgbClr>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endParaRPr>
              </a:p>
            </p:txBody>
          </p:sp>
        </p:grpSp>
        <p:grpSp>
          <p:nvGrpSpPr>
            <p:cNvPr id="145" name="Group 144">
              <a:extLst>
                <a:ext uri="{FF2B5EF4-FFF2-40B4-BE49-F238E27FC236}">
                  <a16:creationId xmlns:a16="http://schemas.microsoft.com/office/drawing/2014/main" id="{6FB1A70F-A07E-0341-9513-4B7A6DC33A9D}"/>
                </a:ext>
              </a:extLst>
            </p:cNvPr>
            <p:cNvGrpSpPr/>
            <p:nvPr/>
          </p:nvGrpSpPr>
          <p:grpSpPr>
            <a:xfrm rot="7495449">
              <a:off x="7068919" y="3395472"/>
              <a:ext cx="213842" cy="246552"/>
              <a:chOff x="4554388" y="1618953"/>
              <a:chExt cx="180462" cy="208067"/>
            </a:xfrm>
          </p:grpSpPr>
          <p:sp>
            <p:nvSpPr>
              <p:cNvPr id="150" name="Rounded Rectangle 362">
                <a:extLst>
                  <a:ext uri="{FF2B5EF4-FFF2-40B4-BE49-F238E27FC236}">
                    <a16:creationId xmlns:a16="http://schemas.microsoft.com/office/drawing/2014/main" id="{6F6969F9-E75D-5841-9F8C-AA54C7EAD788}"/>
                  </a:ext>
                </a:extLst>
              </p:cNvPr>
              <p:cNvSpPr/>
              <p:nvPr/>
            </p:nvSpPr>
            <p:spPr>
              <a:xfrm rot="2700000">
                <a:off x="4554390" y="1679289"/>
                <a:ext cx="180460"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51" name="Rounded Rectangle 363">
                <a:extLst>
                  <a:ext uri="{FF2B5EF4-FFF2-40B4-BE49-F238E27FC236}">
                    <a16:creationId xmlns:a16="http://schemas.microsoft.com/office/drawing/2014/main" id="{851ADE5E-A4AB-2045-A473-3B53841E87FB}"/>
                  </a:ext>
                </a:extLst>
              </p:cNvPr>
              <p:cNvSpPr/>
              <p:nvPr/>
            </p:nvSpPr>
            <p:spPr>
              <a:xfrm rot="18900000">
                <a:off x="4554388" y="1767233"/>
                <a:ext cx="180462"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52" name="Freeform 364">
                <a:extLst>
                  <a:ext uri="{FF2B5EF4-FFF2-40B4-BE49-F238E27FC236}">
                    <a16:creationId xmlns:a16="http://schemas.microsoft.com/office/drawing/2014/main" id="{177C0DEC-D9DE-DD4B-A3C1-68B5F42C048D}"/>
                  </a:ext>
                </a:extLst>
              </p:cNvPr>
              <p:cNvSpPr/>
              <p:nvPr/>
            </p:nvSpPr>
            <p:spPr>
              <a:xfrm rot="2700000">
                <a:off x="4659623" y="1724186"/>
                <a:ext cx="57938" cy="57938"/>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rgbClr val="00BCEB">
                  <a:lumMod val="75000"/>
                </a:srgbClr>
              </a:solidFill>
              <a:ln w="12700">
                <a:solidFill>
                  <a:srgbClr val="00BCEB">
                    <a:lumMod val="75000"/>
                  </a:srgbClr>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endParaRPr>
              </a:p>
            </p:txBody>
          </p:sp>
        </p:grpSp>
        <p:grpSp>
          <p:nvGrpSpPr>
            <p:cNvPr id="146" name="Group 145">
              <a:extLst>
                <a:ext uri="{FF2B5EF4-FFF2-40B4-BE49-F238E27FC236}">
                  <a16:creationId xmlns:a16="http://schemas.microsoft.com/office/drawing/2014/main" id="{9AA7C53F-57C2-924A-A003-FDCF2BE36CD9}"/>
                </a:ext>
              </a:extLst>
            </p:cNvPr>
            <p:cNvGrpSpPr/>
            <p:nvPr/>
          </p:nvGrpSpPr>
          <p:grpSpPr>
            <a:xfrm rot="14400000">
              <a:off x="3908799" y="3355191"/>
              <a:ext cx="213842" cy="246552"/>
              <a:chOff x="4554388" y="1618953"/>
              <a:chExt cx="180462" cy="208067"/>
            </a:xfrm>
          </p:grpSpPr>
          <p:sp>
            <p:nvSpPr>
              <p:cNvPr id="147" name="Rounded Rectangle 362">
                <a:extLst>
                  <a:ext uri="{FF2B5EF4-FFF2-40B4-BE49-F238E27FC236}">
                    <a16:creationId xmlns:a16="http://schemas.microsoft.com/office/drawing/2014/main" id="{DACA84D7-A7E6-3B42-ABA2-666BECEE9A5C}"/>
                  </a:ext>
                </a:extLst>
              </p:cNvPr>
              <p:cNvSpPr/>
              <p:nvPr/>
            </p:nvSpPr>
            <p:spPr>
              <a:xfrm rot="2700000">
                <a:off x="4554390" y="1679289"/>
                <a:ext cx="180460"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48" name="Rounded Rectangle 363">
                <a:extLst>
                  <a:ext uri="{FF2B5EF4-FFF2-40B4-BE49-F238E27FC236}">
                    <a16:creationId xmlns:a16="http://schemas.microsoft.com/office/drawing/2014/main" id="{93C13826-BA15-1746-AC44-AA6D027A7DCF}"/>
                  </a:ext>
                </a:extLst>
              </p:cNvPr>
              <p:cNvSpPr/>
              <p:nvPr/>
            </p:nvSpPr>
            <p:spPr>
              <a:xfrm rot="18900000">
                <a:off x="4554388" y="1767233"/>
                <a:ext cx="180462" cy="59787"/>
              </a:xfrm>
              <a:prstGeom prst="roundRect">
                <a:avLst>
                  <a:gd name="adj" fmla="val 50000"/>
                </a:avLst>
              </a:prstGeom>
              <a:solidFill>
                <a:srgbClr val="00BCEB"/>
              </a:solidFill>
              <a:ln>
                <a:solidFill>
                  <a:srgbClr val="00BCEB"/>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cs typeface="ＭＳ Ｐゴシック" charset="0"/>
                </a:endParaRPr>
              </a:p>
            </p:txBody>
          </p:sp>
          <p:sp>
            <p:nvSpPr>
              <p:cNvPr id="149" name="Freeform 364">
                <a:extLst>
                  <a:ext uri="{FF2B5EF4-FFF2-40B4-BE49-F238E27FC236}">
                    <a16:creationId xmlns:a16="http://schemas.microsoft.com/office/drawing/2014/main" id="{BBD77BBF-33AC-CF4D-A415-DBD48B8656EB}"/>
                  </a:ext>
                </a:extLst>
              </p:cNvPr>
              <p:cNvSpPr/>
              <p:nvPr/>
            </p:nvSpPr>
            <p:spPr>
              <a:xfrm rot="2700000">
                <a:off x="4659623" y="1724186"/>
                <a:ext cx="57938" cy="57938"/>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rgbClr val="00BCEB">
                  <a:lumMod val="75000"/>
                </a:srgbClr>
              </a:solidFill>
              <a:ln w="12700">
                <a:solidFill>
                  <a:srgbClr val="00BCEB">
                    <a:lumMod val="75000"/>
                  </a:srgbClr>
                </a:solidFill>
              </a:ln>
            </p:spPr>
            <p:txBody>
              <a:bodyPr vert="horz" wrap="square" lIns="91440" tIns="45720" rIns="91440" bIns="45720" numCol="1" anchor="t" anchorCtr="0" compatLnSpc="1">
                <a:prstTxWarp prst="textNoShape">
                  <a:avLst/>
                </a:prstTxWarp>
              </a:bodyPr>
              <a:lstStyle/>
              <a:p>
                <a:pPr defTabSz="457189">
                  <a:defRPr/>
                </a:pPr>
                <a:endParaRPr lang="en-US" sz="1800" kern="0" dirty="0">
                  <a:solidFill>
                    <a:srgbClr val="282828"/>
                  </a:solidFill>
                  <a:ea typeface="ＭＳ Ｐゴシック" charset="0"/>
                </a:endParaRPr>
              </a:p>
            </p:txBody>
          </p:sp>
        </p:grpSp>
      </p:grpSp>
      <p:pic>
        <p:nvPicPr>
          <p:cNvPr id="156" name="Picture 155">
            <a:extLst>
              <a:ext uri="{FF2B5EF4-FFF2-40B4-BE49-F238E27FC236}">
                <a16:creationId xmlns:a16="http://schemas.microsoft.com/office/drawing/2014/main" id="{7448EDEB-BF70-9B40-9C13-A3CEF590635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153547" y="1081872"/>
            <a:ext cx="864292" cy="600761"/>
          </a:xfrm>
          <a:prstGeom prst="rect">
            <a:avLst/>
          </a:prstGeom>
        </p:spPr>
      </p:pic>
      <p:grpSp>
        <p:nvGrpSpPr>
          <p:cNvPr id="157" name="Group 156">
            <a:extLst>
              <a:ext uri="{FF2B5EF4-FFF2-40B4-BE49-F238E27FC236}">
                <a16:creationId xmlns:a16="http://schemas.microsoft.com/office/drawing/2014/main" id="{B8403135-68C0-A748-A7AA-A0721DEC29A6}"/>
              </a:ext>
            </a:extLst>
          </p:cNvPr>
          <p:cNvGrpSpPr/>
          <p:nvPr/>
        </p:nvGrpSpPr>
        <p:grpSpPr>
          <a:xfrm>
            <a:off x="1587046" y="630749"/>
            <a:ext cx="7454574" cy="3889309"/>
            <a:chOff x="1587045" y="630748"/>
            <a:chExt cx="7454574" cy="3889308"/>
          </a:xfrm>
        </p:grpSpPr>
        <p:cxnSp>
          <p:nvCxnSpPr>
            <p:cNvPr id="158" name="Straight Connector 157">
              <a:extLst>
                <a:ext uri="{FF2B5EF4-FFF2-40B4-BE49-F238E27FC236}">
                  <a16:creationId xmlns:a16="http://schemas.microsoft.com/office/drawing/2014/main" id="{26107240-720D-3E4E-9807-FFB57D7D3B3F}"/>
                </a:ext>
              </a:extLst>
            </p:cNvPr>
            <p:cNvCxnSpPr>
              <a:cxnSpLocks/>
            </p:cNvCxnSpPr>
            <p:nvPr/>
          </p:nvCxnSpPr>
          <p:spPr>
            <a:xfrm flipH="1">
              <a:off x="6510942" y="1019566"/>
              <a:ext cx="2137758" cy="0"/>
            </a:xfrm>
            <a:prstGeom prst="line">
              <a:avLst/>
            </a:prstGeom>
            <a:noFill/>
            <a:ln w="25400" cap="rnd" cmpd="sng" algn="ctr">
              <a:solidFill>
                <a:srgbClr val="00BCEB">
                  <a:lumMod val="40000"/>
                  <a:lumOff val="60000"/>
                </a:srgbClr>
              </a:solidFill>
              <a:prstDash val="solid"/>
            </a:ln>
            <a:effectLst/>
          </p:spPr>
        </p:cxnSp>
        <p:sp>
          <p:nvSpPr>
            <p:cNvPr id="159" name="Rectangle 158">
              <a:extLst>
                <a:ext uri="{FF2B5EF4-FFF2-40B4-BE49-F238E27FC236}">
                  <a16:creationId xmlns:a16="http://schemas.microsoft.com/office/drawing/2014/main" id="{BD05EE9A-8FD4-BF46-86FE-8997F2120097}"/>
                </a:ext>
              </a:extLst>
            </p:cNvPr>
            <p:cNvSpPr/>
            <p:nvPr/>
          </p:nvSpPr>
          <p:spPr>
            <a:xfrm>
              <a:off x="7080187" y="3457510"/>
              <a:ext cx="1699366" cy="584775"/>
            </a:xfrm>
            <a:prstGeom prst="rect">
              <a:avLst/>
            </a:prstGeom>
          </p:spPr>
          <p:txBody>
            <a:bodyPr wrap="square" anchor="b">
              <a:spAutoFit/>
            </a:bodyPr>
            <a:lstStyle/>
            <a:p>
              <a:pPr algn="r" defTabSz="457189">
                <a:defRPr/>
              </a:pPr>
              <a:r>
                <a:rPr lang="en-US" sz="1600" kern="0" dirty="0">
                  <a:solidFill>
                    <a:srgbClr val="282828"/>
                  </a:solidFill>
                  <a:latin typeface="+mn-lt"/>
                  <a:ea typeface="ＭＳ Ｐゴシック" charset="0"/>
                </a:rPr>
                <a:t>Deployment/</a:t>
              </a:r>
              <a:br>
                <a:rPr lang="en-US" sz="1600" kern="0" dirty="0">
                  <a:solidFill>
                    <a:srgbClr val="282828"/>
                  </a:solidFill>
                  <a:latin typeface="+mn-lt"/>
                  <a:ea typeface="ＭＳ Ｐゴシック" charset="0"/>
                </a:rPr>
              </a:br>
              <a:r>
                <a:rPr lang="en-US" sz="1600" kern="0" dirty="0">
                  <a:solidFill>
                    <a:srgbClr val="282828"/>
                  </a:solidFill>
                  <a:latin typeface="+mn-lt"/>
                  <a:ea typeface="ＭＳ Ｐゴシック" charset="0"/>
                </a:rPr>
                <a:t>Inference</a:t>
              </a:r>
            </a:p>
          </p:txBody>
        </p:sp>
        <p:cxnSp>
          <p:nvCxnSpPr>
            <p:cNvPr id="160" name="Straight Connector 159">
              <a:extLst>
                <a:ext uri="{FF2B5EF4-FFF2-40B4-BE49-F238E27FC236}">
                  <a16:creationId xmlns:a16="http://schemas.microsoft.com/office/drawing/2014/main" id="{A81316AC-CAD4-7C42-98D1-2D7E4A5EAE47}"/>
                </a:ext>
              </a:extLst>
            </p:cNvPr>
            <p:cNvCxnSpPr>
              <a:cxnSpLocks/>
            </p:cNvCxnSpPr>
            <p:nvPr/>
          </p:nvCxnSpPr>
          <p:spPr>
            <a:xfrm flipH="1">
              <a:off x="6577467" y="4019010"/>
              <a:ext cx="2071234" cy="0"/>
            </a:xfrm>
            <a:prstGeom prst="line">
              <a:avLst/>
            </a:prstGeom>
            <a:noFill/>
            <a:ln w="25400" cap="rnd" cmpd="sng" algn="ctr">
              <a:solidFill>
                <a:srgbClr val="00BCEB"/>
              </a:solidFill>
              <a:prstDash val="solid"/>
            </a:ln>
            <a:effectLst/>
          </p:spPr>
        </p:cxnSp>
        <p:sp>
          <p:nvSpPr>
            <p:cNvPr id="161" name="Rectangle 160">
              <a:extLst>
                <a:ext uri="{FF2B5EF4-FFF2-40B4-BE49-F238E27FC236}">
                  <a16:creationId xmlns:a16="http://schemas.microsoft.com/office/drawing/2014/main" id="{CF09E7E7-7DFF-B848-98E5-D4FBAC2B753D}"/>
                </a:ext>
              </a:extLst>
            </p:cNvPr>
            <p:cNvSpPr/>
            <p:nvPr/>
          </p:nvSpPr>
          <p:spPr>
            <a:xfrm>
              <a:off x="1587045" y="2524929"/>
              <a:ext cx="671979" cy="369332"/>
            </a:xfrm>
            <a:prstGeom prst="rect">
              <a:avLst/>
            </a:prstGeom>
          </p:spPr>
          <p:txBody>
            <a:bodyPr wrap="none" anchor="b">
              <a:spAutoFit/>
            </a:bodyPr>
            <a:lstStyle/>
            <a:p>
              <a:pPr algn="r" defTabSz="457189">
                <a:defRPr/>
              </a:pPr>
              <a:r>
                <a:rPr lang="en-US" sz="1800" kern="0" dirty="0">
                  <a:solidFill>
                    <a:srgbClr val="282828"/>
                  </a:solidFill>
                  <a:latin typeface="+mn-lt"/>
                  <a:ea typeface="ＭＳ Ｐゴシック" charset="0"/>
                </a:rPr>
                <a:t>Data</a:t>
              </a:r>
            </a:p>
          </p:txBody>
        </p:sp>
        <p:sp>
          <p:nvSpPr>
            <p:cNvPr id="162" name="Rectangle 161">
              <a:extLst>
                <a:ext uri="{FF2B5EF4-FFF2-40B4-BE49-F238E27FC236}">
                  <a16:creationId xmlns:a16="http://schemas.microsoft.com/office/drawing/2014/main" id="{B5273F77-3A8C-8C41-9B2A-8874F7A330F9}"/>
                </a:ext>
              </a:extLst>
            </p:cNvPr>
            <p:cNvSpPr/>
            <p:nvPr/>
          </p:nvSpPr>
          <p:spPr>
            <a:xfrm>
              <a:off x="1587045" y="2939768"/>
              <a:ext cx="1566454" cy="646331"/>
            </a:xfrm>
            <a:prstGeom prst="rect">
              <a:avLst/>
            </a:prstGeom>
          </p:spPr>
          <p:txBody>
            <a:bodyPr wrap="none">
              <a:spAutoFit/>
            </a:bodyPr>
            <a:lstStyle/>
            <a:p>
              <a:pPr defTabSz="457189">
                <a:defRPr/>
              </a:pPr>
              <a:r>
                <a:rPr lang="en-US" sz="1200" kern="0" dirty="0">
                  <a:solidFill>
                    <a:srgbClr val="282828"/>
                  </a:solidFill>
                  <a:latin typeface="+mn-lt"/>
                  <a:ea typeface="ＭＳ Ｐゴシック" charset="0"/>
                </a:rPr>
                <a:t>Source &amp; Aggregate</a:t>
              </a:r>
            </a:p>
            <a:p>
              <a:pPr defTabSz="457189">
                <a:defRPr/>
              </a:pPr>
              <a:r>
                <a:rPr lang="en-US" sz="1200" kern="0" dirty="0">
                  <a:solidFill>
                    <a:srgbClr val="282828"/>
                  </a:solidFill>
                  <a:latin typeface="+mn-lt"/>
                  <a:ea typeface="ＭＳ Ｐゴシック" charset="0"/>
                </a:rPr>
                <a:t>Cleanup</a:t>
              </a:r>
            </a:p>
            <a:p>
              <a:pPr defTabSz="457189">
                <a:defRPr/>
              </a:pPr>
              <a:r>
                <a:rPr lang="en-US" sz="1200" kern="0" dirty="0">
                  <a:solidFill>
                    <a:srgbClr val="282828"/>
                  </a:solidFill>
                  <a:latin typeface="+mn-lt"/>
                  <a:ea typeface="ＭＳ Ｐゴシック" charset="0"/>
                </a:rPr>
                <a:t>Transformation</a:t>
              </a:r>
            </a:p>
          </p:txBody>
        </p:sp>
        <p:cxnSp>
          <p:nvCxnSpPr>
            <p:cNvPr id="163" name="Straight Connector 162">
              <a:extLst>
                <a:ext uri="{FF2B5EF4-FFF2-40B4-BE49-F238E27FC236}">
                  <a16:creationId xmlns:a16="http://schemas.microsoft.com/office/drawing/2014/main" id="{5E3DF217-0221-574D-A3A2-16CEEBA74A2F}"/>
                </a:ext>
              </a:extLst>
            </p:cNvPr>
            <p:cNvCxnSpPr>
              <a:cxnSpLocks/>
            </p:cNvCxnSpPr>
            <p:nvPr/>
          </p:nvCxnSpPr>
          <p:spPr>
            <a:xfrm flipH="1">
              <a:off x="1606152" y="2872552"/>
              <a:ext cx="2190687" cy="0"/>
            </a:xfrm>
            <a:prstGeom prst="line">
              <a:avLst/>
            </a:prstGeom>
            <a:noFill/>
            <a:ln w="25400" cap="rnd" cmpd="sng" algn="ctr">
              <a:solidFill>
                <a:srgbClr val="00BCEB">
                  <a:lumMod val="75000"/>
                </a:srgbClr>
              </a:solidFill>
              <a:prstDash val="solid"/>
            </a:ln>
            <a:effectLst/>
          </p:spPr>
        </p:cxnSp>
        <p:sp>
          <p:nvSpPr>
            <p:cNvPr id="164" name="Rectangle 163">
              <a:extLst>
                <a:ext uri="{FF2B5EF4-FFF2-40B4-BE49-F238E27FC236}">
                  <a16:creationId xmlns:a16="http://schemas.microsoft.com/office/drawing/2014/main" id="{26954779-8A7B-094C-A074-1662A9CA6166}"/>
                </a:ext>
              </a:extLst>
            </p:cNvPr>
            <p:cNvSpPr/>
            <p:nvPr/>
          </p:nvSpPr>
          <p:spPr>
            <a:xfrm>
              <a:off x="7728817" y="630748"/>
              <a:ext cx="923651" cy="338554"/>
            </a:xfrm>
            <a:prstGeom prst="rect">
              <a:avLst/>
            </a:prstGeom>
          </p:spPr>
          <p:txBody>
            <a:bodyPr wrap="none" anchor="b">
              <a:spAutoFit/>
            </a:bodyPr>
            <a:lstStyle/>
            <a:p>
              <a:pPr defTabSz="457189">
                <a:defRPr/>
              </a:pPr>
              <a:r>
                <a:rPr lang="en-US" sz="1600" kern="0" dirty="0">
                  <a:solidFill>
                    <a:srgbClr val="282828"/>
                  </a:solidFill>
                  <a:latin typeface="+mn-lt"/>
                  <a:ea typeface="ＭＳ Ｐゴシック" charset="0"/>
                </a:rPr>
                <a:t>Training</a:t>
              </a:r>
            </a:p>
          </p:txBody>
        </p:sp>
        <p:sp>
          <p:nvSpPr>
            <p:cNvPr id="165" name="Rectangle 164">
              <a:extLst>
                <a:ext uri="{FF2B5EF4-FFF2-40B4-BE49-F238E27FC236}">
                  <a16:creationId xmlns:a16="http://schemas.microsoft.com/office/drawing/2014/main" id="{0B6C9346-706C-1A42-B080-239A06E1163A}"/>
                </a:ext>
              </a:extLst>
            </p:cNvPr>
            <p:cNvSpPr/>
            <p:nvPr/>
          </p:nvSpPr>
          <p:spPr>
            <a:xfrm>
              <a:off x="7723629" y="1042962"/>
              <a:ext cx="1317990" cy="646331"/>
            </a:xfrm>
            <a:prstGeom prst="rect">
              <a:avLst/>
            </a:prstGeom>
          </p:spPr>
          <p:txBody>
            <a:bodyPr wrap="none">
              <a:spAutoFit/>
            </a:bodyPr>
            <a:lstStyle/>
            <a:p>
              <a:pPr defTabSz="457189">
                <a:defRPr/>
              </a:pPr>
              <a:r>
                <a:rPr lang="en-US" sz="1200" kern="0" dirty="0">
                  <a:solidFill>
                    <a:srgbClr val="282828"/>
                  </a:solidFill>
                  <a:latin typeface="+mn-lt"/>
                  <a:ea typeface="ＭＳ Ｐゴシック" charset="0"/>
                </a:rPr>
                <a:t>Model Dev</a:t>
              </a:r>
            </a:p>
            <a:p>
              <a:pPr defTabSz="457189">
                <a:defRPr/>
              </a:pPr>
              <a:r>
                <a:rPr lang="en-US" sz="1200" kern="0" dirty="0">
                  <a:solidFill>
                    <a:srgbClr val="282828"/>
                  </a:solidFill>
                  <a:latin typeface="+mn-lt"/>
                  <a:ea typeface="ＭＳ Ｐゴシック" charset="0"/>
                </a:rPr>
                <a:t>Model Validation</a:t>
              </a:r>
            </a:p>
            <a:p>
              <a:pPr defTabSz="457189">
                <a:defRPr/>
              </a:pPr>
              <a:r>
                <a:rPr lang="en-US" sz="1200" kern="0" dirty="0">
                  <a:solidFill>
                    <a:srgbClr val="282828"/>
                  </a:solidFill>
                  <a:latin typeface="+mn-lt"/>
                  <a:ea typeface="ＭＳ Ｐゴシック" charset="0"/>
                </a:rPr>
                <a:t>Model Execution</a:t>
              </a:r>
            </a:p>
          </p:txBody>
        </p:sp>
        <p:sp>
          <p:nvSpPr>
            <p:cNvPr id="166" name="Rectangle 165">
              <a:extLst>
                <a:ext uri="{FF2B5EF4-FFF2-40B4-BE49-F238E27FC236}">
                  <a16:creationId xmlns:a16="http://schemas.microsoft.com/office/drawing/2014/main" id="{9AE3354B-4E33-6140-833B-20590C1EAA41}"/>
                </a:ext>
              </a:extLst>
            </p:cNvPr>
            <p:cNvSpPr/>
            <p:nvPr/>
          </p:nvSpPr>
          <p:spPr>
            <a:xfrm>
              <a:off x="7116698" y="4058391"/>
              <a:ext cx="1672697" cy="461665"/>
            </a:xfrm>
            <a:prstGeom prst="rect">
              <a:avLst/>
            </a:prstGeom>
          </p:spPr>
          <p:txBody>
            <a:bodyPr wrap="square">
              <a:spAutoFit/>
            </a:bodyPr>
            <a:lstStyle/>
            <a:p>
              <a:pPr algn="r" defTabSz="457189">
                <a:defRPr/>
              </a:pPr>
              <a:r>
                <a:rPr lang="en-US" sz="1200" kern="0" dirty="0">
                  <a:solidFill>
                    <a:srgbClr val="282828"/>
                  </a:solidFill>
                  <a:latin typeface="+mn-lt"/>
                  <a:ea typeface="ＭＳ Ｐゴシック" charset="0"/>
                </a:rPr>
                <a:t>Application runtime at source of demand</a:t>
              </a:r>
            </a:p>
          </p:txBody>
        </p:sp>
      </p:grpSp>
      <p:sp>
        <p:nvSpPr>
          <p:cNvPr id="2" name="Title 1">
            <a:extLst>
              <a:ext uri="{FF2B5EF4-FFF2-40B4-BE49-F238E27FC236}">
                <a16:creationId xmlns:a16="http://schemas.microsoft.com/office/drawing/2014/main" id="{EF1E0076-7F9E-411D-9C2A-E864A59241DA}"/>
              </a:ext>
            </a:extLst>
          </p:cNvPr>
          <p:cNvSpPr>
            <a:spLocks noGrp="1"/>
          </p:cNvSpPr>
          <p:nvPr>
            <p:ph type="title"/>
          </p:nvPr>
        </p:nvSpPr>
        <p:spPr>
          <a:xfrm>
            <a:off x="338932" y="90316"/>
            <a:ext cx="8466137" cy="535781"/>
          </a:xfrm>
        </p:spPr>
        <p:txBody>
          <a:bodyPr/>
          <a:lstStyle/>
          <a:p>
            <a:r>
              <a:rPr lang="en-US" dirty="0">
                <a:solidFill>
                  <a:srgbClr val="282828"/>
                </a:solidFill>
                <a:ea typeface="ＭＳ Ｐゴシック" charset="0"/>
              </a:rPr>
              <a:t>AI/ML Strategy</a:t>
            </a:r>
            <a:endParaRPr lang="en-US" dirty="0"/>
          </a:p>
        </p:txBody>
      </p:sp>
      <p:sp>
        <p:nvSpPr>
          <p:cNvPr id="3" name="Rectangle 2">
            <a:extLst>
              <a:ext uri="{FF2B5EF4-FFF2-40B4-BE49-F238E27FC236}">
                <a16:creationId xmlns:a16="http://schemas.microsoft.com/office/drawing/2014/main" id="{AEF69C17-514A-453B-8E2F-3FA034A80F89}"/>
              </a:ext>
            </a:extLst>
          </p:cNvPr>
          <p:cNvSpPr/>
          <p:nvPr/>
        </p:nvSpPr>
        <p:spPr>
          <a:xfrm>
            <a:off x="4447607" y="2371695"/>
            <a:ext cx="248786" cy="400110"/>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4" name="Rectangle 3">
            <a:extLst>
              <a:ext uri="{FF2B5EF4-FFF2-40B4-BE49-F238E27FC236}">
                <a16:creationId xmlns:a16="http://schemas.microsoft.com/office/drawing/2014/main" id="{BE638522-B48F-4C56-ABE3-B1970828190F}"/>
              </a:ext>
            </a:extLst>
          </p:cNvPr>
          <p:cNvSpPr/>
          <p:nvPr/>
        </p:nvSpPr>
        <p:spPr>
          <a:xfrm>
            <a:off x="4447607" y="2371695"/>
            <a:ext cx="248786" cy="400110"/>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B1B9115C-9E65-4DAB-9F8F-24E0C7075926}"/>
              </a:ext>
            </a:extLst>
          </p:cNvPr>
          <p:cNvSpPr/>
          <p:nvPr/>
        </p:nvSpPr>
        <p:spPr>
          <a:xfrm>
            <a:off x="4447607" y="2371695"/>
            <a:ext cx="248786" cy="400110"/>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27731185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7"/>
                                        </p:tgtEl>
                                        <p:attrNameLst>
                                          <p:attrName>style.visibility</p:attrName>
                                        </p:attrNameLst>
                                      </p:cBhvr>
                                      <p:to>
                                        <p:strVal val="visible"/>
                                      </p:to>
                                    </p:set>
                                  </p:childTnLst>
                                </p:cTn>
                              </p:par>
                              <p:par>
                                <p:cTn id="7" presetID="2" presetClass="entr" presetSubtype="4" fill="hold" nodeType="withEffect">
                                  <p:stCondLst>
                                    <p:cond delay="0"/>
                                  </p:stCondLst>
                                  <p:childTnLst>
                                    <p:set>
                                      <p:cBhvr>
                                        <p:cTn id="8" dur="1" fill="hold">
                                          <p:stCondLst>
                                            <p:cond delay="0"/>
                                          </p:stCondLst>
                                        </p:cTn>
                                        <p:tgtEl>
                                          <p:spTgt spid="88"/>
                                        </p:tgtEl>
                                        <p:attrNameLst>
                                          <p:attrName>style.visibility</p:attrName>
                                        </p:attrNameLst>
                                      </p:cBhvr>
                                      <p:to>
                                        <p:strVal val="visible"/>
                                      </p:to>
                                    </p:set>
                                    <p:anim calcmode="lin" valueType="num">
                                      <p:cBhvr additive="base">
                                        <p:cTn id="9" dur="500" fill="hold"/>
                                        <p:tgtEl>
                                          <p:spTgt spid="88"/>
                                        </p:tgtEl>
                                        <p:attrNameLst>
                                          <p:attrName>ppt_x</p:attrName>
                                        </p:attrNameLst>
                                      </p:cBhvr>
                                      <p:tavLst>
                                        <p:tav tm="0">
                                          <p:val>
                                            <p:strVal val="#ppt_x"/>
                                          </p:val>
                                        </p:tav>
                                        <p:tav tm="100000">
                                          <p:val>
                                            <p:strVal val="#ppt_x"/>
                                          </p:val>
                                        </p:tav>
                                      </p:tavLst>
                                    </p:anim>
                                    <p:anim calcmode="lin" valueType="num">
                                      <p:cBhvr additive="base">
                                        <p:cTn id="10" dur="500" fill="hold"/>
                                        <p:tgtEl>
                                          <p:spTgt spid="88"/>
                                        </p:tgtEl>
                                        <p:attrNameLst>
                                          <p:attrName>ppt_y</p:attrName>
                                        </p:attrNameLst>
                                      </p:cBhvr>
                                      <p:tavLst>
                                        <p:tav tm="0">
                                          <p:val>
                                            <p:strVal val="1+#ppt_h/2"/>
                                          </p:val>
                                        </p:tav>
                                        <p:tav tm="100000">
                                          <p:val>
                                            <p:strVal val="#ppt_y"/>
                                          </p:val>
                                        </p:tav>
                                      </p:tavLst>
                                    </p:anim>
                                  </p:childTnLst>
                                </p:cTn>
                              </p:par>
                              <p:par>
                                <p:cTn id="11" presetID="2" presetClass="entr" presetSubtype="4"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anim calcmode="lin" valueType="num">
                                      <p:cBhvr additive="base">
                                        <p:cTn id="13" dur="500" fill="hold"/>
                                        <p:tgtEl>
                                          <p:spTgt spid="87"/>
                                        </p:tgtEl>
                                        <p:attrNameLst>
                                          <p:attrName>ppt_x</p:attrName>
                                        </p:attrNameLst>
                                      </p:cBhvr>
                                      <p:tavLst>
                                        <p:tav tm="0">
                                          <p:val>
                                            <p:strVal val="#ppt_x"/>
                                          </p:val>
                                        </p:tav>
                                        <p:tav tm="100000">
                                          <p:val>
                                            <p:strVal val="#ppt_x"/>
                                          </p:val>
                                        </p:tav>
                                      </p:tavLst>
                                    </p:anim>
                                    <p:anim calcmode="lin" valueType="num">
                                      <p:cBhvr additive="base">
                                        <p:cTn id="14"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2"/>
                                        </p:tgtEl>
                                        <p:attrNameLst>
                                          <p:attrName>style.visibility</p:attrName>
                                        </p:attrNameLst>
                                      </p:cBhvr>
                                      <p:to>
                                        <p:strVal val="visible"/>
                                      </p:to>
                                    </p:set>
                                    <p:anim calcmode="lin" valueType="num">
                                      <p:cBhvr additive="base">
                                        <p:cTn id="19" dur="500" fill="hold"/>
                                        <p:tgtEl>
                                          <p:spTgt spid="92"/>
                                        </p:tgtEl>
                                        <p:attrNameLst>
                                          <p:attrName>ppt_x</p:attrName>
                                        </p:attrNameLst>
                                      </p:cBhvr>
                                      <p:tavLst>
                                        <p:tav tm="0">
                                          <p:val>
                                            <p:strVal val="#ppt_x"/>
                                          </p:val>
                                        </p:tav>
                                        <p:tav tm="100000">
                                          <p:val>
                                            <p:strVal val="#ppt_x"/>
                                          </p:val>
                                        </p:tav>
                                      </p:tavLst>
                                    </p:anim>
                                    <p:anim calcmode="lin" valueType="num">
                                      <p:cBhvr additive="base">
                                        <p:cTn id="20" dur="500" fill="hold"/>
                                        <p:tgtEl>
                                          <p:spTgt spid="9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7"/>
                                        </p:tgtEl>
                                        <p:attrNameLst>
                                          <p:attrName>style.visibility</p:attrName>
                                        </p:attrNameLst>
                                      </p:cBhvr>
                                      <p:to>
                                        <p:strVal val="visible"/>
                                      </p:to>
                                    </p:set>
                                    <p:anim calcmode="lin" valueType="num">
                                      <p:cBhvr additive="base">
                                        <p:cTn id="23" dur="500" fill="hold"/>
                                        <p:tgtEl>
                                          <p:spTgt spid="97"/>
                                        </p:tgtEl>
                                        <p:attrNameLst>
                                          <p:attrName>ppt_x</p:attrName>
                                        </p:attrNameLst>
                                      </p:cBhvr>
                                      <p:tavLst>
                                        <p:tav tm="0">
                                          <p:val>
                                            <p:strVal val="#ppt_x"/>
                                          </p:val>
                                        </p:tav>
                                        <p:tav tm="100000">
                                          <p:val>
                                            <p:strVal val="#ppt_x"/>
                                          </p:val>
                                        </p:tav>
                                      </p:tavLst>
                                    </p:anim>
                                    <p:anim calcmode="lin" valueType="num">
                                      <p:cBhvr additive="base">
                                        <p:cTn id="24"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98"/>
                                        </p:tgtEl>
                                        <p:attrNameLst>
                                          <p:attrName>style.visibility</p:attrName>
                                        </p:attrNameLst>
                                      </p:cBhvr>
                                      <p:to>
                                        <p:strVal val="visible"/>
                                      </p:to>
                                    </p:set>
                                    <p:anim calcmode="lin" valueType="num">
                                      <p:cBhvr additive="base">
                                        <p:cTn id="29" dur="500" fill="hold"/>
                                        <p:tgtEl>
                                          <p:spTgt spid="98"/>
                                        </p:tgtEl>
                                        <p:attrNameLst>
                                          <p:attrName>ppt_x</p:attrName>
                                        </p:attrNameLst>
                                      </p:cBhvr>
                                      <p:tavLst>
                                        <p:tav tm="0">
                                          <p:val>
                                            <p:strVal val="#ppt_x"/>
                                          </p:val>
                                        </p:tav>
                                        <p:tav tm="100000">
                                          <p:val>
                                            <p:strVal val="#ppt_x"/>
                                          </p:val>
                                        </p:tav>
                                      </p:tavLst>
                                    </p:anim>
                                    <p:anim calcmode="lin" valueType="num">
                                      <p:cBhvr additive="base">
                                        <p:cTn id="30" dur="500" fill="hold"/>
                                        <p:tgtEl>
                                          <p:spTgt spid="9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36"/>
                                        </p:tgtEl>
                                        <p:attrNameLst>
                                          <p:attrName>style.visibility</p:attrName>
                                        </p:attrNameLst>
                                      </p:cBhvr>
                                      <p:to>
                                        <p:strVal val="visible"/>
                                      </p:to>
                                    </p:set>
                                    <p:anim calcmode="lin" valueType="num">
                                      <p:cBhvr additive="base">
                                        <p:cTn id="33" dur="500" fill="hold"/>
                                        <p:tgtEl>
                                          <p:spTgt spid="136"/>
                                        </p:tgtEl>
                                        <p:attrNameLst>
                                          <p:attrName>ppt_x</p:attrName>
                                        </p:attrNameLst>
                                      </p:cBhvr>
                                      <p:tavLst>
                                        <p:tav tm="0">
                                          <p:val>
                                            <p:strVal val="#ppt_x"/>
                                          </p:val>
                                        </p:tav>
                                        <p:tav tm="100000">
                                          <p:val>
                                            <p:strVal val="#ppt_x"/>
                                          </p:val>
                                        </p:tav>
                                      </p:tavLst>
                                    </p:anim>
                                    <p:anim calcmode="lin" valueType="num">
                                      <p:cBhvr additive="base">
                                        <p:cTn id="34" dur="500" fill="hold"/>
                                        <p:tgtEl>
                                          <p:spTgt spid="1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97" grpId="0"/>
      <p:bldP spid="13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7FDED10-02AA-0F43-B328-063201601675}"/>
              </a:ext>
            </a:extLst>
          </p:cNvPr>
          <p:cNvGrpSpPr/>
          <p:nvPr/>
        </p:nvGrpSpPr>
        <p:grpSpPr>
          <a:xfrm>
            <a:off x="116502" y="823941"/>
            <a:ext cx="2195263" cy="4121951"/>
            <a:chOff x="155336" y="1310300"/>
            <a:chExt cx="2927017" cy="5495934"/>
          </a:xfrm>
        </p:grpSpPr>
        <p:cxnSp>
          <p:nvCxnSpPr>
            <p:cNvPr id="14" name="Elbow Connector 13">
              <a:extLst>
                <a:ext uri="{FF2B5EF4-FFF2-40B4-BE49-F238E27FC236}">
                  <a16:creationId xmlns:a16="http://schemas.microsoft.com/office/drawing/2014/main" id="{6A618A4F-043D-C94E-9720-7E0D1E49F28A}"/>
                </a:ext>
              </a:extLst>
            </p:cNvPr>
            <p:cNvCxnSpPr>
              <a:cxnSpLocks/>
            </p:cNvCxnSpPr>
            <p:nvPr/>
          </p:nvCxnSpPr>
          <p:spPr bwMode="auto">
            <a:xfrm rot="16200000" flipV="1">
              <a:off x="-218223" y="3107782"/>
              <a:ext cx="1707031" cy="583460"/>
            </a:xfrm>
            <a:prstGeom prst="bentConnector3">
              <a:avLst>
                <a:gd name="adj1" fmla="val -1698"/>
              </a:avLst>
            </a:prstGeom>
            <a:solidFill>
              <a:schemeClr val="accent1"/>
            </a:solidFill>
            <a:ln w="12700" cap="flat" cmpd="sng" algn="ctr">
              <a:solidFill>
                <a:schemeClr val="bg2"/>
              </a:solidFill>
              <a:prstDash val="solid"/>
              <a:round/>
              <a:headEnd type="none" w="med" len="med"/>
              <a:tailEnd type="none" w="med" len="med"/>
            </a:ln>
            <a:effectLst/>
          </p:spPr>
        </p:cxnSp>
        <p:cxnSp>
          <p:nvCxnSpPr>
            <p:cNvPr id="78" name="Elbow Connector 77">
              <a:extLst>
                <a:ext uri="{FF2B5EF4-FFF2-40B4-BE49-F238E27FC236}">
                  <a16:creationId xmlns:a16="http://schemas.microsoft.com/office/drawing/2014/main" id="{42775090-2E1F-274D-AD9D-508771EC751D}"/>
                </a:ext>
              </a:extLst>
            </p:cNvPr>
            <p:cNvCxnSpPr>
              <a:cxnSpLocks/>
            </p:cNvCxnSpPr>
            <p:nvPr/>
          </p:nvCxnSpPr>
          <p:spPr bwMode="auto">
            <a:xfrm rot="5400000" flipH="1" flipV="1">
              <a:off x="1936603" y="3979971"/>
              <a:ext cx="712069" cy="150452"/>
            </a:xfrm>
            <a:prstGeom prst="bentConnector3">
              <a:avLst>
                <a:gd name="adj1" fmla="val -3755"/>
              </a:avLst>
            </a:prstGeom>
            <a:solidFill>
              <a:schemeClr val="accent1"/>
            </a:solidFill>
            <a:ln w="12700" cap="flat" cmpd="sng" algn="ctr">
              <a:solidFill>
                <a:schemeClr val="bg2"/>
              </a:solidFill>
              <a:prstDash val="solid"/>
              <a:round/>
              <a:headEnd type="none" w="med" len="med"/>
              <a:tailEnd type="none" w="med" len="med"/>
            </a:ln>
            <a:effectLst/>
          </p:spPr>
        </p:cxnSp>
        <p:cxnSp>
          <p:nvCxnSpPr>
            <p:cNvPr id="81" name="Elbow Connector 80">
              <a:extLst>
                <a:ext uri="{FF2B5EF4-FFF2-40B4-BE49-F238E27FC236}">
                  <a16:creationId xmlns:a16="http://schemas.microsoft.com/office/drawing/2014/main" id="{851359A8-3D0B-A742-8626-D88092EDD438}"/>
                </a:ext>
              </a:extLst>
            </p:cNvPr>
            <p:cNvCxnSpPr>
              <a:cxnSpLocks/>
            </p:cNvCxnSpPr>
            <p:nvPr/>
          </p:nvCxnSpPr>
          <p:spPr bwMode="auto">
            <a:xfrm rot="5400000">
              <a:off x="1263195" y="5310362"/>
              <a:ext cx="773970" cy="195508"/>
            </a:xfrm>
            <a:prstGeom prst="bentConnector3">
              <a:avLst>
                <a:gd name="adj1" fmla="val 98082"/>
              </a:avLst>
            </a:prstGeom>
            <a:solidFill>
              <a:schemeClr val="accent1"/>
            </a:solidFill>
            <a:ln w="12700" cap="flat" cmpd="sng" algn="ctr">
              <a:solidFill>
                <a:schemeClr val="bg2"/>
              </a:solidFill>
              <a:prstDash val="solid"/>
              <a:round/>
              <a:headEnd type="none" w="med" len="med"/>
              <a:tailEnd type="none" w="med" len="med"/>
            </a:ln>
            <a:effectLst/>
          </p:spPr>
        </p:cxnSp>
        <p:sp>
          <p:nvSpPr>
            <p:cNvPr id="38" name="Rectangle 37">
              <a:extLst>
                <a:ext uri="{FF2B5EF4-FFF2-40B4-BE49-F238E27FC236}">
                  <a16:creationId xmlns:a16="http://schemas.microsoft.com/office/drawing/2014/main" id="{37611ADB-A6C9-084C-8008-2F3C9E7B30D6}"/>
                </a:ext>
              </a:extLst>
            </p:cNvPr>
            <p:cNvSpPr>
              <a:spLocks noChangeAspect="1"/>
            </p:cNvSpPr>
            <p:nvPr/>
          </p:nvSpPr>
          <p:spPr>
            <a:xfrm>
              <a:off x="155336" y="5575127"/>
              <a:ext cx="1523261" cy="615553"/>
            </a:xfrm>
            <a:prstGeom prst="rect">
              <a:avLst/>
            </a:prstGeom>
          </p:spPr>
          <p:txBody>
            <a:bodyPr wrap="square" anchor="b">
              <a:spAutoFit/>
            </a:bodyPr>
            <a:lstStyle/>
            <a:p>
              <a:pPr defTabSz="457189"/>
              <a:r>
                <a:rPr lang="en-US" sz="1200" b="1">
                  <a:solidFill>
                    <a:srgbClr val="282828"/>
                  </a:solidFill>
                  <a:latin typeface="CiscoSansTT ExtraLight"/>
                  <a:ea typeface="ＭＳ Ｐゴシック" charset="0"/>
                </a:rPr>
                <a:t>Deployment/</a:t>
              </a:r>
              <a:br>
                <a:rPr lang="en-US" sz="1200" b="1">
                  <a:solidFill>
                    <a:srgbClr val="282828"/>
                  </a:solidFill>
                  <a:latin typeface="CiscoSansTT ExtraLight"/>
                  <a:ea typeface="ＭＳ Ｐゴシック" charset="0"/>
                </a:rPr>
              </a:br>
              <a:r>
                <a:rPr lang="en-US" sz="1200" b="1">
                  <a:solidFill>
                    <a:srgbClr val="282828"/>
                  </a:solidFill>
                  <a:latin typeface="CiscoSansTT ExtraLight"/>
                  <a:ea typeface="ＭＳ Ｐゴシック" charset="0"/>
                </a:rPr>
                <a:t>Inference</a:t>
              </a:r>
            </a:p>
          </p:txBody>
        </p:sp>
        <p:sp>
          <p:nvSpPr>
            <p:cNvPr id="50" name="Rectangle 49">
              <a:extLst>
                <a:ext uri="{FF2B5EF4-FFF2-40B4-BE49-F238E27FC236}">
                  <a16:creationId xmlns:a16="http://schemas.microsoft.com/office/drawing/2014/main" id="{BA9E8C3F-2ACA-9D4B-88EA-9DF037B2D387}"/>
                </a:ext>
              </a:extLst>
            </p:cNvPr>
            <p:cNvSpPr>
              <a:spLocks noChangeAspect="1"/>
            </p:cNvSpPr>
            <p:nvPr/>
          </p:nvSpPr>
          <p:spPr>
            <a:xfrm>
              <a:off x="155336" y="1310300"/>
              <a:ext cx="815517" cy="430887"/>
            </a:xfrm>
            <a:prstGeom prst="rect">
              <a:avLst/>
            </a:prstGeom>
          </p:spPr>
          <p:txBody>
            <a:bodyPr wrap="square" anchor="b">
              <a:spAutoFit/>
            </a:bodyPr>
            <a:lstStyle/>
            <a:p>
              <a:pPr defTabSz="457189"/>
              <a:r>
                <a:rPr lang="en-US" sz="1500" b="1">
                  <a:solidFill>
                    <a:srgbClr val="282828"/>
                  </a:solidFill>
                  <a:latin typeface="CiscoSansTT ExtraLight"/>
                  <a:ea typeface="ＭＳ Ｐゴシック" charset="0"/>
                </a:rPr>
                <a:t>Data</a:t>
              </a:r>
            </a:p>
          </p:txBody>
        </p:sp>
        <p:sp>
          <p:nvSpPr>
            <p:cNvPr id="52" name="Rectangle 51">
              <a:extLst>
                <a:ext uri="{FF2B5EF4-FFF2-40B4-BE49-F238E27FC236}">
                  <a16:creationId xmlns:a16="http://schemas.microsoft.com/office/drawing/2014/main" id="{9668E473-B69D-A149-B9EA-DE4310BC7BB3}"/>
                </a:ext>
              </a:extLst>
            </p:cNvPr>
            <p:cNvSpPr>
              <a:spLocks noChangeAspect="1"/>
            </p:cNvSpPr>
            <p:nvPr/>
          </p:nvSpPr>
          <p:spPr>
            <a:xfrm>
              <a:off x="155336" y="1676639"/>
              <a:ext cx="2093212" cy="861775"/>
            </a:xfrm>
            <a:prstGeom prst="rect">
              <a:avLst/>
            </a:prstGeom>
          </p:spPr>
          <p:txBody>
            <a:bodyPr wrap="square">
              <a:spAutoFit/>
            </a:bodyPr>
            <a:lstStyle/>
            <a:p>
              <a:pPr defTabSz="457189"/>
              <a:r>
                <a:rPr lang="en-US" sz="1200" dirty="0">
                  <a:solidFill>
                    <a:srgbClr val="282828"/>
                  </a:solidFill>
                  <a:latin typeface="CiscoSansTT ExtraLight"/>
                  <a:ea typeface="ＭＳ Ｐゴシック" charset="0"/>
                </a:rPr>
                <a:t>Source &amp; Aggregate</a:t>
              </a:r>
            </a:p>
            <a:p>
              <a:pPr defTabSz="457189"/>
              <a:r>
                <a:rPr lang="en-US" sz="1200" dirty="0">
                  <a:solidFill>
                    <a:srgbClr val="282828"/>
                  </a:solidFill>
                  <a:latin typeface="CiscoSansTT ExtraLight"/>
                  <a:ea typeface="ＭＳ Ｐゴシック" charset="0"/>
                </a:rPr>
                <a:t>Cleanup</a:t>
              </a:r>
            </a:p>
            <a:p>
              <a:pPr defTabSz="457189"/>
              <a:r>
                <a:rPr lang="en-US" sz="1200" dirty="0">
                  <a:solidFill>
                    <a:srgbClr val="282828"/>
                  </a:solidFill>
                  <a:latin typeface="CiscoSansTT ExtraLight"/>
                  <a:ea typeface="ＭＳ Ｐゴシック" charset="0"/>
                </a:rPr>
                <a:t>Transformation</a:t>
              </a:r>
            </a:p>
          </p:txBody>
        </p:sp>
        <p:sp>
          <p:nvSpPr>
            <p:cNvPr id="55" name="Rectangle 54">
              <a:extLst>
                <a:ext uri="{FF2B5EF4-FFF2-40B4-BE49-F238E27FC236}">
                  <a16:creationId xmlns:a16="http://schemas.microsoft.com/office/drawing/2014/main" id="{0AB905BC-725A-EA4E-9AD4-5EAD78B3C4B3}"/>
                </a:ext>
              </a:extLst>
            </p:cNvPr>
            <p:cNvSpPr>
              <a:spLocks noChangeAspect="1"/>
            </p:cNvSpPr>
            <p:nvPr/>
          </p:nvSpPr>
          <p:spPr>
            <a:xfrm>
              <a:off x="1334545" y="2570999"/>
              <a:ext cx="1090897" cy="430887"/>
            </a:xfrm>
            <a:prstGeom prst="rect">
              <a:avLst/>
            </a:prstGeom>
          </p:spPr>
          <p:txBody>
            <a:bodyPr wrap="none" anchor="b">
              <a:spAutoFit/>
            </a:bodyPr>
            <a:lstStyle/>
            <a:p>
              <a:pPr defTabSz="457189"/>
              <a:r>
                <a:rPr lang="en-US" sz="1500" b="1">
                  <a:solidFill>
                    <a:srgbClr val="282828"/>
                  </a:solidFill>
                  <a:latin typeface="CiscoSansTT ExtraLight"/>
                  <a:ea typeface="ＭＳ Ｐゴシック" charset="0"/>
                </a:rPr>
                <a:t>Training</a:t>
              </a:r>
            </a:p>
          </p:txBody>
        </p:sp>
        <p:sp>
          <p:nvSpPr>
            <p:cNvPr id="56" name="Rectangle 55">
              <a:extLst>
                <a:ext uri="{FF2B5EF4-FFF2-40B4-BE49-F238E27FC236}">
                  <a16:creationId xmlns:a16="http://schemas.microsoft.com/office/drawing/2014/main" id="{13DAA78D-D0C3-664E-A11A-0EB165BD8110}"/>
                </a:ext>
              </a:extLst>
            </p:cNvPr>
            <p:cNvSpPr>
              <a:spLocks noChangeAspect="1"/>
            </p:cNvSpPr>
            <p:nvPr/>
          </p:nvSpPr>
          <p:spPr>
            <a:xfrm>
              <a:off x="1334545" y="2943710"/>
              <a:ext cx="1747808" cy="861775"/>
            </a:xfrm>
            <a:prstGeom prst="rect">
              <a:avLst/>
            </a:prstGeom>
          </p:spPr>
          <p:txBody>
            <a:bodyPr wrap="square">
              <a:spAutoFit/>
            </a:bodyPr>
            <a:lstStyle/>
            <a:p>
              <a:pPr defTabSz="457189"/>
              <a:r>
                <a:rPr lang="en-US" sz="1200">
                  <a:solidFill>
                    <a:srgbClr val="282828"/>
                  </a:solidFill>
                  <a:latin typeface="CiscoSansTT ExtraLight"/>
                  <a:ea typeface="ＭＳ Ｐゴシック" charset="0"/>
                </a:rPr>
                <a:t>Model Dev</a:t>
              </a:r>
            </a:p>
            <a:p>
              <a:pPr defTabSz="457189"/>
              <a:r>
                <a:rPr lang="en-US" sz="1200">
                  <a:solidFill>
                    <a:srgbClr val="282828"/>
                  </a:solidFill>
                  <a:latin typeface="CiscoSansTT ExtraLight"/>
                  <a:ea typeface="ＭＳ Ｐゴシック" charset="0"/>
                </a:rPr>
                <a:t>Model Validation</a:t>
              </a:r>
            </a:p>
            <a:p>
              <a:pPr defTabSz="457189"/>
              <a:r>
                <a:rPr lang="en-US" sz="1200">
                  <a:solidFill>
                    <a:srgbClr val="282828"/>
                  </a:solidFill>
                  <a:latin typeface="CiscoSansTT ExtraLight"/>
                  <a:ea typeface="ＭＳ Ｐゴシック" charset="0"/>
                </a:rPr>
                <a:t>Model Execution</a:t>
              </a:r>
            </a:p>
          </p:txBody>
        </p:sp>
        <p:grpSp>
          <p:nvGrpSpPr>
            <p:cNvPr id="3" name="Group 2">
              <a:extLst>
                <a:ext uri="{FF2B5EF4-FFF2-40B4-BE49-F238E27FC236}">
                  <a16:creationId xmlns:a16="http://schemas.microsoft.com/office/drawing/2014/main" id="{36BFB3B4-4B27-144B-9ED8-6546C1361B5D}"/>
                </a:ext>
              </a:extLst>
            </p:cNvPr>
            <p:cNvGrpSpPr/>
            <p:nvPr/>
          </p:nvGrpSpPr>
          <p:grpSpPr>
            <a:xfrm>
              <a:off x="831911" y="3936388"/>
              <a:ext cx="1209081" cy="1287043"/>
              <a:chOff x="1118992" y="2554134"/>
              <a:chExt cx="1209081" cy="1287043"/>
            </a:xfrm>
          </p:grpSpPr>
          <p:sp>
            <p:nvSpPr>
              <p:cNvPr id="58" name="Arc 57">
                <a:extLst>
                  <a:ext uri="{FF2B5EF4-FFF2-40B4-BE49-F238E27FC236}">
                    <a16:creationId xmlns:a16="http://schemas.microsoft.com/office/drawing/2014/main" id="{2D319ED2-A1FB-7040-B48E-95E61239E5E8}"/>
                  </a:ext>
                </a:extLst>
              </p:cNvPr>
              <p:cNvSpPr/>
              <p:nvPr/>
            </p:nvSpPr>
            <p:spPr>
              <a:xfrm>
                <a:off x="1118992" y="2632094"/>
                <a:ext cx="1209081" cy="1209083"/>
              </a:xfrm>
              <a:prstGeom prst="arc">
                <a:avLst>
                  <a:gd name="adj1" fmla="val 16200000"/>
                  <a:gd name="adj2" fmla="val 1852541"/>
                </a:avLst>
              </a:prstGeom>
              <a:noFill/>
              <a:ln w="469900" cap="rnd">
                <a:solidFill>
                  <a:schemeClr val="accent4">
                    <a:lumMod val="40000"/>
                    <a:lumOff val="60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9" name="Arc 58">
                <a:extLst>
                  <a:ext uri="{FF2B5EF4-FFF2-40B4-BE49-F238E27FC236}">
                    <a16:creationId xmlns:a16="http://schemas.microsoft.com/office/drawing/2014/main" id="{D5F052D7-931F-514B-AE7C-3877CA5DA963}"/>
                  </a:ext>
                </a:extLst>
              </p:cNvPr>
              <p:cNvSpPr/>
              <p:nvPr/>
            </p:nvSpPr>
            <p:spPr>
              <a:xfrm>
                <a:off x="1118992" y="2632094"/>
                <a:ext cx="1209081" cy="1209083"/>
              </a:xfrm>
              <a:prstGeom prst="arc">
                <a:avLst>
                  <a:gd name="adj1" fmla="val 1850839"/>
                  <a:gd name="adj2" fmla="val 8941600"/>
                </a:avLst>
              </a:prstGeom>
              <a:noFill/>
              <a:ln w="469900" cap="rnd">
                <a:solidFill>
                  <a:schemeClr val="accent4">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60" name="Arc 59">
                <a:extLst>
                  <a:ext uri="{FF2B5EF4-FFF2-40B4-BE49-F238E27FC236}">
                    <a16:creationId xmlns:a16="http://schemas.microsoft.com/office/drawing/2014/main" id="{9400B0BF-1227-344B-AE33-812252A0C209}"/>
                  </a:ext>
                </a:extLst>
              </p:cNvPr>
              <p:cNvSpPr/>
              <p:nvPr/>
            </p:nvSpPr>
            <p:spPr>
              <a:xfrm>
                <a:off x="1118992" y="2632094"/>
                <a:ext cx="1209081" cy="1209083"/>
              </a:xfrm>
              <a:prstGeom prst="arc">
                <a:avLst>
                  <a:gd name="adj1" fmla="val 8953331"/>
                  <a:gd name="adj2" fmla="val 16193746"/>
                </a:avLst>
              </a:prstGeom>
              <a:noFill/>
              <a:ln w="469900" cap="rnd">
                <a:solidFill>
                  <a:schemeClr val="accent4">
                    <a:lumMod val="20000"/>
                    <a:lumOff val="80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61" name="Freeform: Shape 112">
                <a:extLst>
                  <a:ext uri="{FF2B5EF4-FFF2-40B4-BE49-F238E27FC236}">
                    <a16:creationId xmlns:a16="http://schemas.microsoft.com/office/drawing/2014/main" id="{8CC37C55-9141-FC40-8A40-0AD4E5DDF98C}"/>
                  </a:ext>
                </a:extLst>
              </p:cNvPr>
              <p:cNvSpPr/>
              <p:nvPr/>
            </p:nvSpPr>
            <p:spPr>
              <a:xfrm>
                <a:off x="1645572" y="2554134"/>
                <a:ext cx="155921" cy="15592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3093" tIns="93093" rIns="93093" bIns="93093" numCol="1" spcCol="1270" anchor="ctr" anchorCtr="0">
                <a:noAutofit/>
              </a:bodyPr>
              <a:lstStyle/>
              <a:p>
                <a:pPr algn="ctr" defTabSz="844529">
                  <a:lnSpc>
                    <a:spcPct val="90000"/>
                  </a:lnSpc>
                  <a:spcAft>
                    <a:spcPct val="35000"/>
                  </a:spcAft>
                </a:pPr>
                <a:endParaRPr lang="en-US" sz="1900">
                  <a:solidFill>
                    <a:srgbClr val="005073"/>
                  </a:solidFill>
                  <a:latin typeface="CiscoSansTT ExtraLight"/>
                </a:endParaRPr>
              </a:p>
            </p:txBody>
          </p:sp>
          <p:sp>
            <p:nvSpPr>
              <p:cNvPr id="62" name="Freeform: Shape 113">
                <a:extLst>
                  <a:ext uri="{FF2B5EF4-FFF2-40B4-BE49-F238E27FC236}">
                    <a16:creationId xmlns:a16="http://schemas.microsoft.com/office/drawing/2014/main" id="{51006D17-D93A-8E47-BE74-FDBCE7E68CF8}"/>
                  </a:ext>
                </a:extLst>
              </p:cNvPr>
              <p:cNvSpPr/>
              <p:nvPr/>
            </p:nvSpPr>
            <p:spPr>
              <a:xfrm>
                <a:off x="2164630" y="3468470"/>
                <a:ext cx="155921" cy="155922"/>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3093" tIns="93093" rIns="93093" bIns="93093" numCol="1" spcCol="1270" anchor="ctr" anchorCtr="0">
                <a:noAutofit/>
              </a:bodyPr>
              <a:lstStyle/>
              <a:p>
                <a:pPr algn="ctr" defTabSz="844529">
                  <a:lnSpc>
                    <a:spcPct val="90000"/>
                  </a:lnSpc>
                  <a:spcAft>
                    <a:spcPct val="35000"/>
                  </a:spcAft>
                </a:pPr>
                <a:endParaRPr lang="en-US" sz="1900">
                  <a:solidFill>
                    <a:srgbClr val="005073"/>
                  </a:solidFill>
                  <a:latin typeface="CiscoSansTT ExtraLight"/>
                </a:endParaRPr>
              </a:p>
            </p:txBody>
          </p:sp>
          <p:sp>
            <p:nvSpPr>
              <p:cNvPr id="63" name="Freeform: Shape 114">
                <a:extLst>
                  <a:ext uri="{FF2B5EF4-FFF2-40B4-BE49-F238E27FC236}">
                    <a16:creationId xmlns:a16="http://schemas.microsoft.com/office/drawing/2014/main" id="{F678C500-C07B-0843-BE3E-951C875984E8}"/>
                  </a:ext>
                </a:extLst>
              </p:cNvPr>
              <p:cNvSpPr/>
              <p:nvPr/>
            </p:nvSpPr>
            <p:spPr>
              <a:xfrm>
                <a:off x="1126355" y="3468470"/>
                <a:ext cx="155921" cy="155922"/>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3093" tIns="93093" rIns="93093" bIns="93093" numCol="1" spcCol="1270" anchor="ctr" anchorCtr="0">
                <a:noAutofit/>
              </a:bodyPr>
              <a:lstStyle/>
              <a:p>
                <a:pPr algn="ctr" defTabSz="844529">
                  <a:lnSpc>
                    <a:spcPct val="90000"/>
                  </a:lnSpc>
                  <a:spcAft>
                    <a:spcPct val="35000"/>
                  </a:spcAft>
                </a:pPr>
                <a:endParaRPr lang="en-US" sz="1900">
                  <a:solidFill>
                    <a:srgbClr val="005073"/>
                  </a:solidFill>
                  <a:latin typeface="CiscoSansTT ExtraLight"/>
                </a:endParaRPr>
              </a:p>
            </p:txBody>
          </p:sp>
          <p:sp>
            <p:nvSpPr>
              <p:cNvPr id="74" name="Rounded Rectangle 362">
                <a:extLst>
                  <a:ext uri="{FF2B5EF4-FFF2-40B4-BE49-F238E27FC236}">
                    <a16:creationId xmlns:a16="http://schemas.microsoft.com/office/drawing/2014/main" id="{67867A1C-4752-1540-A584-EFFD7CF7F6FD}"/>
                  </a:ext>
                </a:extLst>
              </p:cNvPr>
              <p:cNvSpPr/>
              <p:nvPr/>
            </p:nvSpPr>
            <p:spPr>
              <a:xfrm rot="2700000">
                <a:off x="1695251" y="2603608"/>
                <a:ext cx="71608"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75" name="Rounded Rectangle 363">
                <a:extLst>
                  <a:ext uri="{FF2B5EF4-FFF2-40B4-BE49-F238E27FC236}">
                    <a16:creationId xmlns:a16="http://schemas.microsoft.com/office/drawing/2014/main" id="{6376AF94-88E9-FC44-9B32-E6702F365380}"/>
                  </a:ext>
                </a:extLst>
              </p:cNvPr>
              <p:cNvSpPr/>
              <p:nvPr/>
            </p:nvSpPr>
            <p:spPr>
              <a:xfrm rot="18900000">
                <a:off x="1695250" y="2638505"/>
                <a:ext cx="71609"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76" name="Freeform 364">
                <a:extLst>
                  <a:ext uri="{FF2B5EF4-FFF2-40B4-BE49-F238E27FC236}">
                    <a16:creationId xmlns:a16="http://schemas.microsoft.com/office/drawing/2014/main" id="{472DFAAE-3672-F64B-8FD0-33E1157CA35F}"/>
                  </a:ext>
                </a:extLst>
              </p:cNvPr>
              <p:cNvSpPr/>
              <p:nvPr/>
            </p:nvSpPr>
            <p:spPr>
              <a:xfrm rot="2700000">
                <a:off x="1737008" y="2621423"/>
                <a:ext cx="22990" cy="22990"/>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chemeClr val="accent4">
                  <a:lumMod val="50000"/>
                </a:schemeClr>
              </a:solidFill>
              <a:ln w="12700">
                <a:solidFill>
                  <a:schemeClr val="accent4">
                    <a:lumMod val="50000"/>
                  </a:schemeClr>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71" name="Rounded Rectangle 362">
                <a:extLst>
                  <a:ext uri="{FF2B5EF4-FFF2-40B4-BE49-F238E27FC236}">
                    <a16:creationId xmlns:a16="http://schemas.microsoft.com/office/drawing/2014/main" id="{F0B4B37C-CE94-0344-A4EC-1B735CC8531D}"/>
                  </a:ext>
                </a:extLst>
              </p:cNvPr>
              <p:cNvSpPr/>
              <p:nvPr/>
            </p:nvSpPr>
            <p:spPr>
              <a:xfrm rot="10195449">
                <a:off x="2219201" y="3550266"/>
                <a:ext cx="71607"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72" name="Rounded Rectangle 363">
                <a:extLst>
                  <a:ext uri="{FF2B5EF4-FFF2-40B4-BE49-F238E27FC236}">
                    <a16:creationId xmlns:a16="http://schemas.microsoft.com/office/drawing/2014/main" id="{EFBB46B2-F2CC-0847-B1D7-9A124AB91665}"/>
                  </a:ext>
                </a:extLst>
              </p:cNvPr>
              <p:cNvSpPr/>
              <p:nvPr/>
            </p:nvSpPr>
            <p:spPr>
              <a:xfrm rot="4795449">
                <a:off x="2190588" y="3530288"/>
                <a:ext cx="71609"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73" name="Freeform 364">
                <a:extLst>
                  <a:ext uri="{FF2B5EF4-FFF2-40B4-BE49-F238E27FC236}">
                    <a16:creationId xmlns:a16="http://schemas.microsoft.com/office/drawing/2014/main" id="{5924B7E2-E93D-1146-80C2-7DBDAC00307C}"/>
                  </a:ext>
                </a:extLst>
              </p:cNvPr>
              <p:cNvSpPr/>
              <p:nvPr/>
            </p:nvSpPr>
            <p:spPr>
              <a:xfrm rot="10195449">
                <a:off x="2219214" y="3554950"/>
                <a:ext cx="22990" cy="22990"/>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chemeClr val="accent4">
                  <a:lumMod val="50000"/>
                </a:schemeClr>
              </a:solidFill>
              <a:ln w="12700">
                <a:solidFill>
                  <a:schemeClr val="accent4">
                    <a:lumMod val="50000"/>
                  </a:schemeClr>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sp>
            <p:nvSpPr>
              <p:cNvPr id="68" name="Rounded Rectangle 362">
                <a:extLst>
                  <a:ext uri="{FF2B5EF4-FFF2-40B4-BE49-F238E27FC236}">
                    <a16:creationId xmlns:a16="http://schemas.microsoft.com/office/drawing/2014/main" id="{71424081-AD8F-4647-B831-02F3A70CEA4F}"/>
                  </a:ext>
                </a:extLst>
              </p:cNvPr>
              <p:cNvSpPr/>
              <p:nvPr/>
            </p:nvSpPr>
            <p:spPr>
              <a:xfrm rot="17100000">
                <a:off x="1151738" y="3536377"/>
                <a:ext cx="71607"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69" name="Rounded Rectangle 363">
                <a:extLst>
                  <a:ext uri="{FF2B5EF4-FFF2-40B4-BE49-F238E27FC236}">
                    <a16:creationId xmlns:a16="http://schemas.microsoft.com/office/drawing/2014/main" id="{B6591FC6-2EB7-4B4A-86F4-D0439E31E066}"/>
                  </a:ext>
                </a:extLst>
              </p:cNvPr>
              <p:cNvSpPr/>
              <p:nvPr/>
            </p:nvSpPr>
            <p:spPr>
              <a:xfrm rot="11700000">
                <a:off x="1181959" y="3518930"/>
                <a:ext cx="71609" cy="23724"/>
              </a:xfrm>
              <a:prstGeom prst="roundRect">
                <a:avLst>
                  <a:gd name="adj" fmla="val 50000"/>
                </a:avLst>
              </a:prstGeom>
              <a:solidFill>
                <a:srgbClr val="00B0FF"/>
              </a:solidFill>
              <a:ln>
                <a:solidFill>
                  <a:srgbClr val="00B0FF"/>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cs typeface="ＭＳ Ｐゴシック" charset="0"/>
                </a:endParaRPr>
              </a:p>
            </p:txBody>
          </p:sp>
          <p:sp>
            <p:nvSpPr>
              <p:cNvPr id="70" name="Freeform 364">
                <a:extLst>
                  <a:ext uri="{FF2B5EF4-FFF2-40B4-BE49-F238E27FC236}">
                    <a16:creationId xmlns:a16="http://schemas.microsoft.com/office/drawing/2014/main" id="{2ACCF5C2-C897-0E44-AFE5-BC5706DE41A5}"/>
                  </a:ext>
                </a:extLst>
              </p:cNvPr>
              <p:cNvSpPr/>
              <p:nvPr/>
            </p:nvSpPr>
            <p:spPr>
              <a:xfrm rot="17100000">
                <a:off x="1182433" y="3512909"/>
                <a:ext cx="22990" cy="22990"/>
              </a:xfrm>
              <a:custGeom>
                <a:avLst/>
                <a:gdLst>
                  <a:gd name="connsiteX0" fmla="*/ 18747 w 124056"/>
                  <a:gd name="connsiteY0" fmla="*/ 18748 h 124055"/>
                  <a:gd name="connsiteX1" fmla="*/ 64008 w 124056"/>
                  <a:gd name="connsiteY1" fmla="*/ 0 h 124055"/>
                  <a:gd name="connsiteX2" fmla="*/ 88923 w 124056"/>
                  <a:gd name="connsiteY2" fmla="*/ 5030 h 124055"/>
                  <a:gd name="connsiteX3" fmla="*/ 106905 w 124056"/>
                  <a:gd name="connsiteY3" fmla="*/ 17154 h 124055"/>
                  <a:gd name="connsiteX4" fmla="*/ 119026 w 124056"/>
                  <a:gd name="connsiteY4" fmla="*/ 35132 h 124055"/>
                  <a:gd name="connsiteX5" fmla="*/ 124056 w 124056"/>
                  <a:gd name="connsiteY5" fmla="*/ 60047 h 124055"/>
                  <a:gd name="connsiteX6" fmla="*/ 60048 w 124056"/>
                  <a:gd name="connsiteY6" fmla="*/ 124055 h 124055"/>
                  <a:gd name="connsiteX7" fmla="*/ 0 w 124056"/>
                  <a:gd name="connsiteY7" fmla="*/ 124055 h 124055"/>
                  <a:gd name="connsiteX8" fmla="*/ 0 w 124056"/>
                  <a:gd name="connsiteY8" fmla="*/ 64008 h 124055"/>
                  <a:gd name="connsiteX9" fmla="*/ 18747 w 124056"/>
                  <a:gd name="connsiteY9" fmla="*/ 18748 h 12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6" h="124055">
                    <a:moveTo>
                      <a:pt x="18747" y="18748"/>
                    </a:moveTo>
                    <a:cubicBezTo>
                      <a:pt x="30330" y="7164"/>
                      <a:pt x="46332" y="0"/>
                      <a:pt x="64008" y="0"/>
                    </a:cubicBezTo>
                    <a:cubicBezTo>
                      <a:pt x="72846" y="0"/>
                      <a:pt x="81265" y="1791"/>
                      <a:pt x="88923" y="5030"/>
                    </a:cubicBezTo>
                    <a:lnTo>
                      <a:pt x="106905" y="17154"/>
                    </a:lnTo>
                    <a:lnTo>
                      <a:pt x="119026" y="35132"/>
                    </a:lnTo>
                    <a:cubicBezTo>
                      <a:pt x="122265" y="42790"/>
                      <a:pt x="124056" y="51209"/>
                      <a:pt x="124056" y="60047"/>
                    </a:cubicBezTo>
                    <a:cubicBezTo>
                      <a:pt x="124056" y="95398"/>
                      <a:pt x="95399" y="124055"/>
                      <a:pt x="60048" y="124055"/>
                    </a:cubicBezTo>
                    <a:lnTo>
                      <a:pt x="0" y="124055"/>
                    </a:lnTo>
                    <a:lnTo>
                      <a:pt x="0" y="64008"/>
                    </a:lnTo>
                    <a:cubicBezTo>
                      <a:pt x="0" y="46333"/>
                      <a:pt x="7164" y="30331"/>
                      <a:pt x="18747" y="18748"/>
                    </a:cubicBezTo>
                    <a:close/>
                  </a:path>
                </a:pathLst>
              </a:custGeom>
              <a:solidFill>
                <a:schemeClr val="accent4">
                  <a:lumMod val="50000"/>
                </a:schemeClr>
              </a:solidFill>
              <a:ln w="12700">
                <a:solidFill>
                  <a:schemeClr val="accent1">
                    <a:lumMod val="75000"/>
                  </a:schemeClr>
                </a:solidFill>
              </a:ln>
            </p:spPr>
            <p:txBody>
              <a:bodyPr vert="horz" wrap="square" lIns="91440" tIns="45720" rIns="91440" bIns="45720" numCol="1" anchor="t" anchorCtr="0" compatLnSpc="1">
                <a:prstTxWarp prst="textNoShape">
                  <a:avLst/>
                </a:prstTxWarp>
              </a:bodyPr>
              <a:lstStyle/>
              <a:p>
                <a:pPr defTabSz="457189"/>
                <a:endParaRPr lang="en-US" sz="1800">
                  <a:solidFill>
                    <a:srgbClr val="282828"/>
                  </a:solidFill>
                  <a:ea typeface="ＭＳ Ｐゴシック" charset="0"/>
                </a:endParaRPr>
              </a:p>
            </p:txBody>
          </p:sp>
        </p:grpSp>
        <p:sp>
          <p:nvSpPr>
            <p:cNvPr id="77" name="Rectangle 76">
              <a:extLst>
                <a:ext uri="{FF2B5EF4-FFF2-40B4-BE49-F238E27FC236}">
                  <a16:creationId xmlns:a16="http://schemas.microsoft.com/office/drawing/2014/main" id="{7A8BEB86-646F-D34E-B1FE-9A9BDA9EFB0F}"/>
                </a:ext>
              </a:extLst>
            </p:cNvPr>
            <p:cNvSpPr>
              <a:spLocks noChangeAspect="1"/>
            </p:cNvSpPr>
            <p:nvPr/>
          </p:nvSpPr>
          <p:spPr>
            <a:xfrm>
              <a:off x="155336" y="6190681"/>
              <a:ext cx="2303206" cy="615553"/>
            </a:xfrm>
            <a:prstGeom prst="rect">
              <a:avLst/>
            </a:prstGeom>
          </p:spPr>
          <p:txBody>
            <a:bodyPr wrap="square">
              <a:spAutoFit/>
            </a:bodyPr>
            <a:lstStyle/>
            <a:p>
              <a:pPr defTabSz="457189"/>
              <a:r>
                <a:rPr lang="en-US" sz="1200">
                  <a:solidFill>
                    <a:srgbClr val="282828"/>
                  </a:solidFill>
                  <a:latin typeface="CiscoSansTT ExtraLight"/>
                  <a:ea typeface="ＭＳ Ｐゴシック" charset="0"/>
                </a:rPr>
                <a:t>Application runtime at source of demand</a:t>
              </a:r>
            </a:p>
          </p:txBody>
        </p:sp>
      </p:grpSp>
      <p:grpSp>
        <p:nvGrpSpPr>
          <p:cNvPr id="9" name="Group 8">
            <a:extLst>
              <a:ext uri="{FF2B5EF4-FFF2-40B4-BE49-F238E27FC236}">
                <a16:creationId xmlns:a16="http://schemas.microsoft.com/office/drawing/2014/main" id="{306B3226-8BEF-BB49-87F6-ADA52BFA1E7C}"/>
              </a:ext>
            </a:extLst>
          </p:cNvPr>
          <p:cNvGrpSpPr/>
          <p:nvPr/>
        </p:nvGrpSpPr>
        <p:grpSpPr>
          <a:xfrm>
            <a:off x="2318463" y="1009404"/>
            <a:ext cx="6735497" cy="3658965"/>
            <a:chOff x="3081188" y="1631046"/>
            <a:chExt cx="8980662" cy="4878620"/>
          </a:xfrm>
        </p:grpSpPr>
        <p:sp>
          <p:nvSpPr>
            <p:cNvPr id="89" name="Rectangle 88">
              <a:extLst>
                <a:ext uri="{FF2B5EF4-FFF2-40B4-BE49-F238E27FC236}">
                  <a16:creationId xmlns:a16="http://schemas.microsoft.com/office/drawing/2014/main" id="{4C3A62CC-32A1-704E-968F-47E417108FBD}"/>
                </a:ext>
              </a:extLst>
            </p:cNvPr>
            <p:cNvSpPr/>
            <p:nvPr/>
          </p:nvSpPr>
          <p:spPr bwMode="auto">
            <a:xfrm>
              <a:off x="3081188" y="1631046"/>
              <a:ext cx="8980662" cy="4876079"/>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a:buClr>
                  <a:schemeClr val="accent2"/>
                </a:buClr>
              </a:pPr>
              <a:endParaRPr lang="en-US" sz="1500"/>
            </a:p>
          </p:txBody>
        </p:sp>
        <p:sp>
          <p:nvSpPr>
            <p:cNvPr id="20" name="TextBox 19">
              <a:extLst>
                <a:ext uri="{FF2B5EF4-FFF2-40B4-BE49-F238E27FC236}">
                  <a16:creationId xmlns:a16="http://schemas.microsoft.com/office/drawing/2014/main" id="{E5A15ADA-C40A-A144-93A2-35A0BA18CE0F}"/>
                </a:ext>
              </a:extLst>
            </p:cNvPr>
            <p:cNvSpPr txBox="1"/>
            <p:nvPr/>
          </p:nvSpPr>
          <p:spPr>
            <a:xfrm>
              <a:off x="3182575" y="4623644"/>
              <a:ext cx="1152386" cy="472431"/>
            </a:xfrm>
            <a:prstGeom prst="rect">
              <a:avLst/>
            </a:prstGeom>
            <a:solidFill>
              <a:schemeClr val="bg1"/>
            </a:solidFill>
          </p:spPr>
          <p:txBody>
            <a:bodyPr vert="horz" wrap="square" lIns="68562" tIns="34281" rIns="68562" bIns="34281" rtlCol="0" anchor="ctr">
              <a:noAutofit/>
            </a:bodyPr>
            <a:lstStyle/>
            <a:p>
              <a:pPr defTabSz="914378" eaLnBrk="0" hangingPunct="0">
                <a:lnSpc>
                  <a:spcPct val="95000"/>
                </a:lnSpc>
                <a:spcBef>
                  <a:spcPts val="300"/>
                </a:spcBef>
                <a:spcAft>
                  <a:spcPts val="150"/>
                </a:spcAft>
                <a:defRPr/>
              </a:pPr>
              <a:r>
                <a:rPr lang="en-US" sz="1200" b="1"/>
                <a:t>Midrange</a:t>
              </a:r>
            </a:p>
          </p:txBody>
        </p:sp>
        <p:sp>
          <p:nvSpPr>
            <p:cNvPr id="21" name="TextBox 20">
              <a:extLst>
                <a:ext uri="{FF2B5EF4-FFF2-40B4-BE49-F238E27FC236}">
                  <a16:creationId xmlns:a16="http://schemas.microsoft.com/office/drawing/2014/main" id="{8961884A-9765-534C-A097-7C84E6FBBA67}"/>
                </a:ext>
              </a:extLst>
            </p:cNvPr>
            <p:cNvSpPr txBox="1"/>
            <p:nvPr/>
          </p:nvSpPr>
          <p:spPr>
            <a:xfrm>
              <a:off x="3182575" y="3099888"/>
              <a:ext cx="1195373" cy="472431"/>
            </a:xfrm>
            <a:prstGeom prst="rect">
              <a:avLst/>
            </a:prstGeom>
            <a:solidFill>
              <a:schemeClr val="bg1"/>
            </a:solidFill>
          </p:spPr>
          <p:txBody>
            <a:bodyPr vert="horz" wrap="square" lIns="68562" tIns="34281" rIns="68562" bIns="34281" rtlCol="0" anchor="ctr">
              <a:noAutofit/>
            </a:bodyPr>
            <a:lstStyle/>
            <a:p>
              <a:pPr defTabSz="914378" eaLnBrk="0" hangingPunct="0">
                <a:lnSpc>
                  <a:spcPct val="95000"/>
                </a:lnSpc>
                <a:spcBef>
                  <a:spcPts val="300"/>
                </a:spcBef>
                <a:spcAft>
                  <a:spcPts val="150"/>
                </a:spcAft>
                <a:defRPr/>
              </a:pPr>
              <a:r>
                <a:rPr lang="en-US" sz="1200" b="1"/>
                <a:t>High-end</a:t>
              </a:r>
            </a:p>
          </p:txBody>
        </p:sp>
        <p:sp>
          <p:nvSpPr>
            <p:cNvPr id="22" name="TextBox 21">
              <a:extLst>
                <a:ext uri="{FF2B5EF4-FFF2-40B4-BE49-F238E27FC236}">
                  <a16:creationId xmlns:a16="http://schemas.microsoft.com/office/drawing/2014/main" id="{9B046241-A94F-AD4E-837C-B461D0342942}"/>
                </a:ext>
              </a:extLst>
            </p:cNvPr>
            <p:cNvSpPr txBox="1"/>
            <p:nvPr/>
          </p:nvSpPr>
          <p:spPr>
            <a:xfrm>
              <a:off x="3182575" y="5630156"/>
              <a:ext cx="1303946" cy="472431"/>
            </a:xfrm>
            <a:prstGeom prst="rect">
              <a:avLst/>
            </a:prstGeom>
            <a:solidFill>
              <a:schemeClr val="bg1"/>
            </a:solidFill>
          </p:spPr>
          <p:txBody>
            <a:bodyPr vert="horz" wrap="square" lIns="68562" tIns="34281" rIns="68562" bIns="34281" rtlCol="0" anchor="ctr">
              <a:noAutofit/>
            </a:bodyPr>
            <a:lstStyle/>
            <a:p>
              <a:pPr defTabSz="914378" eaLnBrk="0" hangingPunct="0">
                <a:lnSpc>
                  <a:spcPct val="95000"/>
                </a:lnSpc>
                <a:spcBef>
                  <a:spcPts val="300"/>
                </a:spcBef>
                <a:spcAft>
                  <a:spcPts val="150"/>
                </a:spcAft>
                <a:defRPr/>
              </a:pPr>
              <a:r>
                <a:rPr lang="en-US" sz="1200" b="1"/>
                <a:t>Entry-level</a:t>
              </a:r>
            </a:p>
          </p:txBody>
        </p:sp>
        <p:cxnSp>
          <p:nvCxnSpPr>
            <p:cNvPr id="5" name="Straight Connector 4">
              <a:extLst>
                <a:ext uri="{FF2B5EF4-FFF2-40B4-BE49-F238E27FC236}">
                  <a16:creationId xmlns:a16="http://schemas.microsoft.com/office/drawing/2014/main" id="{C1BAE694-D960-AF41-B8D0-3168C629F9A0}"/>
                </a:ext>
              </a:extLst>
            </p:cNvPr>
            <p:cNvCxnSpPr>
              <a:cxnSpLocks/>
            </p:cNvCxnSpPr>
            <p:nvPr/>
          </p:nvCxnSpPr>
          <p:spPr>
            <a:xfrm>
              <a:off x="7614754" y="4391714"/>
              <a:ext cx="4265492"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0FC1F8F-D030-C942-AE44-A50FD50AC811}"/>
                </a:ext>
              </a:extLst>
            </p:cNvPr>
            <p:cNvCxnSpPr>
              <a:cxnSpLocks/>
            </p:cNvCxnSpPr>
            <p:nvPr/>
          </p:nvCxnSpPr>
          <p:spPr>
            <a:xfrm>
              <a:off x="7614754" y="5525346"/>
              <a:ext cx="4179853" cy="3"/>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8439B7B-5743-464A-B1C2-76BD3430B5CC}"/>
                </a:ext>
              </a:extLst>
            </p:cNvPr>
            <p:cNvSpPr txBox="1"/>
            <p:nvPr/>
          </p:nvSpPr>
          <p:spPr>
            <a:xfrm>
              <a:off x="7578438" y="1702686"/>
              <a:ext cx="2717989" cy="557187"/>
            </a:xfrm>
            <a:prstGeom prst="rect">
              <a:avLst/>
            </a:prstGeom>
            <a:solidFill>
              <a:srgbClr val="00B0FF"/>
            </a:solidFill>
          </p:spPr>
          <p:txBody>
            <a:bodyPr vert="horz" wrap="square" lIns="68562" tIns="34281" rIns="68562" bIns="34281" rtlCol="0" anchor="ctr">
              <a:noAutofit/>
            </a:bodyPr>
            <a:lstStyle/>
            <a:p>
              <a:pPr algn="ctr" defTabSz="914378" eaLnBrk="0" hangingPunct="0">
                <a:lnSpc>
                  <a:spcPct val="95000"/>
                </a:lnSpc>
                <a:spcBef>
                  <a:spcPts val="300"/>
                </a:spcBef>
                <a:spcAft>
                  <a:spcPts val="150"/>
                </a:spcAft>
                <a:defRPr/>
              </a:pPr>
              <a:r>
                <a:rPr lang="en-US" sz="1200" b="1">
                  <a:solidFill>
                    <a:prstClr val="white"/>
                  </a:solidFill>
                </a:rPr>
                <a:t>Most Space Efficient</a:t>
              </a:r>
            </a:p>
            <a:p>
              <a:pPr algn="ctr" defTabSz="914378" eaLnBrk="0" hangingPunct="0">
                <a:lnSpc>
                  <a:spcPct val="95000"/>
                </a:lnSpc>
                <a:spcBef>
                  <a:spcPts val="300"/>
                </a:spcBef>
                <a:spcAft>
                  <a:spcPts val="150"/>
                </a:spcAft>
                <a:defRPr/>
              </a:pPr>
              <a:r>
                <a:rPr lang="en-US" sz="1200">
                  <a:solidFill>
                    <a:prstClr val="white"/>
                  </a:solidFill>
                </a:rPr>
                <a:t>Internal </a:t>
              </a:r>
              <a:r>
                <a:rPr lang="en-US" sz="1200">
                  <a:solidFill>
                    <a:srgbClr val="FFFFFF"/>
                  </a:solidFill>
                </a:rPr>
                <a:t>SSDs</a:t>
              </a:r>
              <a:endParaRPr lang="en-US" sz="1200">
                <a:solidFill>
                  <a:srgbClr val="FFFFFF"/>
                </a:solidFill>
                <a:latin typeface="Arial" panose="020B0604020202020204" pitchFamily="34" charset="0"/>
              </a:endParaRPr>
            </a:p>
          </p:txBody>
        </p:sp>
        <p:sp>
          <p:nvSpPr>
            <p:cNvPr id="12" name="TextBox 11">
              <a:extLst>
                <a:ext uri="{FF2B5EF4-FFF2-40B4-BE49-F238E27FC236}">
                  <a16:creationId xmlns:a16="http://schemas.microsoft.com/office/drawing/2014/main" id="{1B279282-AE6C-014F-BAD3-D07FE1907C67}"/>
                </a:ext>
              </a:extLst>
            </p:cNvPr>
            <p:cNvSpPr txBox="1"/>
            <p:nvPr/>
          </p:nvSpPr>
          <p:spPr>
            <a:xfrm>
              <a:off x="7578438" y="6041393"/>
              <a:ext cx="1704013" cy="185437"/>
            </a:xfrm>
            <a:prstGeom prst="rect">
              <a:avLst/>
            </a:prstGeom>
          </p:spPr>
          <p:txBody>
            <a:bodyPr vert="horz" wrap="square" lIns="68562" tIns="34281" rIns="68562" bIns="34281" rtlCol="0" anchor="t">
              <a:noAutofit/>
            </a:bodyPr>
            <a:lstStyle/>
            <a:p>
              <a:pPr defTabSz="914378" eaLnBrk="0" hangingPunct="0">
                <a:lnSpc>
                  <a:spcPct val="95000"/>
                </a:lnSpc>
                <a:spcBef>
                  <a:spcPts val="300"/>
                </a:spcBef>
                <a:spcAft>
                  <a:spcPts val="150"/>
                </a:spcAft>
                <a:defRPr/>
              </a:pPr>
              <a:r>
                <a:rPr lang="en-US" sz="1050" b="1">
                  <a:solidFill>
                    <a:srgbClr val="0067C5"/>
                  </a:solidFill>
                </a:rPr>
                <a:t>AFF A220</a:t>
              </a:r>
            </a:p>
          </p:txBody>
        </p:sp>
        <p:pic>
          <p:nvPicPr>
            <p:cNvPr id="13" name="Picture 12">
              <a:extLst>
                <a:ext uri="{FF2B5EF4-FFF2-40B4-BE49-F238E27FC236}">
                  <a16:creationId xmlns:a16="http://schemas.microsoft.com/office/drawing/2014/main" id="{396C4574-4074-824A-9FCF-99C76BBCB2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614754" y="5760100"/>
              <a:ext cx="1149203" cy="262612"/>
            </a:xfrm>
            <a:prstGeom prst="rect">
              <a:avLst/>
            </a:prstGeom>
          </p:spPr>
        </p:pic>
        <p:sp>
          <p:nvSpPr>
            <p:cNvPr id="23" name="Oval 22">
              <a:extLst>
                <a:ext uri="{FF2B5EF4-FFF2-40B4-BE49-F238E27FC236}">
                  <a16:creationId xmlns:a16="http://schemas.microsoft.com/office/drawing/2014/main" id="{9456ADB4-CEDE-5D41-B4E3-10DB530C7DB7}"/>
                </a:ext>
              </a:extLst>
            </p:cNvPr>
            <p:cNvSpPr/>
            <p:nvPr/>
          </p:nvSpPr>
          <p:spPr>
            <a:xfrm>
              <a:off x="8435725" y="5555982"/>
              <a:ext cx="454219" cy="335424"/>
            </a:xfrm>
            <a:prstGeom prst="ellipse">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fontScale="85000" lnSpcReduction="10000"/>
            </a:bodyPr>
            <a:lstStyle/>
            <a:p>
              <a:pPr algn="ctr" defTabSz="914378" eaLnBrk="0" hangingPunct="0">
                <a:lnSpc>
                  <a:spcPct val="95000"/>
                </a:lnSpc>
                <a:defRPr/>
              </a:pPr>
              <a:r>
                <a:rPr lang="en-US" sz="1050">
                  <a:solidFill>
                    <a:prstClr val="black"/>
                  </a:solidFill>
                  <a:latin typeface="Arial"/>
                </a:rPr>
                <a:t>New</a:t>
              </a:r>
            </a:p>
          </p:txBody>
        </p:sp>
        <p:pic>
          <p:nvPicPr>
            <p:cNvPr id="25" name="Picture 24">
              <a:extLst>
                <a:ext uri="{FF2B5EF4-FFF2-40B4-BE49-F238E27FC236}">
                  <a16:creationId xmlns:a16="http://schemas.microsoft.com/office/drawing/2014/main" id="{443B48E0-B116-5B4D-BCE3-D01E347D546A}"/>
                </a:ext>
              </a:extLst>
            </p:cNvPr>
            <p:cNvPicPr>
              <a:picLocks noChangeAspect="1"/>
            </p:cNvPicPr>
            <p:nvPr/>
          </p:nvPicPr>
          <p:blipFill rotWithShape="1">
            <a:blip r:embed="rId4" cstate="print">
              <a:extLst>
                <a:ext uri="{28A0092B-C50C-407E-A947-70E740481C1C}">
                  <a14:useLocalDpi xmlns:a14="http://schemas.microsoft.com/office/drawing/2010/main"/>
                </a:ext>
              </a:extLst>
            </a:blip>
            <a:stretch/>
          </p:blipFill>
          <p:spPr>
            <a:xfrm>
              <a:off x="7469141" y="2984001"/>
              <a:ext cx="1415103" cy="667490"/>
            </a:xfrm>
            <a:prstGeom prst="rect">
              <a:avLst/>
            </a:prstGeom>
          </p:spPr>
        </p:pic>
        <p:sp>
          <p:nvSpPr>
            <p:cNvPr id="26" name="TextBox 25">
              <a:extLst>
                <a:ext uri="{FF2B5EF4-FFF2-40B4-BE49-F238E27FC236}">
                  <a16:creationId xmlns:a16="http://schemas.microsoft.com/office/drawing/2014/main" id="{04CB26DB-42AA-3747-A10E-C6725EBBC961}"/>
                </a:ext>
              </a:extLst>
            </p:cNvPr>
            <p:cNvSpPr txBox="1"/>
            <p:nvPr/>
          </p:nvSpPr>
          <p:spPr>
            <a:xfrm>
              <a:off x="7578438" y="3651491"/>
              <a:ext cx="1600429" cy="679776"/>
            </a:xfrm>
            <a:prstGeom prst="rect">
              <a:avLst/>
            </a:prstGeom>
          </p:spPr>
          <p:txBody>
            <a:bodyPr vert="horz" wrap="square" lIns="68562" tIns="34281" rIns="68562" bIns="34281" rtlCol="0" anchor="b">
              <a:normAutofit fontScale="92500" lnSpcReduction="20000"/>
            </a:bodyPr>
            <a:lstStyle/>
            <a:p>
              <a:pPr defTabSz="914378" eaLnBrk="0" hangingPunct="0">
                <a:lnSpc>
                  <a:spcPct val="95000"/>
                </a:lnSpc>
                <a:spcBef>
                  <a:spcPts val="300"/>
                </a:spcBef>
                <a:spcAft>
                  <a:spcPts val="150"/>
                </a:spcAft>
                <a:defRPr/>
              </a:pPr>
              <a:r>
                <a:rPr lang="en-US" sz="1200" b="1">
                  <a:solidFill>
                    <a:srgbClr val="0067C5"/>
                  </a:solidFill>
                </a:rPr>
                <a:t>AFF A800</a:t>
              </a:r>
            </a:p>
            <a:p>
              <a:pPr defTabSz="914378" eaLnBrk="0" hangingPunct="0">
                <a:defRPr/>
              </a:pPr>
              <a:r>
                <a:rPr lang="en-US" sz="1200">
                  <a:solidFill>
                    <a:srgbClr val="0067C5"/>
                  </a:solidFill>
                </a:rPr>
                <a:t>Extreme </a:t>
              </a:r>
            </a:p>
            <a:p>
              <a:pPr defTabSz="914378" eaLnBrk="0" hangingPunct="0">
                <a:defRPr/>
              </a:pPr>
              <a:r>
                <a:rPr lang="en-US" sz="1200">
                  <a:solidFill>
                    <a:srgbClr val="0067C5"/>
                  </a:solidFill>
                </a:rPr>
                <a:t>Performance</a:t>
              </a:r>
            </a:p>
          </p:txBody>
        </p:sp>
        <p:sp>
          <p:nvSpPr>
            <p:cNvPr id="27" name="Oval 26">
              <a:extLst>
                <a:ext uri="{FF2B5EF4-FFF2-40B4-BE49-F238E27FC236}">
                  <a16:creationId xmlns:a16="http://schemas.microsoft.com/office/drawing/2014/main" id="{52D84D1E-0F51-4040-8027-909263EA7549}"/>
                </a:ext>
              </a:extLst>
            </p:cNvPr>
            <p:cNvSpPr/>
            <p:nvPr/>
          </p:nvSpPr>
          <p:spPr>
            <a:xfrm>
              <a:off x="8426767" y="2879182"/>
              <a:ext cx="454219" cy="335424"/>
            </a:xfrm>
            <a:prstGeom prst="ellipse">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fontScale="85000" lnSpcReduction="10000"/>
            </a:bodyPr>
            <a:lstStyle/>
            <a:p>
              <a:pPr algn="ctr" defTabSz="914378" eaLnBrk="0" hangingPunct="0">
                <a:lnSpc>
                  <a:spcPct val="95000"/>
                </a:lnSpc>
                <a:defRPr/>
              </a:pPr>
              <a:r>
                <a:rPr lang="en-US" sz="1050">
                  <a:solidFill>
                    <a:prstClr val="black"/>
                  </a:solidFill>
                  <a:latin typeface="Arial"/>
                </a:rPr>
                <a:t>New</a:t>
              </a:r>
            </a:p>
          </p:txBody>
        </p:sp>
        <p:pic>
          <p:nvPicPr>
            <p:cNvPr id="30" name="Picture 29">
              <a:extLst>
                <a:ext uri="{FF2B5EF4-FFF2-40B4-BE49-F238E27FC236}">
                  <a16:creationId xmlns:a16="http://schemas.microsoft.com/office/drawing/2014/main" id="{0032F464-D0C5-3445-A8CF-B60DE982EEF0}"/>
                </a:ext>
              </a:extLst>
            </p:cNvPr>
            <p:cNvPicPr>
              <a:picLocks noChangeAspect="1"/>
            </p:cNvPicPr>
            <p:nvPr/>
          </p:nvPicPr>
          <p:blipFill rotWithShape="1">
            <a:blip r:embed="rId4" cstate="print">
              <a:extLst>
                <a:ext uri="{28A0092B-C50C-407E-A947-70E740481C1C}">
                  <a14:useLocalDpi xmlns:a14="http://schemas.microsoft.com/office/drawing/2010/main"/>
                </a:ext>
              </a:extLst>
            </a:blip>
            <a:stretch/>
          </p:blipFill>
          <p:spPr>
            <a:xfrm>
              <a:off x="8965991" y="3002358"/>
              <a:ext cx="1415103" cy="667490"/>
            </a:xfrm>
            <a:prstGeom prst="rect">
              <a:avLst/>
            </a:prstGeom>
          </p:spPr>
        </p:pic>
        <p:pic>
          <p:nvPicPr>
            <p:cNvPr id="32" name="Picture 31">
              <a:extLst>
                <a:ext uri="{FF2B5EF4-FFF2-40B4-BE49-F238E27FC236}">
                  <a16:creationId xmlns:a16="http://schemas.microsoft.com/office/drawing/2014/main" id="{D5017A84-805D-0F4B-9131-7DAF6C510ACC}"/>
                </a:ext>
              </a:extLst>
            </p:cNvPr>
            <p:cNvPicPr>
              <a:picLocks noChangeAspect="1"/>
            </p:cNvPicPr>
            <p:nvPr/>
          </p:nvPicPr>
          <p:blipFill rotWithShape="1">
            <a:blip r:embed="rId5" cstate="print">
              <a:extLst>
                <a:ext uri="{28A0092B-C50C-407E-A947-70E740481C1C}">
                  <a14:useLocalDpi xmlns:a14="http://schemas.microsoft.com/office/drawing/2010/main"/>
                </a:ext>
              </a:extLst>
            </a:blip>
            <a:stretch/>
          </p:blipFill>
          <p:spPr>
            <a:xfrm>
              <a:off x="10465760" y="2553603"/>
              <a:ext cx="1427096" cy="1190952"/>
            </a:xfrm>
            <a:prstGeom prst="rect">
              <a:avLst/>
            </a:prstGeom>
          </p:spPr>
        </p:pic>
        <p:sp>
          <p:nvSpPr>
            <p:cNvPr id="33" name="TextBox 32">
              <a:extLst>
                <a:ext uri="{FF2B5EF4-FFF2-40B4-BE49-F238E27FC236}">
                  <a16:creationId xmlns:a16="http://schemas.microsoft.com/office/drawing/2014/main" id="{68B26A9C-2B88-AB47-ACFC-FBF5394C1A30}"/>
                </a:ext>
              </a:extLst>
            </p:cNvPr>
            <p:cNvSpPr txBox="1"/>
            <p:nvPr/>
          </p:nvSpPr>
          <p:spPr>
            <a:xfrm>
              <a:off x="10581565" y="3583968"/>
              <a:ext cx="1480285" cy="576783"/>
            </a:xfrm>
            <a:prstGeom prst="rect">
              <a:avLst/>
            </a:prstGeom>
          </p:spPr>
          <p:txBody>
            <a:bodyPr vert="horz" wrap="square" lIns="68562" tIns="34281" rIns="68562" bIns="34281" rtlCol="0" anchor="b">
              <a:normAutofit fontScale="92500"/>
            </a:bodyPr>
            <a:lstStyle/>
            <a:p>
              <a:pPr defTabSz="914378" eaLnBrk="0" hangingPunct="0">
                <a:defRPr/>
              </a:pPr>
              <a:r>
                <a:rPr lang="en-US" sz="1200" b="1">
                  <a:solidFill>
                    <a:srgbClr val="0067C5"/>
                  </a:solidFill>
                </a:rPr>
                <a:t>AFF A700 </a:t>
              </a:r>
            </a:p>
            <a:p>
              <a:pPr defTabSz="914378" eaLnBrk="0" hangingPunct="0">
                <a:defRPr/>
              </a:pPr>
              <a:r>
                <a:rPr lang="en-US" sz="1200">
                  <a:solidFill>
                    <a:srgbClr val="0067C5"/>
                  </a:solidFill>
                </a:rPr>
                <a:t>Modular design</a:t>
              </a:r>
            </a:p>
          </p:txBody>
        </p:sp>
        <p:sp>
          <p:nvSpPr>
            <p:cNvPr id="34" name="TextBox 33">
              <a:extLst>
                <a:ext uri="{FF2B5EF4-FFF2-40B4-BE49-F238E27FC236}">
                  <a16:creationId xmlns:a16="http://schemas.microsoft.com/office/drawing/2014/main" id="{EA0165C6-2FE9-B647-A290-8ECFB79EB722}"/>
                </a:ext>
              </a:extLst>
            </p:cNvPr>
            <p:cNvSpPr txBox="1"/>
            <p:nvPr/>
          </p:nvSpPr>
          <p:spPr>
            <a:xfrm>
              <a:off x="10367956" y="1702686"/>
              <a:ext cx="1548606" cy="566242"/>
            </a:xfrm>
            <a:prstGeom prst="rect">
              <a:avLst/>
            </a:prstGeom>
            <a:solidFill>
              <a:srgbClr val="00B0FF"/>
            </a:solidFill>
          </p:spPr>
          <p:txBody>
            <a:bodyPr vert="horz" wrap="square" lIns="68562" tIns="34281" rIns="68562" bIns="34281" rtlCol="0" anchor="ctr">
              <a:noAutofit/>
            </a:bodyPr>
            <a:lstStyle/>
            <a:p>
              <a:pPr algn="ctr" defTabSz="914378" eaLnBrk="0" hangingPunct="0">
                <a:lnSpc>
                  <a:spcPct val="95000"/>
                </a:lnSpc>
                <a:spcBef>
                  <a:spcPts val="300"/>
                </a:spcBef>
                <a:spcAft>
                  <a:spcPts val="150"/>
                </a:spcAft>
                <a:defRPr/>
              </a:pPr>
              <a:r>
                <a:rPr lang="en-US" sz="1200" b="1">
                  <a:solidFill>
                    <a:prstClr val="white"/>
                  </a:solidFill>
                </a:rPr>
                <a:t>Most Flexible</a:t>
              </a:r>
            </a:p>
            <a:p>
              <a:pPr algn="ctr" defTabSz="914378" eaLnBrk="0" hangingPunct="0">
                <a:lnSpc>
                  <a:spcPct val="95000"/>
                </a:lnSpc>
                <a:spcBef>
                  <a:spcPts val="300"/>
                </a:spcBef>
                <a:spcAft>
                  <a:spcPts val="150"/>
                </a:spcAft>
                <a:defRPr/>
              </a:pPr>
              <a:r>
                <a:rPr lang="en-US" sz="1200">
                  <a:solidFill>
                    <a:prstClr val="white"/>
                  </a:solidFill>
                </a:rPr>
                <a:t>External </a:t>
              </a:r>
              <a:r>
                <a:rPr lang="en-US" sz="1200">
                  <a:solidFill>
                    <a:srgbClr val="FFFFFF"/>
                  </a:solidFill>
                </a:rPr>
                <a:t>SSDs</a:t>
              </a:r>
              <a:endParaRPr lang="en-US" sz="1200">
                <a:solidFill>
                  <a:srgbClr val="FFFFFF"/>
                </a:solidFill>
                <a:latin typeface="Arial" panose="020B0604020202020204" pitchFamily="34" charset="0"/>
              </a:endParaRPr>
            </a:p>
          </p:txBody>
        </p:sp>
        <p:pic>
          <p:nvPicPr>
            <p:cNvPr id="35" name="Picture 34">
              <a:extLst>
                <a:ext uri="{FF2B5EF4-FFF2-40B4-BE49-F238E27FC236}">
                  <a16:creationId xmlns:a16="http://schemas.microsoft.com/office/drawing/2014/main" id="{6A68D771-B0E7-3E40-B6D4-EE068AFE7F62}"/>
                </a:ext>
              </a:extLst>
            </p:cNvPr>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10465481" y="4401866"/>
              <a:ext cx="1451081" cy="763436"/>
            </a:xfrm>
            <a:prstGeom prst="rect">
              <a:avLst/>
            </a:prstGeom>
          </p:spPr>
        </p:pic>
        <p:sp>
          <p:nvSpPr>
            <p:cNvPr id="36" name="TextBox 35">
              <a:extLst>
                <a:ext uri="{FF2B5EF4-FFF2-40B4-BE49-F238E27FC236}">
                  <a16:creationId xmlns:a16="http://schemas.microsoft.com/office/drawing/2014/main" id="{4FB67AC6-E1B0-3143-B56D-280C23FEF5B2}"/>
                </a:ext>
              </a:extLst>
            </p:cNvPr>
            <p:cNvSpPr txBox="1"/>
            <p:nvPr/>
          </p:nvSpPr>
          <p:spPr>
            <a:xfrm>
              <a:off x="10426685" y="4968354"/>
              <a:ext cx="1325984" cy="258600"/>
            </a:xfrm>
            <a:prstGeom prst="rect">
              <a:avLst/>
            </a:prstGeom>
          </p:spPr>
          <p:txBody>
            <a:bodyPr vert="horz" wrap="square" lIns="68562" tIns="34281" rIns="68562" bIns="34281" rtlCol="0" anchor="t">
              <a:noAutofit/>
            </a:bodyPr>
            <a:lstStyle/>
            <a:p>
              <a:pPr algn="ctr" defTabSz="914378" eaLnBrk="0" hangingPunct="0">
                <a:lnSpc>
                  <a:spcPct val="95000"/>
                </a:lnSpc>
                <a:spcBef>
                  <a:spcPts val="300"/>
                </a:spcBef>
                <a:spcAft>
                  <a:spcPts val="150"/>
                </a:spcAft>
                <a:defRPr/>
              </a:pPr>
              <a:r>
                <a:rPr lang="en-US" sz="1050" b="1">
                  <a:solidFill>
                    <a:srgbClr val="0067C5"/>
                  </a:solidFill>
                </a:rPr>
                <a:t>AFF A300</a:t>
              </a:r>
            </a:p>
          </p:txBody>
        </p:sp>
        <p:pic>
          <p:nvPicPr>
            <p:cNvPr id="40" name="Picture 39">
              <a:extLst>
                <a:ext uri="{FF2B5EF4-FFF2-40B4-BE49-F238E27FC236}">
                  <a16:creationId xmlns:a16="http://schemas.microsoft.com/office/drawing/2014/main" id="{F04C111B-4FC4-854B-A470-81631238126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503338" y="3111867"/>
              <a:ext cx="1153502" cy="485606"/>
            </a:xfrm>
            <a:prstGeom prst="rect">
              <a:avLst/>
            </a:prstGeom>
          </p:spPr>
        </p:pic>
        <p:pic>
          <p:nvPicPr>
            <p:cNvPr id="41" name="Picture 40">
              <a:extLst>
                <a:ext uri="{FF2B5EF4-FFF2-40B4-BE49-F238E27FC236}">
                  <a16:creationId xmlns:a16="http://schemas.microsoft.com/office/drawing/2014/main" id="{3C197268-064E-0D40-AA67-577E91D8CA1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58637" y="4739111"/>
              <a:ext cx="1152386" cy="241497"/>
            </a:xfrm>
            <a:prstGeom prst="rect">
              <a:avLst/>
            </a:prstGeom>
          </p:spPr>
        </p:pic>
        <p:pic>
          <p:nvPicPr>
            <p:cNvPr id="42" name="Picture 41">
              <a:extLst>
                <a:ext uri="{FF2B5EF4-FFF2-40B4-BE49-F238E27FC236}">
                  <a16:creationId xmlns:a16="http://schemas.microsoft.com/office/drawing/2014/main" id="{E14F806B-0BD7-F244-901E-FE979681F12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58637" y="5866372"/>
              <a:ext cx="1154617" cy="122707"/>
            </a:xfrm>
            <a:prstGeom prst="rect">
              <a:avLst/>
            </a:prstGeom>
          </p:spPr>
        </p:pic>
        <p:sp>
          <p:nvSpPr>
            <p:cNvPr id="43" name="TextBox 42">
              <a:extLst>
                <a:ext uri="{FF2B5EF4-FFF2-40B4-BE49-F238E27FC236}">
                  <a16:creationId xmlns:a16="http://schemas.microsoft.com/office/drawing/2014/main" id="{C316A426-2D63-A84B-B0A7-8DBF0C70F5CB}"/>
                </a:ext>
              </a:extLst>
            </p:cNvPr>
            <p:cNvSpPr txBox="1"/>
            <p:nvPr/>
          </p:nvSpPr>
          <p:spPr>
            <a:xfrm>
              <a:off x="4484909" y="1702686"/>
              <a:ext cx="2717989" cy="557187"/>
            </a:xfrm>
            <a:prstGeom prst="rect">
              <a:avLst/>
            </a:prstGeom>
            <a:solidFill>
              <a:schemeClr val="accent4">
                <a:lumMod val="75000"/>
              </a:schemeClr>
            </a:solidFill>
          </p:spPr>
          <p:txBody>
            <a:bodyPr vert="horz" wrap="square" lIns="68562" tIns="34281" rIns="68562" bIns="34281" rtlCol="0" anchor="ctr">
              <a:noAutofit/>
            </a:bodyPr>
            <a:lstStyle/>
            <a:p>
              <a:pPr algn="ctr" defTabSz="914378" eaLnBrk="0" hangingPunct="0">
                <a:lnSpc>
                  <a:spcPct val="95000"/>
                </a:lnSpc>
                <a:spcBef>
                  <a:spcPts val="300"/>
                </a:spcBef>
                <a:spcAft>
                  <a:spcPts val="150"/>
                </a:spcAft>
                <a:defRPr/>
              </a:pPr>
              <a:r>
                <a:rPr lang="en-US" sz="1200" b="1">
                  <a:solidFill>
                    <a:prstClr val="white"/>
                  </a:solidFill>
                </a:rPr>
                <a:t>UCS Servers</a:t>
              </a:r>
            </a:p>
            <a:p>
              <a:pPr algn="ctr" defTabSz="914378" eaLnBrk="0" hangingPunct="0">
                <a:lnSpc>
                  <a:spcPct val="95000"/>
                </a:lnSpc>
                <a:spcBef>
                  <a:spcPts val="300"/>
                </a:spcBef>
                <a:spcAft>
                  <a:spcPts val="150"/>
                </a:spcAft>
                <a:defRPr/>
              </a:pPr>
              <a:r>
                <a:rPr lang="en-US" sz="1200" b="1">
                  <a:solidFill>
                    <a:prstClr val="white"/>
                  </a:solidFill>
                </a:rPr>
                <a:t>with Nvidia GPU</a:t>
              </a:r>
            </a:p>
          </p:txBody>
        </p:sp>
        <p:sp>
          <p:nvSpPr>
            <p:cNvPr id="44" name="TextBox 43">
              <a:extLst>
                <a:ext uri="{FF2B5EF4-FFF2-40B4-BE49-F238E27FC236}">
                  <a16:creationId xmlns:a16="http://schemas.microsoft.com/office/drawing/2014/main" id="{D4A5598A-8927-0548-81B1-99FCE7F8C964}"/>
                </a:ext>
              </a:extLst>
            </p:cNvPr>
            <p:cNvSpPr txBox="1"/>
            <p:nvPr/>
          </p:nvSpPr>
          <p:spPr>
            <a:xfrm>
              <a:off x="4353884" y="3749190"/>
              <a:ext cx="1651059" cy="679776"/>
            </a:xfrm>
            <a:prstGeom prst="rect">
              <a:avLst/>
            </a:prstGeom>
          </p:spPr>
          <p:txBody>
            <a:bodyPr vert="horz" wrap="square" lIns="68562" tIns="34281" rIns="68562" bIns="34281" rtlCol="0" anchor="b">
              <a:noAutofit/>
            </a:bodyPr>
            <a:lstStyle/>
            <a:p>
              <a:pPr defTabSz="914378" eaLnBrk="0" hangingPunct="0">
                <a:lnSpc>
                  <a:spcPct val="95000"/>
                </a:lnSpc>
                <a:spcBef>
                  <a:spcPts val="300"/>
                </a:spcBef>
                <a:spcAft>
                  <a:spcPts val="150"/>
                </a:spcAft>
                <a:defRPr/>
              </a:pPr>
              <a:r>
                <a:rPr lang="en-US" sz="1050" b="1">
                  <a:solidFill>
                    <a:srgbClr val="0067C5"/>
                  </a:solidFill>
                </a:rPr>
                <a:t>UCS C480 ML M5</a:t>
              </a:r>
            </a:p>
            <a:p>
              <a:pPr defTabSz="914378" eaLnBrk="0" hangingPunct="0">
                <a:defRPr/>
              </a:pPr>
              <a:r>
                <a:rPr lang="en-US" sz="1050">
                  <a:solidFill>
                    <a:srgbClr val="0067C5"/>
                  </a:solidFill>
                </a:rPr>
                <a:t>8x SXM2 V100 with NVLINK </a:t>
              </a:r>
            </a:p>
          </p:txBody>
        </p:sp>
        <p:sp>
          <p:nvSpPr>
            <p:cNvPr id="45" name="TextBox 44">
              <a:extLst>
                <a:ext uri="{FF2B5EF4-FFF2-40B4-BE49-F238E27FC236}">
                  <a16:creationId xmlns:a16="http://schemas.microsoft.com/office/drawing/2014/main" id="{43C3E328-148C-2B41-A2DF-B3D1E171CE91}"/>
                </a:ext>
              </a:extLst>
            </p:cNvPr>
            <p:cNvSpPr txBox="1"/>
            <p:nvPr/>
          </p:nvSpPr>
          <p:spPr>
            <a:xfrm>
              <a:off x="5294715" y="4832874"/>
              <a:ext cx="1520521" cy="679776"/>
            </a:xfrm>
            <a:prstGeom prst="rect">
              <a:avLst/>
            </a:prstGeom>
          </p:spPr>
          <p:txBody>
            <a:bodyPr vert="horz" wrap="square" lIns="68562" tIns="34281" rIns="68562" bIns="34281" rtlCol="0" anchor="b">
              <a:normAutofit fontScale="92500"/>
            </a:bodyPr>
            <a:lstStyle/>
            <a:p>
              <a:pPr defTabSz="914378" eaLnBrk="0" hangingPunct="0">
                <a:lnSpc>
                  <a:spcPct val="95000"/>
                </a:lnSpc>
                <a:spcBef>
                  <a:spcPts val="300"/>
                </a:spcBef>
                <a:spcAft>
                  <a:spcPts val="150"/>
                </a:spcAft>
                <a:defRPr/>
              </a:pPr>
              <a:r>
                <a:rPr lang="en-US" sz="1050" b="1">
                  <a:solidFill>
                    <a:srgbClr val="0067C5"/>
                  </a:solidFill>
                </a:rPr>
                <a:t>UCS C240 M5</a:t>
              </a:r>
            </a:p>
            <a:p>
              <a:pPr algn="ctr" defTabSz="914378" eaLnBrk="0" hangingPunct="0">
                <a:defRPr/>
              </a:pPr>
              <a:r>
                <a:rPr lang="en-US" sz="1050">
                  <a:solidFill>
                    <a:srgbClr val="0067C5"/>
                  </a:solidFill>
                </a:rPr>
                <a:t>6x PCIe T4/ V100</a:t>
              </a:r>
            </a:p>
          </p:txBody>
        </p:sp>
        <p:sp>
          <p:nvSpPr>
            <p:cNvPr id="46" name="TextBox 45">
              <a:extLst>
                <a:ext uri="{FF2B5EF4-FFF2-40B4-BE49-F238E27FC236}">
                  <a16:creationId xmlns:a16="http://schemas.microsoft.com/office/drawing/2014/main" id="{25C96281-11B2-134A-8C8D-924ADB4BC653}"/>
                </a:ext>
              </a:extLst>
            </p:cNvPr>
            <p:cNvSpPr txBox="1"/>
            <p:nvPr/>
          </p:nvSpPr>
          <p:spPr>
            <a:xfrm>
              <a:off x="5294715" y="5829890"/>
              <a:ext cx="1356063" cy="679776"/>
            </a:xfrm>
            <a:prstGeom prst="rect">
              <a:avLst/>
            </a:prstGeom>
          </p:spPr>
          <p:txBody>
            <a:bodyPr vert="horz" wrap="square" lIns="68562" tIns="34281" rIns="68562" bIns="34281" rtlCol="0" anchor="b">
              <a:normAutofit/>
            </a:bodyPr>
            <a:lstStyle/>
            <a:p>
              <a:pPr defTabSz="914378" eaLnBrk="0" hangingPunct="0">
                <a:lnSpc>
                  <a:spcPct val="95000"/>
                </a:lnSpc>
                <a:spcBef>
                  <a:spcPts val="300"/>
                </a:spcBef>
                <a:spcAft>
                  <a:spcPts val="150"/>
                </a:spcAft>
                <a:defRPr/>
              </a:pPr>
              <a:r>
                <a:rPr lang="en-US" sz="1050" b="1">
                  <a:solidFill>
                    <a:srgbClr val="0067C5"/>
                  </a:solidFill>
                </a:rPr>
                <a:t>UCS C220 M5</a:t>
              </a:r>
            </a:p>
            <a:p>
              <a:pPr algn="ctr" defTabSz="914378" eaLnBrk="0" hangingPunct="0">
                <a:defRPr/>
              </a:pPr>
              <a:r>
                <a:rPr lang="en-US" sz="1050">
                  <a:solidFill>
                    <a:srgbClr val="0067C5"/>
                  </a:solidFill>
                </a:rPr>
                <a:t>2x PCIe T4 </a:t>
              </a:r>
            </a:p>
          </p:txBody>
        </p:sp>
        <p:sp>
          <p:nvSpPr>
            <p:cNvPr id="47" name="Oval 46">
              <a:extLst>
                <a:ext uri="{FF2B5EF4-FFF2-40B4-BE49-F238E27FC236}">
                  <a16:creationId xmlns:a16="http://schemas.microsoft.com/office/drawing/2014/main" id="{FD4D8DFC-FD9F-B247-8BE6-BBE68BCE0619}"/>
                </a:ext>
              </a:extLst>
            </p:cNvPr>
            <p:cNvSpPr/>
            <p:nvPr/>
          </p:nvSpPr>
          <p:spPr>
            <a:xfrm>
              <a:off x="5358637" y="2870141"/>
              <a:ext cx="454219" cy="335424"/>
            </a:xfrm>
            <a:prstGeom prst="ellipse">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fontScale="85000" lnSpcReduction="10000"/>
            </a:bodyPr>
            <a:lstStyle/>
            <a:p>
              <a:pPr algn="ctr" defTabSz="914378" eaLnBrk="0" hangingPunct="0">
                <a:lnSpc>
                  <a:spcPct val="95000"/>
                </a:lnSpc>
                <a:defRPr/>
              </a:pPr>
              <a:r>
                <a:rPr lang="en-US" sz="1050" dirty="0">
                  <a:solidFill>
                    <a:prstClr val="black"/>
                  </a:solidFill>
                  <a:latin typeface="Arial"/>
                </a:rPr>
                <a:t>New</a:t>
              </a:r>
            </a:p>
          </p:txBody>
        </p:sp>
        <p:pic>
          <p:nvPicPr>
            <p:cNvPr id="48" name="Picture 47">
              <a:extLst>
                <a:ext uri="{FF2B5EF4-FFF2-40B4-BE49-F238E27FC236}">
                  <a16:creationId xmlns:a16="http://schemas.microsoft.com/office/drawing/2014/main" id="{A335680C-1DAD-F648-AA98-410F7714896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49396" y="3098813"/>
              <a:ext cx="1153502" cy="480384"/>
            </a:xfrm>
            <a:prstGeom prst="rect">
              <a:avLst/>
            </a:prstGeom>
          </p:spPr>
        </p:pic>
        <p:sp>
          <p:nvSpPr>
            <p:cNvPr id="49" name="TextBox 48">
              <a:extLst>
                <a:ext uri="{FF2B5EF4-FFF2-40B4-BE49-F238E27FC236}">
                  <a16:creationId xmlns:a16="http://schemas.microsoft.com/office/drawing/2014/main" id="{62EF01D5-C2B1-E242-82E6-32B4358569EC}"/>
                </a:ext>
              </a:extLst>
            </p:cNvPr>
            <p:cNvSpPr txBox="1"/>
            <p:nvPr/>
          </p:nvSpPr>
          <p:spPr>
            <a:xfrm>
              <a:off x="5973303" y="3669589"/>
              <a:ext cx="1651059" cy="679776"/>
            </a:xfrm>
            <a:prstGeom prst="rect">
              <a:avLst/>
            </a:prstGeom>
          </p:spPr>
          <p:txBody>
            <a:bodyPr vert="horz" wrap="square" lIns="68562" tIns="34281" rIns="68562" bIns="34281" rtlCol="0" anchor="b">
              <a:normAutofit fontScale="92500"/>
            </a:bodyPr>
            <a:lstStyle/>
            <a:p>
              <a:pPr defTabSz="914378" eaLnBrk="0" hangingPunct="0">
                <a:lnSpc>
                  <a:spcPct val="95000"/>
                </a:lnSpc>
                <a:spcBef>
                  <a:spcPts val="300"/>
                </a:spcBef>
                <a:spcAft>
                  <a:spcPts val="150"/>
                </a:spcAft>
                <a:defRPr/>
              </a:pPr>
              <a:r>
                <a:rPr lang="en-US" sz="1125" b="1">
                  <a:solidFill>
                    <a:srgbClr val="0067C5"/>
                  </a:solidFill>
                </a:rPr>
                <a:t>UCS C480 M5</a:t>
              </a:r>
            </a:p>
            <a:p>
              <a:pPr defTabSz="914378" eaLnBrk="0" hangingPunct="0">
                <a:defRPr/>
              </a:pPr>
              <a:r>
                <a:rPr lang="en-US" sz="1125">
                  <a:solidFill>
                    <a:srgbClr val="0067C5"/>
                  </a:solidFill>
                </a:rPr>
                <a:t>6x PCIe T4/ V100 </a:t>
              </a:r>
            </a:p>
          </p:txBody>
        </p:sp>
        <p:cxnSp>
          <p:nvCxnSpPr>
            <p:cNvPr id="51" name="Straight Connector 50">
              <a:extLst>
                <a:ext uri="{FF2B5EF4-FFF2-40B4-BE49-F238E27FC236}">
                  <a16:creationId xmlns:a16="http://schemas.microsoft.com/office/drawing/2014/main" id="{616B9C77-94E8-F34B-836F-78A974331EB2}"/>
                </a:ext>
              </a:extLst>
            </p:cNvPr>
            <p:cNvCxnSpPr>
              <a:cxnSpLocks/>
            </p:cNvCxnSpPr>
            <p:nvPr/>
          </p:nvCxnSpPr>
          <p:spPr bwMode="auto">
            <a:xfrm>
              <a:off x="7510878" y="2879182"/>
              <a:ext cx="0" cy="3411625"/>
            </a:xfrm>
            <a:prstGeom prst="line">
              <a:avLst/>
            </a:prstGeom>
            <a:solidFill>
              <a:schemeClr val="accent1"/>
            </a:solidFill>
            <a:ln w="76200" cap="flat" cmpd="sng" algn="ctr">
              <a:solidFill>
                <a:schemeClr val="tx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A7F5A215-D5D1-4B4F-A05C-5E2987426CC5}"/>
                </a:ext>
              </a:extLst>
            </p:cNvPr>
            <p:cNvCxnSpPr>
              <a:cxnSpLocks/>
            </p:cNvCxnSpPr>
            <p:nvPr/>
          </p:nvCxnSpPr>
          <p:spPr>
            <a:xfrm flipV="1">
              <a:off x="4517511" y="4385243"/>
              <a:ext cx="2685387" cy="22450"/>
            </a:xfrm>
            <a:prstGeom prst="line">
              <a:avLst/>
            </a:prstGeom>
            <a:ln>
              <a:solidFill>
                <a:srgbClr val="457C9C"/>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3CDA351-2C30-6C46-B88F-E709ED2BBEE0}"/>
                </a:ext>
              </a:extLst>
            </p:cNvPr>
            <p:cNvCxnSpPr>
              <a:cxnSpLocks/>
            </p:cNvCxnSpPr>
            <p:nvPr/>
          </p:nvCxnSpPr>
          <p:spPr>
            <a:xfrm flipV="1">
              <a:off x="4501210" y="5522203"/>
              <a:ext cx="2685387" cy="22450"/>
            </a:xfrm>
            <a:prstGeom prst="line">
              <a:avLst/>
            </a:prstGeom>
            <a:ln>
              <a:solidFill>
                <a:srgbClr val="457C9C"/>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0C0545FB-D838-0347-ABA1-E83121B3202E}"/>
                </a:ext>
              </a:extLst>
            </p:cNvPr>
            <p:cNvSpPr txBox="1"/>
            <p:nvPr/>
          </p:nvSpPr>
          <p:spPr>
            <a:xfrm>
              <a:off x="9080002" y="3654659"/>
              <a:ext cx="1600429" cy="679776"/>
            </a:xfrm>
            <a:prstGeom prst="rect">
              <a:avLst/>
            </a:prstGeom>
          </p:spPr>
          <p:txBody>
            <a:bodyPr vert="horz" wrap="square" lIns="68562" tIns="34281" rIns="68562" bIns="34281" rtlCol="0" anchor="b">
              <a:normAutofit fontScale="92500" lnSpcReduction="20000"/>
            </a:bodyPr>
            <a:lstStyle/>
            <a:p>
              <a:pPr defTabSz="914378" eaLnBrk="0" hangingPunct="0">
                <a:lnSpc>
                  <a:spcPct val="95000"/>
                </a:lnSpc>
                <a:spcBef>
                  <a:spcPts val="300"/>
                </a:spcBef>
                <a:spcAft>
                  <a:spcPts val="150"/>
                </a:spcAft>
                <a:defRPr/>
              </a:pPr>
              <a:r>
                <a:rPr lang="en-US" sz="1200" b="1">
                  <a:solidFill>
                    <a:srgbClr val="0067C5"/>
                  </a:solidFill>
                </a:rPr>
                <a:t>AFF A700s</a:t>
              </a:r>
            </a:p>
            <a:p>
              <a:pPr defTabSz="914378" eaLnBrk="0" hangingPunct="0">
                <a:defRPr/>
              </a:pPr>
              <a:r>
                <a:rPr lang="en-US" sz="1200">
                  <a:solidFill>
                    <a:srgbClr val="0067C5"/>
                  </a:solidFill>
                </a:rPr>
                <a:t>Compact </a:t>
              </a:r>
            </a:p>
            <a:p>
              <a:pPr defTabSz="914378" eaLnBrk="0" hangingPunct="0">
                <a:defRPr/>
              </a:pPr>
              <a:r>
                <a:rPr lang="en-US" sz="1200">
                  <a:solidFill>
                    <a:srgbClr val="0067C5"/>
                  </a:solidFill>
                </a:rPr>
                <a:t>Design</a:t>
              </a:r>
            </a:p>
          </p:txBody>
        </p:sp>
        <p:sp>
          <p:nvSpPr>
            <p:cNvPr id="4" name="Rectangle 3">
              <a:extLst>
                <a:ext uri="{FF2B5EF4-FFF2-40B4-BE49-F238E27FC236}">
                  <a16:creationId xmlns:a16="http://schemas.microsoft.com/office/drawing/2014/main" id="{805992A5-BFD1-3545-B75A-B8BD0BC9BFBC}"/>
                </a:ext>
              </a:extLst>
            </p:cNvPr>
            <p:cNvSpPr/>
            <p:nvPr/>
          </p:nvSpPr>
          <p:spPr bwMode="auto">
            <a:xfrm>
              <a:off x="4484909" y="2306907"/>
              <a:ext cx="2685387" cy="193175"/>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18900000" scaled="1"/>
              <a:tileRect/>
            </a:gradFill>
            <a:ln w="9525"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a:buClr>
                  <a:schemeClr val="accent2"/>
                </a:buClr>
              </a:pPr>
              <a:endParaRPr lang="en-US" sz="1500"/>
            </a:p>
          </p:txBody>
        </p:sp>
        <p:sp>
          <p:nvSpPr>
            <p:cNvPr id="8" name="TextBox 7">
              <a:extLst>
                <a:ext uri="{FF2B5EF4-FFF2-40B4-BE49-F238E27FC236}">
                  <a16:creationId xmlns:a16="http://schemas.microsoft.com/office/drawing/2014/main" id="{6B1E5308-C6CB-F64B-90E0-8F1B415DCEBD}"/>
                </a:ext>
              </a:extLst>
            </p:cNvPr>
            <p:cNvSpPr txBox="1"/>
            <p:nvPr/>
          </p:nvSpPr>
          <p:spPr>
            <a:xfrm>
              <a:off x="5213453" y="2289542"/>
              <a:ext cx="1228299" cy="282634"/>
            </a:xfrm>
            <a:prstGeom prst="rect">
              <a:avLst/>
            </a:prstGeom>
            <a:noFill/>
          </p:spPr>
          <p:txBody>
            <a:bodyPr wrap="none" rtlCol="0">
              <a:normAutofit fontScale="62500" lnSpcReduction="20000"/>
            </a:bodyPr>
            <a:lstStyle/>
            <a:p>
              <a:pPr>
                <a:buClr>
                  <a:schemeClr val="accent3"/>
                </a:buClr>
              </a:pPr>
              <a:r>
                <a:rPr lang="en-US" sz="1500"/>
                <a:t>Cisco UCSM </a:t>
              </a:r>
            </a:p>
          </p:txBody>
        </p:sp>
        <p:sp>
          <p:nvSpPr>
            <p:cNvPr id="67" name="Rectangle 66">
              <a:extLst>
                <a:ext uri="{FF2B5EF4-FFF2-40B4-BE49-F238E27FC236}">
                  <a16:creationId xmlns:a16="http://schemas.microsoft.com/office/drawing/2014/main" id="{E8DE7D9A-E40F-5544-A503-4B62D37DEE87}"/>
                </a:ext>
              </a:extLst>
            </p:cNvPr>
            <p:cNvSpPr/>
            <p:nvPr/>
          </p:nvSpPr>
          <p:spPr bwMode="auto">
            <a:xfrm>
              <a:off x="7578438" y="2306907"/>
              <a:ext cx="4351611" cy="192984"/>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a:ln w="9525"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a:buClr>
                  <a:schemeClr val="accent2"/>
                </a:buClr>
              </a:pPr>
              <a:endParaRPr lang="en-US" sz="1500"/>
            </a:p>
          </p:txBody>
        </p:sp>
        <p:sp>
          <p:nvSpPr>
            <p:cNvPr id="79" name="TextBox 78">
              <a:extLst>
                <a:ext uri="{FF2B5EF4-FFF2-40B4-BE49-F238E27FC236}">
                  <a16:creationId xmlns:a16="http://schemas.microsoft.com/office/drawing/2014/main" id="{58830616-623A-3A40-ADE2-8C17643AC861}"/>
                </a:ext>
              </a:extLst>
            </p:cNvPr>
            <p:cNvSpPr txBox="1"/>
            <p:nvPr/>
          </p:nvSpPr>
          <p:spPr>
            <a:xfrm>
              <a:off x="9327103" y="2293148"/>
              <a:ext cx="854280" cy="256472"/>
            </a:xfrm>
            <a:prstGeom prst="rect">
              <a:avLst/>
            </a:prstGeom>
            <a:noFill/>
          </p:spPr>
          <p:txBody>
            <a:bodyPr wrap="none" rtlCol="0">
              <a:normAutofit fontScale="55000" lnSpcReduction="20000"/>
            </a:bodyPr>
            <a:lstStyle/>
            <a:p>
              <a:pPr>
                <a:buClr>
                  <a:schemeClr val="accent3"/>
                </a:buClr>
              </a:pPr>
              <a:r>
                <a:rPr lang="en-US" sz="1500"/>
                <a:t>NetApp ONTAP 9 </a:t>
              </a:r>
            </a:p>
          </p:txBody>
        </p:sp>
      </p:grpSp>
      <p:sp>
        <p:nvSpPr>
          <p:cNvPr id="82" name="Text Placeholder 6">
            <a:extLst>
              <a:ext uri="{FF2B5EF4-FFF2-40B4-BE49-F238E27FC236}">
                <a16:creationId xmlns:a16="http://schemas.microsoft.com/office/drawing/2014/main" id="{54A18564-E64B-644A-8A2E-B01E3BBBE577}"/>
              </a:ext>
            </a:extLst>
          </p:cNvPr>
          <p:cNvSpPr txBox="1">
            <a:spLocks/>
          </p:cNvSpPr>
          <p:nvPr/>
        </p:nvSpPr>
        <p:spPr>
          <a:xfrm>
            <a:off x="187199" y="576831"/>
            <a:ext cx="8542991" cy="300082"/>
          </a:xfrm>
          <a:prstGeom prst="rect">
            <a:avLst/>
          </a:prstGeom>
        </p:spPr>
        <p:txBody>
          <a:bodyPr/>
          <a:lst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indent="0">
              <a:spcBef>
                <a:spcPts val="0"/>
              </a:spcBef>
              <a:spcAft>
                <a:spcPts val="0"/>
              </a:spcAft>
              <a:buNone/>
            </a:pPr>
            <a:r>
              <a:rPr lang="en-US" sz="1600" dirty="0">
                <a:solidFill>
                  <a:srgbClr val="95918F"/>
                </a:solidFill>
              </a:rPr>
              <a:t>Focus on full Data Life Cycle, Consistent Operational Model with UCSM and ONTAP </a:t>
            </a:r>
          </a:p>
          <a:p>
            <a:pPr marL="0" indent="0">
              <a:buNone/>
            </a:pPr>
            <a:endParaRPr lang="en-US" sz="1350" kern="0" dirty="0"/>
          </a:p>
        </p:txBody>
      </p:sp>
      <p:sp>
        <p:nvSpPr>
          <p:cNvPr id="11" name="Title 10">
            <a:extLst>
              <a:ext uri="{FF2B5EF4-FFF2-40B4-BE49-F238E27FC236}">
                <a16:creationId xmlns:a16="http://schemas.microsoft.com/office/drawing/2014/main" id="{3DA748BC-9423-F042-9CAE-93CAE13808C1}"/>
              </a:ext>
            </a:extLst>
          </p:cNvPr>
          <p:cNvSpPr>
            <a:spLocks noGrp="1"/>
          </p:cNvSpPr>
          <p:nvPr>
            <p:ph type="title"/>
          </p:nvPr>
        </p:nvSpPr>
        <p:spPr>
          <a:xfrm>
            <a:off x="244079" y="100020"/>
            <a:ext cx="8534399" cy="535781"/>
          </a:xfrm>
        </p:spPr>
        <p:txBody>
          <a:bodyPr/>
          <a:lstStyle/>
          <a:p>
            <a:r>
              <a:rPr lang="en-US" dirty="0"/>
              <a:t>FlexPod for AI/ML/DL: Portfolio of Solutions</a:t>
            </a:r>
          </a:p>
        </p:txBody>
      </p:sp>
    </p:spTree>
    <p:extLst>
      <p:ext uri="{BB962C8B-B14F-4D97-AF65-F5344CB8AC3E}">
        <p14:creationId xmlns:p14="http://schemas.microsoft.com/office/powerpoint/2010/main" val="657703741"/>
      </p:ext>
    </p:extLst>
  </p:cSld>
  <p:clrMapOvr>
    <a:masterClrMapping/>
  </p:clrMapOvr>
  <p:transition spd="slow">
    <p:circl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218F6-DF66-6748-8C6C-08318043F7BE}"/>
              </a:ext>
            </a:extLst>
          </p:cNvPr>
          <p:cNvSpPr>
            <a:spLocks noGrp="1"/>
          </p:cNvSpPr>
          <p:nvPr>
            <p:ph type="title"/>
          </p:nvPr>
        </p:nvSpPr>
        <p:spPr>
          <a:xfrm>
            <a:off x="293195" y="90449"/>
            <a:ext cx="8337550" cy="536575"/>
          </a:xfrm>
        </p:spPr>
        <p:txBody>
          <a:bodyPr/>
          <a:lstStyle/>
          <a:p>
            <a:r>
              <a:rPr lang="en-US" dirty="0">
                <a:solidFill>
                  <a:schemeClr val="tx1">
                    <a:lumMod val="50000"/>
                  </a:schemeClr>
                </a:solidFill>
              </a:rPr>
              <a:t>Nvidia T4 GPU Qualified Across Portfolio</a:t>
            </a:r>
          </a:p>
        </p:txBody>
      </p:sp>
      <p:pic>
        <p:nvPicPr>
          <p:cNvPr id="3" name="Picture 2">
            <a:extLst>
              <a:ext uri="{FF2B5EF4-FFF2-40B4-BE49-F238E27FC236}">
                <a16:creationId xmlns:a16="http://schemas.microsoft.com/office/drawing/2014/main" id="{E2FF1416-0BF3-4845-B90D-A5EAC82ADF2B}"/>
              </a:ext>
            </a:extLst>
          </p:cNvPr>
          <p:cNvPicPr>
            <a:picLocks noChangeAspect="1" noChangeArrowheads="1"/>
          </p:cNvPicPr>
          <p:nvPr/>
        </p:nvPicPr>
        <p:blipFill>
          <a:blip r:embed="rId2" cstate="print">
            <a:lum bright="6000"/>
          </a:blip>
          <a:srcRect/>
          <a:stretch>
            <a:fillRect/>
          </a:stretch>
        </p:blipFill>
        <p:spPr bwMode="auto">
          <a:xfrm>
            <a:off x="41601" y="563259"/>
            <a:ext cx="9060796" cy="4489793"/>
          </a:xfrm>
          <a:prstGeom prst="rect">
            <a:avLst/>
          </a:prstGeom>
          <a:noFill/>
          <a:ln w="9525">
            <a:solidFill>
              <a:schemeClr val="accent4"/>
            </a:solidFill>
            <a:round/>
            <a:headEnd/>
            <a:tailEnd/>
          </a:ln>
        </p:spPr>
      </p:pic>
      <p:pic>
        <p:nvPicPr>
          <p:cNvPr id="4" name="Picture 3">
            <a:extLst>
              <a:ext uri="{FF2B5EF4-FFF2-40B4-BE49-F238E27FC236}">
                <a16:creationId xmlns:a16="http://schemas.microsoft.com/office/drawing/2014/main" id="{59A9CEC1-15C2-4E4F-8D30-BD46BB3DE2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36239" y="3365921"/>
            <a:ext cx="865963" cy="92030"/>
          </a:xfrm>
          <a:prstGeom prst="rect">
            <a:avLst/>
          </a:prstGeom>
        </p:spPr>
      </p:pic>
      <p:pic>
        <p:nvPicPr>
          <p:cNvPr id="5" name="Picture 4">
            <a:extLst>
              <a:ext uri="{FF2B5EF4-FFF2-40B4-BE49-F238E27FC236}">
                <a16:creationId xmlns:a16="http://schemas.microsoft.com/office/drawing/2014/main" id="{0FCB85D0-A047-9441-9D2D-D24798CBD5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036239" y="3885140"/>
            <a:ext cx="861902" cy="196959"/>
          </a:xfrm>
          <a:prstGeom prst="rect">
            <a:avLst/>
          </a:prstGeom>
        </p:spPr>
      </p:pic>
      <p:sp>
        <p:nvSpPr>
          <p:cNvPr id="6" name="TextBox 5">
            <a:extLst>
              <a:ext uri="{FF2B5EF4-FFF2-40B4-BE49-F238E27FC236}">
                <a16:creationId xmlns:a16="http://schemas.microsoft.com/office/drawing/2014/main" id="{FEF1DDEC-F99D-7F41-988F-48A2257D1F4C}"/>
              </a:ext>
            </a:extLst>
          </p:cNvPr>
          <p:cNvSpPr txBox="1"/>
          <p:nvPr/>
        </p:nvSpPr>
        <p:spPr>
          <a:xfrm>
            <a:off x="1920990" y="2821758"/>
            <a:ext cx="1169333" cy="509832"/>
          </a:xfrm>
          <a:prstGeom prst="rect">
            <a:avLst/>
          </a:prstGeom>
        </p:spPr>
        <p:txBody>
          <a:bodyPr vert="horz" wrap="square" lIns="68562" tIns="34281" rIns="68562" bIns="34281" rtlCol="0" anchor="b">
            <a:normAutofit fontScale="92500"/>
          </a:bodyPr>
          <a:lstStyle/>
          <a:p>
            <a:pPr defTabSz="914378">
              <a:lnSpc>
                <a:spcPct val="95000"/>
              </a:lnSpc>
              <a:spcBef>
                <a:spcPts val="300"/>
              </a:spcBef>
              <a:spcAft>
                <a:spcPts val="150"/>
              </a:spcAft>
              <a:defRPr/>
            </a:pPr>
            <a:r>
              <a:rPr lang="en-US" sz="1050" b="1" dirty="0">
                <a:solidFill>
                  <a:srgbClr val="0067C5"/>
                </a:solidFill>
                <a:latin typeface="Arial" charset="0"/>
              </a:rPr>
              <a:t>UCS C220 M5 </a:t>
            </a:r>
          </a:p>
          <a:p>
            <a:pPr defTabSz="914378">
              <a:lnSpc>
                <a:spcPct val="95000"/>
              </a:lnSpc>
              <a:spcBef>
                <a:spcPts val="300"/>
              </a:spcBef>
              <a:spcAft>
                <a:spcPts val="150"/>
              </a:spcAft>
              <a:defRPr/>
            </a:pPr>
            <a:r>
              <a:rPr lang="en-US" sz="1050" b="1" dirty="0">
                <a:solidFill>
                  <a:srgbClr val="0067C5"/>
                </a:solidFill>
                <a:latin typeface="Arial" charset="0"/>
              </a:rPr>
              <a:t>Nvidia </a:t>
            </a:r>
            <a:r>
              <a:rPr lang="en-US" sz="1050" dirty="0">
                <a:solidFill>
                  <a:srgbClr val="0067C5"/>
                </a:solidFill>
                <a:latin typeface="Arial" charset="0"/>
              </a:rPr>
              <a:t>2xPCIe T4 </a:t>
            </a:r>
          </a:p>
        </p:txBody>
      </p:sp>
      <p:sp>
        <p:nvSpPr>
          <p:cNvPr id="7" name="TextBox 6">
            <a:extLst>
              <a:ext uri="{FF2B5EF4-FFF2-40B4-BE49-F238E27FC236}">
                <a16:creationId xmlns:a16="http://schemas.microsoft.com/office/drawing/2014/main" id="{9F0EA528-8F64-5445-9B24-84F88465797D}"/>
              </a:ext>
            </a:extLst>
          </p:cNvPr>
          <p:cNvSpPr txBox="1"/>
          <p:nvPr/>
        </p:nvSpPr>
        <p:spPr>
          <a:xfrm>
            <a:off x="2036239" y="4082099"/>
            <a:ext cx="1278010" cy="196959"/>
          </a:xfrm>
          <a:prstGeom prst="rect">
            <a:avLst/>
          </a:prstGeom>
        </p:spPr>
        <p:txBody>
          <a:bodyPr vert="horz" wrap="square" lIns="68562" tIns="34281" rIns="68562" bIns="34281" rtlCol="0" anchor="t">
            <a:noAutofit/>
          </a:bodyPr>
          <a:lstStyle/>
          <a:p>
            <a:pPr defTabSz="914378">
              <a:lnSpc>
                <a:spcPct val="95000"/>
              </a:lnSpc>
              <a:spcBef>
                <a:spcPts val="300"/>
              </a:spcBef>
              <a:spcAft>
                <a:spcPts val="150"/>
              </a:spcAft>
              <a:defRPr/>
            </a:pPr>
            <a:r>
              <a:rPr lang="en-US" sz="1050" b="1" dirty="0">
                <a:solidFill>
                  <a:srgbClr val="0067C5"/>
                </a:solidFill>
                <a:latin typeface="Arial" charset="0"/>
              </a:rPr>
              <a:t>AFF A220</a:t>
            </a:r>
          </a:p>
        </p:txBody>
      </p:sp>
      <p:pic>
        <p:nvPicPr>
          <p:cNvPr id="9" name="Picture 8" descr="A close up of a printer&#10;&#10;Description automatically generated">
            <a:extLst>
              <a:ext uri="{FF2B5EF4-FFF2-40B4-BE49-F238E27FC236}">
                <a16:creationId xmlns:a16="http://schemas.microsoft.com/office/drawing/2014/main" id="{552CF431-F5B7-3C45-AA21-B9C2B7DA1B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0132" y="3493302"/>
            <a:ext cx="638175" cy="357188"/>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C0901AFF-CBE1-5E43-88E8-57938E7B47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44064" y="4048520"/>
            <a:ext cx="1541406" cy="809891"/>
          </a:xfrm>
          <a:prstGeom prst="rect">
            <a:avLst/>
          </a:prstGeom>
        </p:spPr>
      </p:pic>
      <p:pic>
        <p:nvPicPr>
          <p:cNvPr id="12" name="Picture 11">
            <a:extLst>
              <a:ext uri="{FF2B5EF4-FFF2-40B4-BE49-F238E27FC236}">
                <a16:creationId xmlns:a16="http://schemas.microsoft.com/office/drawing/2014/main" id="{21D3F557-A413-944B-B95A-D6CE3B1FDD5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92892" y="2796395"/>
            <a:ext cx="1048145" cy="219652"/>
          </a:xfrm>
          <a:prstGeom prst="rect">
            <a:avLst/>
          </a:prstGeom>
        </p:spPr>
      </p:pic>
      <p:pic>
        <p:nvPicPr>
          <p:cNvPr id="14" name="Picture 13" descr="A close up of a device&#10;&#10;Description automatically generated">
            <a:extLst>
              <a:ext uri="{FF2B5EF4-FFF2-40B4-BE49-F238E27FC236}">
                <a16:creationId xmlns:a16="http://schemas.microsoft.com/office/drawing/2014/main" id="{5287B7BB-B1E8-3240-85AC-EB2D61DC63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72526" y="3033023"/>
            <a:ext cx="434031" cy="294919"/>
          </a:xfrm>
          <a:prstGeom prst="rect">
            <a:avLst/>
          </a:prstGeom>
        </p:spPr>
      </p:pic>
      <p:pic>
        <p:nvPicPr>
          <p:cNvPr id="16" name="Picture 15" descr="A close up of a device&#10;&#10;Description automatically generated">
            <a:extLst>
              <a:ext uri="{FF2B5EF4-FFF2-40B4-BE49-F238E27FC236}">
                <a16:creationId xmlns:a16="http://schemas.microsoft.com/office/drawing/2014/main" id="{0E9FF8A1-52B9-8742-A16C-F9B33315A5C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11486" y="3022784"/>
            <a:ext cx="532501" cy="315397"/>
          </a:xfrm>
          <a:prstGeom prst="rect">
            <a:avLst/>
          </a:prstGeom>
        </p:spPr>
      </p:pic>
      <p:sp>
        <p:nvSpPr>
          <p:cNvPr id="17" name="TextBox 16">
            <a:extLst>
              <a:ext uri="{FF2B5EF4-FFF2-40B4-BE49-F238E27FC236}">
                <a16:creationId xmlns:a16="http://schemas.microsoft.com/office/drawing/2014/main" id="{29BA7EA0-3DAA-EA43-8D67-1A3BA8E7C085}"/>
              </a:ext>
            </a:extLst>
          </p:cNvPr>
          <p:cNvSpPr txBox="1"/>
          <p:nvPr/>
        </p:nvSpPr>
        <p:spPr>
          <a:xfrm>
            <a:off x="3521350" y="2250794"/>
            <a:ext cx="1200322" cy="509832"/>
          </a:xfrm>
          <a:prstGeom prst="rect">
            <a:avLst/>
          </a:prstGeom>
        </p:spPr>
        <p:txBody>
          <a:bodyPr vert="horz" wrap="square" lIns="68562" tIns="34281" rIns="68562" bIns="34281" rtlCol="0" anchor="b">
            <a:normAutofit fontScale="92500" lnSpcReduction="10000"/>
          </a:bodyPr>
          <a:lstStyle/>
          <a:p>
            <a:pPr defTabSz="914378">
              <a:lnSpc>
                <a:spcPct val="95000"/>
              </a:lnSpc>
              <a:spcBef>
                <a:spcPts val="300"/>
              </a:spcBef>
              <a:spcAft>
                <a:spcPts val="150"/>
              </a:spcAft>
              <a:defRPr/>
            </a:pPr>
            <a:r>
              <a:rPr lang="en-US" sz="1050" b="1" dirty="0">
                <a:solidFill>
                  <a:srgbClr val="0067C5"/>
                </a:solidFill>
                <a:latin typeface="Arial" charset="0"/>
              </a:rPr>
              <a:t>UCS C240 M5</a:t>
            </a:r>
          </a:p>
          <a:p>
            <a:pPr defTabSz="914378">
              <a:defRPr/>
            </a:pPr>
            <a:r>
              <a:rPr lang="en-US" sz="1050" dirty="0">
                <a:solidFill>
                  <a:srgbClr val="0067C5"/>
                </a:solidFill>
                <a:latin typeface="Arial" charset="0"/>
              </a:rPr>
              <a:t>2x PCIe V100/</a:t>
            </a:r>
          </a:p>
          <a:p>
            <a:pPr defTabSz="914378">
              <a:defRPr/>
            </a:pPr>
            <a:r>
              <a:rPr lang="en-US" sz="1050" dirty="0">
                <a:solidFill>
                  <a:srgbClr val="0067C5"/>
                </a:solidFill>
                <a:latin typeface="Arial" charset="0"/>
              </a:rPr>
              <a:t>4x PCIe T4</a:t>
            </a:r>
          </a:p>
        </p:txBody>
      </p:sp>
      <p:pic>
        <p:nvPicPr>
          <p:cNvPr id="18" name="Picture 17">
            <a:extLst>
              <a:ext uri="{FF2B5EF4-FFF2-40B4-BE49-F238E27FC236}">
                <a16:creationId xmlns:a16="http://schemas.microsoft.com/office/drawing/2014/main" id="{1DF6753E-0E27-B445-B976-574BA238DB41}"/>
              </a:ext>
            </a:extLst>
          </p:cNvPr>
          <p:cNvPicPr>
            <a:picLocks noChangeAspect="1"/>
          </p:cNvPicPr>
          <p:nvPr/>
        </p:nvPicPr>
        <p:blipFill rotWithShape="1">
          <a:blip r:embed="rId10" cstate="print">
            <a:extLst>
              <a:ext uri="{28A0092B-C50C-407E-A947-70E740481C1C}">
                <a14:useLocalDpi xmlns:a14="http://schemas.microsoft.com/office/drawing/2010/main"/>
              </a:ext>
            </a:extLst>
          </a:blip>
          <a:stretch/>
        </p:blipFill>
        <p:spPr>
          <a:xfrm>
            <a:off x="3385279" y="3337696"/>
            <a:ext cx="1088311" cy="572577"/>
          </a:xfrm>
          <a:prstGeom prst="rect">
            <a:avLst/>
          </a:prstGeom>
        </p:spPr>
      </p:pic>
      <p:sp>
        <p:nvSpPr>
          <p:cNvPr id="19" name="TextBox 18">
            <a:extLst>
              <a:ext uri="{FF2B5EF4-FFF2-40B4-BE49-F238E27FC236}">
                <a16:creationId xmlns:a16="http://schemas.microsoft.com/office/drawing/2014/main" id="{BC89AF9F-C07F-7049-9D7C-86A77B780229}"/>
              </a:ext>
            </a:extLst>
          </p:cNvPr>
          <p:cNvSpPr txBox="1"/>
          <p:nvPr/>
        </p:nvSpPr>
        <p:spPr>
          <a:xfrm>
            <a:off x="3321862" y="3904322"/>
            <a:ext cx="994488" cy="193950"/>
          </a:xfrm>
          <a:prstGeom prst="rect">
            <a:avLst/>
          </a:prstGeom>
        </p:spPr>
        <p:txBody>
          <a:bodyPr vert="horz" wrap="square" lIns="68562" tIns="34281" rIns="68562" bIns="34281" rtlCol="0" anchor="t">
            <a:noAutofit/>
          </a:bodyPr>
          <a:lstStyle/>
          <a:p>
            <a:pPr algn="ctr" defTabSz="914378">
              <a:lnSpc>
                <a:spcPct val="95000"/>
              </a:lnSpc>
              <a:spcBef>
                <a:spcPts val="300"/>
              </a:spcBef>
              <a:spcAft>
                <a:spcPts val="150"/>
              </a:spcAft>
              <a:defRPr/>
            </a:pPr>
            <a:r>
              <a:rPr lang="en-US" sz="1050" b="1" dirty="0">
                <a:solidFill>
                  <a:srgbClr val="0067C5"/>
                </a:solidFill>
                <a:latin typeface="Arial" charset="0"/>
              </a:rPr>
              <a:t>AFF A300</a:t>
            </a:r>
          </a:p>
        </p:txBody>
      </p:sp>
      <p:pic>
        <p:nvPicPr>
          <p:cNvPr id="20" name="Picture 19">
            <a:extLst>
              <a:ext uri="{FF2B5EF4-FFF2-40B4-BE49-F238E27FC236}">
                <a16:creationId xmlns:a16="http://schemas.microsoft.com/office/drawing/2014/main" id="{B46B77CA-B8E8-6B4B-9B1D-F3B109E6C19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61308" y="1569880"/>
            <a:ext cx="865127" cy="364205"/>
          </a:xfrm>
          <a:prstGeom prst="rect">
            <a:avLst/>
          </a:prstGeom>
        </p:spPr>
      </p:pic>
      <p:pic>
        <p:nvPicPr>
          <p:cNvPr id="21" name="Picture 20">
            <a:extLst>
              <a:ext uri="{FF2B5EF4-FFF2-40B4-BE49-F238E27FC236}">
                <a16:creationId xmlns:a16="http://schemas.microsoft.com/office/drawing/2014/main" id="{C259E019-42E6-1847-A1B7-BBC8FDB64DA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803675" y="1851335"/>
            <a:ext cx="865127" cy="360288"/>
          </a:xfrm>
          <a:prstGeom prst="rect">
            <a:avLst/>
          </a:prstGeom>
        </p:spPr>
      </p:pic>
      <p:pic>
        <p:nvPicPr>
          <p:cNvPr id="22" name="Picture 21">
            <a:extLst>
              <a:ext uri="{FF2B5EF4-FFF2-40B4-BE49-F238E27FC236}">
                <a16:creationId xmlns:a16="http://schemas.microsoft.com/office/drawing/2014/main" id="{0A9D9F4F-F92C-DD40-8CED-E44150007756}"/>
              </a:ext>
            </a:extLst>
          </p:cNvPr>
          <p:cNvPicPr>
            <a:picLocks noChangeAspect="1"/>
          </p:cNvPicPr>
          <p:nvPr/>
        </p:nvPicPr>
        <p:blipFill rotWithShape="1">
          <a:blip r:embed="rId13" cstate="print">
            <a:extLst>
              <a:ext uri="{28A0092B-C50C-407E-A947-70E740481C1C}">
                <a14:useLocalDpi xmlns:a14="http://schemas.microsoft.com/office/drawing/2010/main"/>
              </a:ext>
            </a:extLst>
          </a:blip>
          <a:stretch/>
        </p:blipFill>
        <p:spPr>
          <a:xfrm>
            <a:off x="5979207" y="2260009"/>
            <a:ext cx="1061327" cy="500618"/>
          </a:xfrm>
          <a:prstGeom prst="rect">
            <a:avLst/>
          </a:prstGeom>
        </p:spPr>
      </p:pic>
      <p:sp>
        <p:nvSpPr>
          <p:cNvPr id="23" name="TextBox 22">
            <a:extLst>
              <a:ext uri="{FF2B5EF4-FFF2-40B4-BE49-F238E27FC236}">
                <a16:creationId xmlns:a16="http://schemas.microsoft.com/office/drawing/2014/main" id="{C09CD51E-7090-B047-B55E-5B63048017B0}"/>
              </a:ext>
            </a:extLst>
          </p:cNvPr>
          <p:cNvSpPr txBox="1"/>
          <p:nvPr/>
        </p:nvSpPr>
        <p:spPr>
          <a:xfrm>
            <a:off x="4571999" y="1388341"/>
            <a:ext cx="1200322" cy="509832"/>
          </a:xfrm>
          <a:prstGeom prst="rect">
            <a:avLst/>
          </a:prstGeom>
        </p:spPr>
        <p:txBody>
          <a:bodyPr vert="horz" wrap="square" lIns="68562" tIns="34281" rIns="68562" bIns="34281" rtlCol="0" anchor="b">
            <a:normAutofit fontScale="92500" lnSpcReduction="20000"/>
          </a:bodyPr>
          <a:lstStyle/>
          <a:p>
            <a:pPr defTabSz="914378">
              <a:lnSpc>
                <a:spcPct val="95000"/>
              </a:lnSpc>
              <a:spcBef>
                <a:spcPts val="300"/>
              </a:spcBef>
              <a:spcAft>
                <a:spcPts val="150"/>
              </a:spcAft>
              <a:defRPr/>
            </a:pPr>
            <a:r>
              <a:rPr lang="en-US" sz="1200" b="1" dirty="0">
                <a:solidFill>
                  <a:srgbClr val="0067C5"/>
                </a:solidFill>
                <a:latin typeface="Arial" charset="0"/>
              </a:rPr>
              <a:t>UCS C480 M5</a:t>
            </a:r>
          </a:p>
          <a:p>
            <a:pPr defTabSz="914378">
              <a:defRPr/>
            </a:pPr>
            <a:r>
              <a:rPr lang="en-US" sz="1200" dirty="0">
                <a:solidFill>
                  <a:srgbClr val="0067C5"/>
                </a:solidFill>
                <a:latin typeface="Arial" charset="0"/>
              </a:rPr>
              <a:t>6x PCIe T4/V100 </a:t>
            </a:r>
          </a:p>
        </p:txBody>
      </p:sp>
      <p:pic>
        <p:nvPicPr>
          <p:cNvPr id="25" name="Picture 24" descr="A close up of a device&#10;&#10;Description automatically generated">
            <a:extLst>
              <a:ext uri="{FF2B5EF4-FFF2-40B4-BE49-F238E27FC236}">
                <a16:creationId xmlns:a16="http://schemas.microsoft.com/office/drawing/2014/main" id="{1DFA5951-0264-5B46-A705-AA3687C0038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02885" y="2234847"/>
            <a:ext cx="434031" cy="294919"/>
          </a:xfrm>
          <a:prstGeom prst="rect">
            <a:avLst/>
          </a:prstGeom>
        </p:spPr>
      </p:pic>
      <p:pic>
        <p:nvPicPr>
          <p:cNvPr id="26" name="Picture 25" descr="A close up of a device&#10;&#10;Description automatically generated">
            <a:extLst>
              <a:ext uri="{FF2B5EF4-FFF2-40B4-BE49-F238E27FC236}">
                <a16:creationId xmlns:a16="http://schemas.microsoft.com/office/drawing/2014/main" id="{BDF0CC40-40D8-F140-9EF6-DF8A8D3DAFD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2656" y="2203432"/>
            <a:ext cx="532501" cy="315397"/>
          </a:xfrm>
          <a:prstGeom prst="rect">
            <a:avLst/>
          </a:prstGeom>
        </p:spPr>
      </p:pic>
      <p:sp>
        <p:nvSpPr>
          <p:cNvPr id="28" name="TextBox 27">
            <a:extLst>
              <a:ext uri="{FF2B5EF4-FFF2-40B4-BE49-F238E27FC236}">
                <a16:creationId xmlns:a16="http://schemas.microsoft.com/office/drawing/2014/main" id="{6EE98B28-E4C6-2A44-9C9E-797C8BD9123A}"/>
              </a:ext>
            </a:extLst>
          </p:cNvPr>
          <p:cNvSpPr txBox="1"/>
          <p:nvPr/>
        </p:nvSpPr>
        <p:spPr>
          <a:xfrm>
            <a:off x="5999501" y="1074110"/>
            <a:ext cx="1238294" cy="509832"/>
          </a:xfrm>
          <a:prstGeom prst="rect">
            <a:avLst/>
          </a:prstGeom>
        </p:spPr>
        <p:txBody>
          <a:bodyPr vert="horz" wrap="square" lIns="68562" tIns="34281" rIns="68562" bIns="34281" rtlCol="0" anchor="b">
            <a:noAutofit/>
          </a:bodyPr>
          <a:lstStyle/>
          <a:p>
            <a:pPr defTabSz="914378">
              <a:lnSpc>
                <a:spcPct val="95000"/>
              </a:lnSpc>
              <a:spcBef>
                <a:spcPts val="300"/>
              </a:spcBef>
              <a:spcAft>
                <a:spcPts val="150"/>
              </a:spcAft>
              <a:defRPr/>
            </a:pPr>
            <a:r>
              <a:rPr lang="en-US" sz="1050" b="1" dirty="0">
                <a:solidFill>
                  <a:srgbClr val="0067C5"/>
                </a:solidFill>
                <a:latin typeface="Arial" charset="0"/>
              </a:rPr>
              <a:t>UCS C480 ML M5</a:t>
            </a:r>
          </a:p>
          <a:p>
            <a:pPr defTabSz="914378">
              <a:defRPr/>
            </a:pPr>
            <a:r>
              <a:rPr lang="en-US" sz="1050" dirty="0">
                <a:solidFill>
                  <a:srgbClr val="0067C5"/>
                </a:solidFill>
                <a:latin typeface="Arial" charset="0"/>
              </a:rPr>
              <a:t>8x SXM2 V100 with NVLINK </a:t>
            </a:r>
          </a:p>
        </p:txBody>
      </p:sp>
      <p:sp>
        <p:nvSpPr>
          <p:cNvPr id="29" name="TextBox 28">
            <a:extLst>
              <a:ext uri="{FF2B5EF4-FFF2-40B4-BE49-F238E27FC236}">
                <a16:creationId xmlns:a16="http://schemas.microsoft.com/office/drawing/2014/main" id="{1738C4F7-7A7D-2C4F-B9B5-3901D8DB43F5}"/>
              </a:ext>
            </a:extLst>
          </p:cNvPr>
          <p:cNvSpPr txBox="1"/>
          <p:nvPr/>
        </p:nvSpPr>
        <p:spPr>
          <a:xfrm>
            <a:off x="5879440" y="2761910"/>
            <a:ext cx="2542082" cy="202889"/>
          </a:xfrm>
          <a:prstGeom prst="rect">
            <a:avLst/>
          </a:prstGeom>
        </p:spPr>
        <p:txBody>
          <a:bodyPr vert="horz" wrap="square" lIns="68562" tIns="34281" rIns="68562" bIns="34281" rtlCol="0" anchor="b">
            <a:normAutofit fontScale="92500" lnSpcReduction="20000"/>
          </a:bodyPr>
          <a:lstStyle/>
          <a:p>
            <a:pPr defTabSz="914378">
              <a:lnSpc>
                <a:spcPct val="95000"/>
              </a:lnSpc>
              <a:spcBef>
                <a:spcPts val="300"/>
              </a:spcBef>
              <a:spcAft>
                <a:spcPts val="150"/>
              </a:spcAft>
              <a:defRPr/>
            </a:pPr>
            <a:r>
              <a:rPr lang="en-US" sz="1200" b="1" dirty="0">
                <a:solidFill>
                  <a:srgbClr val="0067C5"/>
                </a:solidFill>
                <a:latin typeface="Arial" charset="0"/>
              </a:rPr>
              <a:t>AFF A800 </a:t>
            </a:r>
            <a:r>
              <a:rPr lang="en-US" sz="1200" dirty="0">
                <a:solidFill>
                  <a:srgbClr val="0067C5"/>
                </a:solidFill>
                <a:latin typeface="Arial" charset="0"/>
              </a:rPr>
              <a:t>Extreme Performance</a:t>
            </a:r>
          </a:p>
        </p:txBody>
      </p:sp>
      <p:pic>
        <p:nvPicPr>
          <p:cNvPr id="30" name="Picture 29">
            <a:extLst>
              <a:ext uri="{FF2B5EF4-FFF2-40B4-BE49-F238E27FC236}">
                <a16:creationId xmlns:a16="http://schemas.microsoft.com/office/drawing/2014/main" id="{FE8B5615-462F-A04D-82BE-C99FA5304D5D}"/>
              </a:ext>
            </a:extLst>
          </p:cNvPr>
          <p:cNvPicPr>
            <a:picLocks noChangeAspect="1"/>
          </p:cNvPicPr>
          <p:nvPr/>
        </p:nvPicPr>
        <p:blipFill rotWithShape="1">
          <a:blip r:embed="rId13" cstate="print">
            <a:extLst>
              <a:ext uri="{28A0092B-C50C-407E-A947-70E740481C1C}">
                <a14:useLocalDpi xmlns:a14="http://schemas.microsoft.com/office/drawing/2010/main"/>
              </a:ext>
            </a:extLst>
          </a:blip>
          <a:stretch/>
        </p:blipFill>
        <p:spPr>
          <a:xfrm>
            <a:off x="4743606" y="2519789"/>
            <a:ext cx="1061327" cy="500618"/>
          </a:xfrm>
          <a:prstGeom prst="rect">
            <a:avLst/>
          </a:prstGeom>
        </p:spPr>
      </p:pic>
      <p:sp>
        <p:nvSpPr>
          <p:cNvPr id="31" name="TextBox 30">
            <a:extLst>
              <a:ext uri="{FF2B5EF4-FFF2-40B4-BE49-F238E27FC236}">
                <a16:creationId xmlns:a16="http://schemas.microsoft.com/office/drawing/2014/main" id="{992EA6CE-7936-6C4F-958E-C8E9C92E1E47}"/>
              </a:ext>
            </a:extLst>
          </p:cNvPr>
          <p:cNvSpPr txBox="1"/>
          <p:nvPr/>
        </p:nvSpPr>
        <p:spPr>
          <a:xfrm>
            <a:off x="4470872" y="2996997"/>
            <a:ext cx="2183768" cy="251755"/>
          </a:xfrm>
          <a:prstGeom prst="rect">
            <a:avLst/>
          </a:prstGeom>
        </p:spPr>
        <p:txBody>
          <a:bodyPr vert="horz" wrap="square" lIns="68562" tIns="34281" rIns="68562" bIns="34281" rtlCol="0" anchor="b">
            <a:normAutofit/>
          </a:bodyPr>
          <a:lstStyle/>
          <a:p>
            <a:pPr defTabSz="914378">
              <a:lnSpc>
                <a:spcPct val="95000"/>
              </a:lnSpc>
              <a:spcBef>
                <a:spcPts val="300"/>
              </a:spcBef>
              <a:spcAft>
                <a:spcPts val="150"/>
              </a:spcAft>
              <a:defRPr/>
            </a:pPr>
            <a:r>
              <a:rPr lang="en-US" sz="1200" b="1" dirty="0">
                <a:solidFill>
                  <a:srgbClr val="0067C5"/>
                </a:solidFill>
                <a:latin typeface="Arial" charset="0"/>
              </a:rPr>
              <a:t>AFF A700s </a:t>
            </a:r>
            <a:r>
              <a:rPr lang="en-US" sz="1200" dirty="0">
                <a:solidFill>
                  <a:srgbClr val="0067C5"/>
                </a:solidFill>
                <a:latin typeface="Arial" charset="0"/>
              </a:rPr>
              <a:t>Compact Design</a:t>
            </a:r>
          </a:p>
        </p:txBody>
      </p:sp>
      <p:sp>
        <p:nvSpPr>
          <p:cNvPr id="34" name="TextBox 33">
            <a:extLst>
              <a:ext uri="{FF2B5EF4-FFF2-40B4-BE49-F238E27FC236}">
                <a16:creationId xmlns:a16="http://schemas.microsoft.com/office/drawing/2014/main" id="{14EC6A81-364E-3949-B838-677C27F130DF}"/>
              </a:ext>
            </a:extLst>
          </p:cNvPr>
          <p:cNvSpPr txBox="1"/>
          <p:nvPr/>
        </p:nvSpPr>
        <p:spPr>
          <a:xfrm>
            <a:off x="1883213" y="2418719"/>
            <a:ext cx="977960" cy="354323"/>
          </a:xfrm>
          <a:prstGeom prst="rect">
            <a:avLst/>
          </a:prstGeom>
          <a:solidFill>
            <a:schemeClr val="bg1"/>
          </a:solidFill>
        </p:spPr>
        <p:txBody>
          <a:bodyPr vert="horz" wrap="square" lIns="68562" tIns="34281" rIns="68562" bIns="34281" rtlCol="0" anchor="ctr">
            <a:noAutofit/>
          </a:bodyPr>
          <a:lstStyle/>
          <a:p>
            <a:pPr defTabSz="914378">
              <a:lnSpc>
                <a:spcPct val="95000"/>
              </a:lnSpc>
              <a:spcBef>
                <a:spcPts val="300"/>
              </a:spcBef>
              <a:spcAft>
                <a:spcPts val="150"/>
              </a:spcAft>
              <a:defRPr/>
            </a:pPr>
            <a:r>
              <a:rPr lang="en-US" sz="1200" b="1" dirty="0">
                <a:solidFill>
                  <a:srgbClr val="4C4948"/>
                </a:solidFill>
                <a:latin typeface="Arial" charset="0"/>
              </a:rPr>
              <a:t>Entry-level</a:t>
            </a:r>
          </a:p>
        </p:txBody>
      </p:sp>
      <p:sp>
        <p:nvSpPr>
          <p:cNvPr id="35" name="TextBox 34">
            <a:extLst>
              <a:ext uri="{FF2B5EF4-FFF2-40B4-BE49-F238E27FC236}">
                <a16:creationId xmlns:a16="http://schemas.microsoft.com/office/drawing/2014/main" id="{C480E5E6-46A4-4A4E-86FE-23A936010CEE}"/>
              </a:ext>
            </a:extLst>
          </p:cNvPr>
          <p:cNvSpPr txBox="1"/>
          <p:nvPr/>
        </p:nvSpPr>
        <p:spPr>
          <a:xfrm>
            <a:off x="3418721" y="1794385"/>
            <a:ext cx="864290" cy="354323"/>
          </a:xfrm>
          <a:prstGeom prst="rect">
            <a:avLst/>
          </a:prstGeom>
          <a:solidFill>
            <a:schemeClr val="bg1"/>
          </a:solidFill>
        </p:spPr>
        <p:txBody>
          <a:bodyPr vert="horz" wrap="square" lIns="68562" tIns="34281" rIns="68562" bIns="34281" rtlCol="0" anchor="ctr">
            <a:noAutofit/>
          </a:bodyPr>
          <a:lstStyle/>
          <a:p>
            <a:pPr defTabSz="914378">
              <a:lnSpc>
                <a:spcPct val="95000"/>
              </a:lnSpc>
              <a:spcBef>
                <a:spcPts val="300"/>
              </a:spcBef>
              <a:spcAft>
                <a:spcPts val="150"/>
              </a:spcAft>
              <a:defRPr/>
            </a:pPr>
            <a:r>
              <a:rPr lang="en-US" sz="1200" b="1" dirty="0">
                <a:solidFill>
                  <a:srgbClr val="4C4948"/>
                </a:solidFill>
                <a:latin typeface="Arial" charset="0"/>
              </a:rPr>
              <a:t>Midrange</a:t>
            </a:r>
          </a:p>
        </p:txBody>
      </p:sp>
      <p:sp>
        <p:nvSpPr>
          <p:cNvPr id="36" name="TextBox 35">
            <a:extLst>
              <a:ext uri="{FF2B5EF4-FFF2-40B4-BE49-F238E27FC236}">
                <a16:creationId xmlns:a16="http://schemas.microsoft.com/office/drawing/2014/main" id="{B259C446-74E2-C84A-B5E2-9CAF9D000B9A}"/>
              </a:ext>
            </a:extLst>
          </p:cNvPr>
          <p:cNvSpPr txBox="1"/>
          <p:nvPr/>
        </p:nvSpPr>
        <p:spPr>
          <a:xfrm>
            <a:off x="6336828" y="793102"/>
            <a:ext cx="896530" cy="197837"/>
          </a:xfrm>
          <a:prstGeom prst="rect">
            <a:avLst/>
          </a:prstGeom>
          <a:solidFill>
            <a:schemeClr val="bg1"/>
          </a:solidFill>
        </p:spPr>
        <p:txBody>
          <a:bodyPr vert="horz" wrap="square" lIns="68562" tIns="34281" rIns="68562" bIns="34281" rtlCol="0" anchor="ctr">
            <a:noAutofit/>
          </a:bodyPr>
          <a:lstStyle/>
          <a:p>
            <a:pPr defTabSz="914378">
              <a:lnSpc>
                <a:spcPct val="95000"/>
              </a:lnSpc>
              <a:spcBef>
                <a:spcPts val="300"/>
              </a:spcBef>
              <a:spcAft>
                <a:spcPts val="150"/>
              </a:spcAft>
              <a:defRPr/>
            </a:pPr>
            <a:r>
              <a:rPr lang="en-US" sz="1200" b="1" dirty="0">
                <a:solidFill>
                  <a:srgbClr val="4C4948"/>
                </a:solidFill>
                <a:latin typeface="Arial" charset="0"/>
              </a:rPr>
              <a:t>High-end</a:t>
            </a:r>
          </a:p>
        </p:txBody>
      </p:sp>
      <p:cxnSp>
        <p:nvCxnSpPr>
          <p:cNvPr id="40" name="Elbow Connector 39">
            <a:extLst>
              <a:ext uri="{FF2B5EF4-FFF2-40B4-BE49-F238E27FC236}">
                <a16:creationId xmlns:a16="http://schemas.microsoft.com/office/drawing/2014/main" id="{5892F817-7735-AA45-8E02-56E12A7552DE}"/>
              </a:ext>
            </a:extLst>
          </p:cNvPr>
          <p:cNvCxnSpPr>
            <a:cxnSpLocks/>
            <a:endCxn id="12" idx="3"/>
          </p:cNvCxnSpPr>
          <p:nvPr/>
        </p:nvCxnSpPr>
        <p:spPr bwMode="auto">
          <a:xfrm rot="16200000" flipV="1">
            <a:off x="3934740" y="3412517"/>
            <a:ext cx="1238945" cy="226352"/>
          </a:xfrm>
          <a:prstGeom prst="bentConnector2">
            <a:avLst/>
          </a:prstGeom>
          <a:solidFill>
            <a:schemeClr val="accent1"/>
          </a:solidFill>
          <a:ln w="12700" cap="flat" cmpd="sng" algn="ctr">
            <a:solidFill>
              <a:schemeClr val="bg2"/>
            </a:solidFill>
            <a:prstDash val="solid"/>
            <a:round/>
            <a:headEnd type="none" w="med" len="med"/>
            <a:tailEnd type="triangle"/>
          </a:ln>
          <a:effectLst/>
        </p:spPr>
      </p:cxnSp>
      <p:cxnSp>
        <p:nvCxnSpPr>
          <p:cNvPr id="42" name="Elbow Connector 41">
            <a:extLst>
              <a:ext uri="{FF2B5EF4-FFF2-40B4-BE49-F238E27FC236}">
                <a16:creationId xmlns:a16="http://schemas.microsoft.com/office/drawing/2014/main" id="{A4F1F738-6DE7-0441-9659-1B3829898913}"/>
              </a:ext>
            </a:extLst>
          </p:cNvPr>
          <p:cNvCxnSpPr>
            <a:cxnSpLocks/>
            <a:endCxn id="4" idx="3"/>
          </p:cNvCxnSpPr>
          <p:nvPr/>
        </p:nvCxnSpPr>
        <p:spPr bwMode="auto">
          <a:xfrm rot="10800000">
            <a:off x="2902202" y="3411937"/>
            <a:ext cx="1669797" cy="1124431"/>
          </a:xfrm>
          <a:prstGeom prst="bentConnector3">
            <a:avLst>
              <a:gd name="adj1" fmla="val 84586"/>
            </a:avLst>
          </a:prstGeom>
          <a:solidFill>
            <a:schemeClr val="accent1"/>
          </a:solidFill>
          <a:ln w="12700" cap="flat" cmpd="sng" algn="ctr">
            <a:solidFill>
              <a:schemeClr val="bg2"/>
            </a:solidFill>
            <a:prstDash val="solid"/>
            <a:round/>
            <a:headEnd type="none" w="med" len="med"/>
            <a:tailEnd type="triangle"/>
          </a:ln>
          <a:effectLst/>
        </p:spPr>
      </p:cxnSp>
      <p:cxnSp>
        <p:nvCxnSpPr>
          <p:cNvPr id="44" name="Elbow Connector 43">
            <a:extLst>
              <a:ext uri="{FF2B5EF4-FFF2-40B4-BE49-F238E27FC236}">
                <a16:creationId xmlns:a16="http://schemas.microsoft.com/office/drawing/2014/main" id="{8B386061-D36D-6149-A2DD-FE6CC78D2DEE}"/>
              </a:ext>
            </a:extLst>
          </p:cNvPr>
          <p:cNvCxnSpPr>
            <a:cxnSpLocks/>
            <a:endCxn id="21" idx="3"/>
          </p:cNvCxnSpPr>
          <p:nvPr/>
        </p:nvCxnSpPr>
        <p:spPr bwMode="auto">
          <a:xfrm rot="5400000" flipH="1" flipV="1">
            <a:off x="4297509" y="2996171"/>
            <a:ext cx="2335985" cy="406602"/>
          </a:xfrm>
          <a:prstGeom prst="bentConnector4">
            <a:avLst>
              <a:gd name="adj1" fmla="val 46144"/>
              <a:gd name="adj2" fmla="val 142167"/>
            </a:avLst>
          </a:prstGeom>
          <a:solidFill>
            <a:schemeClr val="accent1"/>
          </a:solidFill>
          <a:ln w="12700" cap="flat" cmpd="sng" algn="ctr">
            <a:solidFill>
              <a:schemeClr val="bg2"/>
            </a:solidFill>
            <a:prstDash val="solid"/>
            <a:round/>
            <a:headEnd type="none" w="med" len="med"/>
            <a:tailEnd type="triangle"/>
          </a:ln>
          <a:effectLst/>
        </p:spPr>
      </p:cxnSp>
      <p:sp>
        <p:nvSpPr>
          <p:cNvPr id="45" name="Oval 44">
            <a:extLst>
              <a:ext uri="{FF2B5EF4-FFF2-40B4-BE49-F238E27FC236}">
                <a16:creationId xmlns:a16="http://schemas.microsoft.com/office/drawing/2014/main" id="{5E693389-0ECC-3746-90A1-11BACEFDB1AA}"/>
              </a:ext>
            </a:extLst>
          </p:cNvPr>
          <p:cNvSpPr>
            <a:spLocks/>
          </p:cNvSpPr>
          <p:nvPr/>
        </p:nvSpPr>
        <p:spPr>
          <a:xfrm>
            <a:off x="1364457" y="4286272"/>
            <a:ext cx="7215187" cy="1131516"/>
          </a:xfrm>
          <a:prstGeom prst="ellipse">
            <a:avLst/>
          </a:prstGeom>
          <a:solidFill>
            <a:schemeClr val="accent4"/>
          </a:solidFill>
          <a:ln>
            <a:noFill/>
          </a:ln>
          <a:scene3d>
            <a:camera prst="perspectiveRelaxedModerately" fov="7200000">
              <a:rot lat="17090630" lon="0" rev="0"/>
            </a:camera>
            <a:lightRig rig="twoPt" dir="t"/>
          </a:scene3d>
          <a:sp3d extrusionH="76200"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1" fontAlgn="auto" hangingPunct="1">
              <a:spcBef>
                <a:spcPts val="0"/>
              </a:spcBef>
              <a:spcAft>
                <a:spcPts val="0"/>
              </a:spcAft>
              <a:defRPr/>
            </a:pPr>
            <a:endParaRPr lang="en-US" sz="1013">
              <a:solidFill>
                <a:prstClr val="white"/>
              </a:solidFill>
              <a:latin typeface="Arial"/>
            </a:endParaRPr>
          </a:p>
        </p:txBody>
      </p:sp>
      <p:pic>
        <p:nvPicPr>
          <p:cNvPr id="47" name="Picture 46" descr="A close up of a device&#10;&#10;Description automatically generated">
            <a:extLst>
              <a:ext uri="{FF2B5EF4-FFF2-40B4-BE49-F238E27FC236}">
                <a16:creationId xmlns:a16="http://schemas.microsoft.com/office/drawing/2014/main" id="{9914B114-4953-DC49-9B9A-6419CFE1E3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8524" y="1929542"/>
            <a:ext cx="886332" cy="315397"/>
          </a:xfrm>
          <a:prstGeom prst="rect">
            <a:avLst/>
          </a:prstGeom>
        </p:spPr>
      </p:pic>
    </p:spTree>
    <p:extLst>
      <p:ext uri="{BB962C8B-B14F-4D97-AF65-F5344CB8AC3E}">
        <p14:creationId xmlns:p14="http://schemas.microsoft.com/office/powerpoint/2010/main" val="6126371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Content Placeholder 10">
            <a:extLst>
              <a:ext uri="{FF2B5EF4-FFF2-40B4-BE49-F238E27FC236}">
                <a16:creationId xmlns:a16="http://schemas.microsoft.com/office/drawing/2014/main" id="{AFA6FDAE-1722-4084-88A3-D148D8806A8D}"/>
              </a:ext>
            </a:extLst>
          </p:cNvPr>
          <p:cNvSpPr txBox="1">
            <a:spLocks/>
          </p:cNvSpPr>
          <p:nvPr/>
        </p:nvSpPr>
        <p:spPr>
          <a:xfrm>
            <a:off x="4752113" y="1300068"/>
            <a:ext cx="3725761" cy="3359944"/>
          </a:xfrm>
          <a:prstGeom prst="rect">
            <a:avLst/>
          </a:prstGeom>
        </p:spPr>
        <p:txBody>
          <a:bodyPr vert="horz" wrap="square" lIns="91521" tIns="45761" rIns="91521" bIns="45761" rtlCol="0">
            <a:noAutofit/>
          </a:bodyPr>
          <a:lstStyle>
            <a:lvl1pPr marL="176369" indent="-176369" algn="l" defTabSz="686412" rtl="0" eaLnBrk="1" latinLnBrk="0" hangingPunct="1">
              <a:lnSpc>
                <a:spcPct val="95000"/>
              </a:lnSpc>
              <a:spcBef>
                <a:spcPts val="901"/>
              </a:spcBef>
              <a:spcAft>
                <a:spcPts val="300"/>
              </a:spcAft>
              <a:buClr>
                <a:schemeClr val="accent1"/>
              </a:buClr>
              <a:buFont typeface="Wingdings" panose="05000000000000000000" pitchFamily="2" charset="2"/>
              <a:buChar char="§"/>
              <a:defRPr sz="1650" kern="1200">
                <a:solidFill>
                  <a:schemeClr val="tx1"/>
                </a:solidFill>
                <a:latin typeface="+mn-lt"/>
                <a:ea typeface="+mn-ea"/>
                <a:cs typeface="+mn-cs"/>
              </a:defRPr>
            </a:lvl1pPr>
            <a:lvl2pPr marL="343206" indent="-171603"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Char char="§"/>
              <a:defRPr sz="1350" kern="1200">
                <a:solidFill>
                  <a:schemeClr val="tx1"/>
                </a:solidFill>
                <a:latin typeface="+mn-lt"/>
                <a:ea typeface="+mn-ea"/>
                <a:cs typeface="+mn-cs"/>
              </a:defRPr>
            </a:lvl2pPr>
            <a:lvl3pPr marL="514809"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200" kern="1200">
                <a:solidFill>
                  <a:schemeClr val="tx1"/>
                </a:solidFill>
                <a:latin typeface="+mn-lt"/>
                <a:ea typeface="+mn-ea"/>
                <a:cs typeface="+mn-cs"/>
              </a:defRPr>
            </a:lvl3pPr>
            <a:lvl4pPr marL="686412" indent="-171603"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Char char="§"/>
              <a:defRPr sz="1050" kern="1200">
                <a:solidFill>
                  <a:schemeClr val="tx1"/>
                </a:solidFill>
                <a:latin typeface="+mn-lt"/>
                <a:ea typeface="+mn-ea"/>
                <a:cs typeface="+mn-cs"/>
              </a:defRPr>
            </a:lvl4pPr>
            <a:lvl5pPr marL="815114" marR="0" indent="-128702"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Char char="§"/>
              <a:tabLst/>
              <a:defRPr lang="en-US" sz="900" kern="1200" dirty="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889000" rtl="0" eaLnBrk="0" fontAlgn="base" latinLnBrk="0" hangingPunct="0">
              <a:lnSpc>
                <a:spcPct val="90000"/>
              </a:lnSpc>
              <a:spcBef>
                <a:spcPts val="676"/>
              </a:spcBef>
              <a:spcAft>
                <a:spcPct val="0"/>
              </a:spcAft>
              <a:buClrTx/>
              <a:buSzTx/>
              <a:buFont typeface="Wingdings" panose="05000000000000000000" pitchFamily="2" charset="2"/>
              <a:buNone/>
              <a:tabLst/>
              <a:defRPr/>
            </a:pPr>
            <a:r>
              <a:rPr kumimoji="0" lang="en-US" sz="2000" b="1" i="0" u="none" strike="noStrike" kern="0" cap="none" spc="0" normalizeH="0" baseline="0" noProof="0" dirty="0">
                <a:ln>
                  <a:noFill/>
                </a:ln>
                <a:solidFill>
                  <a:srgbClr val="409BCC"/>
                </a:solidFill>
                <a:effectLst/>
                <a:uLnTx/>
                <a:uFillTx/>
                <a:latin typeface="Helvetica Neue"/>
                <a:ea typeface="+mn-ea"/>
                <a:cs typeface="+mn-cs"/>
              </a:rPr>
              <a:t>Tier Cold Data to the Cloud and Save</a:t>
            </a:r>
          </a:p>
          <a:p>
            <a:pPr marL="176369" marR="0" lvl="0" indent="-176369" algn="l" defTabSz="686412" rtl="0" eaLnBrk="1" fontAlgn="auto" latinLnBrk="0" hangingPunct="1">
              <a:lnSpc>
                <a:spcPct val="95000"/>
              </a:lnSpc>
              <a:spcBef>
                <a:spcPts val="901"/>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dirty="0">
                <a:ln>
                  <a:noFill/>
                </a:ln>
                <a:solidFill>
                  <a:srgbClr val="000000"/>
                </a:solidFill>
                <a:effectLst/>
                <a:uLnTx/>
                <a:uFillTx/>
                <a:latin typeface="Arial"/>
                <a:ea typeface="+mn-ea"/>
                <a:cs typeface="+mn-cs"/>
              </a:rPr>
              <a:t>Auto</a:t>
            </a:r>
            <a:r>
              <a:rPr kumimoji="0" lang="en-US" sz="1650" b="0" i="0" u="none" strike="noStrike" kern="1200" cap="none" spc="0" normalizeH="0" baseline="0" noProof="0" dirty="0">
                <a:ln>
                  <a:noFill/>
                </a:ln>
                <a:solidFill>
                  <a:sysClr val="windowText" lastClr="000000"/>
                </a:solidFill>
                <a:effectLst/>
                <a:uLnTx/>
                <a:uFillTx/>
                <a:latin typeface="Arial"/>
                <a:ea typeface="+mn-ea"/>
                <a:cs typeface="+mn-cs"/>
              </a:rPr>
              <a:t> volume tiering policy tiers all inactive (cold) blocks</a:t>
            </a:r>
          </a:p>
          <a:p>
            <a:pPr marL="176369" marR="0" lvl="0" indent="-176369" algn="l" defTabSz="686412" rtl="0" eaLnBrk="1" fontAlgn="auto" latinLnBrk="0" hangingPunct="1">
              <a:lnSpc>
                <a:spcPct val="95000"/>
              </a:lnSpc>
              <a:spcBef>
                <a:spcPts val="901"/>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dirty="0">
                <a:ln>
                  <a:noFill/>
                </a:ln>
                <a:solidFill>
                  <a:sysClr val="windowText" lastClr="000000"/>
                </a:solidFill>
                <a:effectLst/>
                <a:uLnTx/>
                <a:uFillTx/>
                <a:latin typeface="Arial"/>
                <a:ea typeface="+mn-ea"/>
                <a:cs typeface="+mn-cs"/>
              </a:rPr>
              <a:t>31-day default cooling period</a:t>
            </a:r>
          </a:p>
          <a:p>
            <a:pPr marL="176369" marR="0" lvl="0" indent="-176369" algn="l" defTabSz="686412" rtl="0" eaLnBrk="1" fontAlgn="auto" latinLnBrk="0" hangingPunct="1">
              <a:lnSpc>
                <a:spcPct val="95000"/>
              </a:lnSpc>
              <a:spcBef>
                <a:spcPts val="901"/>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dirty="0">
                <a:ln>
                  <a:noFill/>
                </a:ln>
                <a:solidFill>
                  <a:sysClr val="windowText" lastClr="000000"/>
                </a:solidFill>
                <a:effectLst/>
                <a:uLnTx/>
                <a:uFillTx/>
                <a:latin typeface="Arial"/>
                <a:ea typeface="+mn-ea"/>
                <a:cs typeface="+mn-cs"/>
              </a:rPr>
              <a:t>Adjustable cooling period</a:t>
            </a:r>
            <a:br>
              <a:rPr kumimoji="0" lang="en-US" sz="1650" b="0" i="0" u="none" strike="noStrike" kern="1200" cap="none" spc="0" normalizeH="0" baseline="0" noProof="0" dirty="0">
                <a:ln>
                  <a:noFill/>
                </a:ln>
                <a:solidFill>
                  <a:sysClr val="windowText" lastClr="000000"/>
                </a:solidFill>
                <a:effectLst/>
                <a:uLnTx/>
                <a:uFillTx/>
                <a:latin typeface="Arial"/>
                <a:ea typeface="+mn-ea"/>
                <a:cs typeface="+mn-cs"/>
              </a:rPr>
            </a:br>
            <a:r>
              <a:rPr kumimoji="0" lang="en-US" sz="1650" b="0" i="0" u="none" strike="noStrike" kern="1200" cap="none" spc="0" normalizeH="0" baseline="0" noProof="0" dirty="0">
                <a:ln>
                  <a:noFill/>
                </a:ln>
                <a:solidFill>
                  <a:sysClr val="windowText" lastClr="000000"/>
                </a:solidFill>
                <a:effectLst/>
                <a:uLnTx/>
                <a:uFillTx/>
                <a:latin typeface="Arial"/>
                <a:ea typeface="+mn-ea"/>
                <a:cs typeface="+mn-cs"/>
              </a:rPr>
              <a:t>(2 to 63 days)</a:t>
            </a:r>
          </a:p>
          <a:p>
            <a:pPr marL="176369" marR="0" lvl="0" indent="-176369" algn="l" defTabSz="686412" rtl="0" eaLnBrk="1" fontAlgn="auto" latinLnBrk="0" hangingPunct="1">
              <a:lnSpc>
                <a:spcPct val="95000"/>
              </a:lnSpc>
              <a:spcBef>
                <a:spcPts val="901"/>
              </a:spcBef>
              <a:spcAft>
                <a:spcPts val="300"/>
              </a:spcAft>
              <a:buClr>
                <a:srgbClr val="0067C5"/>
              </a:buClr>
              <a:buSzTx/>
              <a:buFont typeface="Wingdings" panose="05000000000000000000" pitchFamily="2" charset="2"/>
              <a:buChar char="§"/>
              <a:tabLst/>
              <a:defRPr/>
            </a:pPr>
            <a:endParaRPr kumimoji="0" lang="en-US" sz="1650" b="0" i="0" u="none" strike="noStrike" kern="1200" cap="none" spc="0" normalizeH="0" baseline="0" noProof="0" dirty="0">
              <a:ln>
                <a:noFill/>
              </a:ln>
              <a:solidFill>
                <a:sysClr val="windowText" lastClr="000000"/>
              </a:solidFill>
              <a:effectLst/>
              <a:uLnTx/>
              <a:uFillTx/>
              <a:latin typeface="Arial"/>
              <a:ea typeface="+mn-ea"/>
              <a:cs typeface="+mn-cs"/>
            </a:endParaRPr>
          </a:p>
          <a:p>
            <a:pPr marL="176369" marR="0" lvl="0" indent="-176369" algn="l" defTabSz="686412" rtl="0" eaLnBrk="1" fontAlgn="auto" latinLnBrk="0" hangingPunct="1">
              <a:lnSpc>
                <a:spcPct val="95000"/>
              </a:lnSpc>
              <a:spcBef>
                <a:spcPts val="901"/>
              </a:spcBef>
              <a:spcAft>
                <a:spcPts val="300"/>
              </a:spcAft>
              <a:buClr>
                <a:srgbClr val="0067C5"/>
              </a:buClr>
              <a:buSzTx/>
              <a:buFont typeface="Wingdings" panose="05000000000000000000" pitchFamily="2" charset="2"/>
              <a:buChar char="§"/>
              <a:tabLst/>
              <a:defRPr/>
            </a:pPr>
            <a:endParaRPr kumimoji="0" lang="en-US" sz="165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54" name="Text Placeholder 2">
            <a:extLst>
              <a:ext uri="{FF2B5EF4-FFF2-40B4-BE49-F238E27FC236}">
                <a16:creationId xmlns:a16="http://schemas.microsoft.com/office/drawing/2014/main" id="{819EE47E-F89C-4342-B5F0-53FCDA51C515}"/>
              </a:ext>
            </a:extLst>
          </p:cNvPr>
          <p:cNvSpPr txBox="1">
            <a:spLocks/>
          </p:cNvSpPr>
          <p:nvPr/>
        </p:nvSpPr>
        <p:spPr bwMode="gray">
          <a:xfrm>
            <a:off x="1293300" y="946165"/>
            <a:ext cx="2467882" cy="300082"/>
          </a:xfrm>
          <a:prstGeom prst="rect">
            <a:avLst/>
          </a:prstGeom>
        </p:spPr>
        <p:txBody>
          <a:bodyPr vert="horz" wrap="square" lIns="91521" tIns="45761" rIns="91521" bIns="45761" rtlCol="0" anchor="t">
            <a:noAutofit/>
          </a:bodyPr>
          <a:lstStyle>
            <a:lvl1pPr marL="0" indent="0" algn="l" defTabSz="686412" rtl="0" eaLnBrk="1" latinLnBrk="0" hangingPunct="1">
              <a:lnSpc>
                <a:spcPct val="95000"/>
              </a:lnSpc>
              <a:spcBef>
                <a:spcPts val="0"/>
              </a:spcBef>
              <a:spcAft>
                <a:spcPts val="0"/>
              </a:spcAft>
              <a:buClr>
                <a:schemeClr val="accent1"/>
              </a:buClr>
              <a:buFont typeface="Wingdings" panose="05000000000000000000" pitchFamily="2" charset="2"/>
              <a:buNone/>
              <a:defRPr sz="1350" b="0" kern="1200">
                <a:solidFill>
                  <a:schemeClr val="accent1"/>
                </a:solidFill>
                <a:latin typeface="+mn-lt"/>
                <a:ea typeface="+mn-ea"/>
                <a:cs typeface="+mn-cs"/>
              </a:defRPr>
            </a:lvl1pPr>
            <a:lvl2pPr marL="343206" indent="0"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None/>
              <a:defRPr sz="1500" b="1" kern="1200">
                <a:solidFill>
                  <a:schemeClr val="tx1"/>
                </a:solidFill>
                <a:latin typeface="+mn-lt"/>
                <a:ea typeface="+mn-ea"/>
                <a:cs typeface="+mn-cs"/>
              </a:defRPr>
            </a:lvl2pPr>
            <a:lvl3pPr marL="686412"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425" b="1" kern="1200">
                <a:solidFill>
                  <a:schemeClr val="tx1"/>
                </a:solidFill>
                <a:latin typeface="+mn-lt"/>
                <a:ea typeface="+mn-ea"/>
                <a:cs typeface="+mn-cs"/>
              </a:defRPr>
            </a:lvl3pPr>
            <a:lvl4pPr marL="1029617"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200" b="1" kern="1200">
                <a:solidFill>
                  <a:schemeClr val="tx1"/>
                </a:solidFill>
                <a:latin typeface="+mn-lt"/>
                <a:ea typeface="+mn-ea"/>
                <a:cs typeface="+mn-cs"/>
              </a:defRPr>
            </a:lvl4pPr>
            <a:lvl5pPr marL="1372823" marR="0" indent="0"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None/>
              <a:tabLst/>
              <a:defRPr lang="en-US" sz="1200" b="1" kern="1200">
                <a:solidFill>
                  <a:schemeClr val="tx1"/>
                </a:solidFill>
                <a:latin typeface="+mn-lt"/>
                <a:ea typeface="+mn-ea"/>
                <a:cs typeface="+mn-cs"/>
              </a:defRPr>
            </a:lvl5pPr>
            <a:lvl6pPr marL="1716029"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6pPr>
            <a:lvl7pPr marL="2059235"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7pPr>
            <a:lvl8pPr marL="2402440"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8pPr>
            <a:lvl9pPr marL="2745646"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9pPr>
          </a:lstStyle>
          <a:p>
            <a:pPr marL="0" marR="0" lvl="0" indent="0" algn="l" defTabSz="686412" rtl="0" eaLnBrk="1" fontAlgn="auto" latinLnBrk="0" hangingPunct="1">
              <a:lnSpc>
                <a:spcPct val="95000"/>
              </a:lnSpc>
              <a:spcBef>
                <a:spcPts val="0"/>
              </a:spcBef>
              <a:spcAft>
                <a:spcPts val="0"/>
              </a:spcAft>
              <a:buClr>
                <a:srgbClr val="0067C5"/>
              </a:buClr>
              <a:buSzTx/>
              <a:buFont typeface="Wingdings" panose="05000000000000000000" pitchFamily="2" charset="2"/>
              <a:buNone/>
              <a:tabLst/>
              <a:defRPr/>
            </a:pPr>
            <a:r>
              <a:rPr kumimoji="0" lang="en-US" sz="1350" b="0" i="0" u="none" strike="noStrike" kern="1200" cap="none" spc="0" normalizeH="0" baseline="0" noProof="0">
                <a:ln>
                  <a:noFill/>
                </a:ln>
                <a:solidFill>
                  <a:srgbClr val="0067C5"/>
                </a:solidFill>
                <a:effectLst/>
                <a:uLnTx/>
                <a:uFillTx/>
                <a:latin typeface="Arial"/>
                <a:ea typeface="+mn-ea"/>
                <a:cs typeface="+mn-cs"/>
              </a:rPr>
              <a:t>Auto Volume Tiering Policy</a:t>
            </a:r>
          </a:p>
          <a:p>
            <a:pPr marL="0" marR="0" lvl="0" indent="0" algn="l" defTabSz="686412" rtl="0" eaLnBrk="1" fontAlgn="auto" latinLnBrk="0" hangingPunct="1">
              <a:lnSpc>
                <a:spcPct val="95000"/>
              </a:lnSpc>
              <a:spcBef>
                <a:spcPts val="0"/>
              </a:spcBef>
              <a:spcAft>
                <a:spcPts val="0"/>
              </a:spcAft>
              <a:buClr>
                <a:srgbClr val="0067C5"/>
              </a:buClr>
              <a:buSzTx/>
              <a:buFont typeface="Wingdings" panose="05000000000000000000" pitchFamily="2" charset="2"/>
              <a:buNone/>
              <a:tabLst/>
              <a:defRPr/>
            </a:pPr>
            <a:endParaRPr kumimoji="0" lang="en-US" sz="1350" b="0" i="0" u="none" strike="noStrike" kern="1200" cap="none" spc="0" normalizeH="0" baseline="0" noProof="0">
              <a:ln>
                <a:noFill/>
              </a:ln>
              <a:solidFill>
                <a:srgbClr val="0067C5"/>
              </a:solidFill>
              <a:effectLst/>
              <a:uLnTx/>
              <a:uFillTx/>
              <a:latin typeface="Arial"/>
              <a:ea typeface="+mn-ea"/>
              <a:cs typeface="+mn-cs"/>
            </a:endParaRPr>
          </a:p>
        </p:txBody>
      </p:sp>
      <p:grpSp>
        <p:nvGrpSpPr>
          <p:cNvPr id="55" name="Group 54">
            <a:extLst>
              <a:ext uri="{FF2B5EF4-FFF2-40B4-BE49-F238E27FC236}">
                <a16:creationId xmlns:a16="http://schemas.microsoft.com/office/drawing/2014/main" id="{3BBA63C6-C059-4571-B1F6-D97CC76CE205}"/>
              </a:ext>
            </a:extLst>
          </p:cNvPr>
          <p:cNvGrpSpPr/>
          <p:nvPr/>
        </p:nvGrpSpPr>
        <p:grpSpPr>
          <a:xfrm>
            <a:off x="2515708" y="1615755"/>
            <a:ext cx="1900051" cy="1964620"/>
            <a:chOff x="0" y="1712563"/>
            <a:chExt cx="3040912" cy="2585100"/>
          </a:xfrm>
          <a:solidFill>
            <a:sysClr val="window" lastClr="FFFFFF">
              <a:lumMod val="85000"/>
            </a:sysClr>
          </a:solidFill>
        </p:grpSpPr>
        <p:sp>
          <p:nvSpPr>
            <p:cNvPr id="56" name="Rectangle 55">
              <a:extLst>
                <a:ext uri="{FF2B5EF4-FFF2-40B4-BE49-F238E27FC236}">
                  <a16:creationId xmlns:a16="http://schemas.microsoft.com/office/drawing/2014/main" id="{FC3A0D63-0644-408C-BBDD-B31170D91D8F}"/>
                </a:ext>
              </a:extLst>
            </p:cNvPr>
            <p:cNvSpPr/>
            <p:nvPr/>
          </p:nvSpPr>
          <p:spPr>
            <a:xfrm>
              <a:off x="0" y="1712563"/>
              <a:ext cx="3040912" cy="2585100"/>
            </a:xfrm>
            <a:prstGeom prst="rect">
              <a:avLst/>
            </a:prstGeom>
            <a:grp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57" name="TextBox 56">
              <a:extLst>
                <a:ext uri="{FF2B5EF4-FFF2-40B4-BE49-F238E27FC236}">
                  <a16:creationId xmlns:a16="http://schemas.microsoft.com/office/drawing/2014/main" id="{DC1B0F7D-04D5-422D-80B7-50353C9E64C4}"/>
                </a:ext>
              </a:extLst>
            </p:cNvPr>
            <p:cNvSpPr txBox="1"/>
            <p:nvPr/>
          </p:nvSpPr>
          <p:spPr>
            <a:xfrm>
              <a:off x="0" y="1713624"/>
              <a:ext cx="3040912" cy="300343"/>
            </a:xfrm>
            <a:prstGeom prst="rect">
              <a:avLst/>
            </a:prstGeom>
            <a:solidFill>
              <a:srgbClr val="0067C5"/>
            </a:solidFill>
          </p:spPr>
          <p:txBody>
            <a:bodyPr vert="horz" wrap="none" lIns="68526" tIns="34263" rIns="68526" bIns="34263" rtlCol="0" anchor="ctr">
              <a:noAutofit/>
            </a:bodyPr>
            <a:lstStyle/>
            <a:p>
              <a:pPr marL="0" marR="0" lvl="0" indent="0" algn="ctr" defTabSz="686412" rtl="0" eaLnBrk="1" fontAlgn="auto" latinLnBrk="0" hangingPunct="1">
                <a:lnSpc>
                  <a:spcPct val="95000"/>
                </a:lnSpc>
                <a:spcBef>
                  <a:spcPts val="300"/>
                </a:spcBef>
                <a:spcAft>
                  <a:spcPts val="150"/>
                </a:spcAft>
                <a:buClrTx/>
                <a:buSzTx/>
                <a:buFontTx/>
                <a:buNone/>
                <a:tabLst/>
                <a:defRPr/>
              </a:pPr>
              <a:r>
                <a:rPr kumimoji="0" lang="en-US" sz="1423" b="0" i="0" u="none" strike="noStrike" kern="0" cap="none" spc="0" normalizeH="0" baseline="0" noProof="0">
                  <a:ln>
                    <a:noFill/>
                  </a:ln>
                  <a:solidFill>
                    <a:prstClr val="white"/>
                  </a:solidFill>
                  <a:effectLst/>
                  <a:uLnTx/>
                  <a:uFillTx/>
                  <a:latin typeface="Arial"/>
                  <a:ea typeface="+mn-ea"/>
                  <a:cs typeface="+mn-cs"/>
                </a:rPr>
                <a:t>Primary Cluster</a:t>
              </a:r>
            </a:p>
          </p:txBody>
        </p:sp>
      </p:grpSp>
      <p:sp>
        <p:nvSpPr>
          <p:cNvPr id="58" name="Arrow: Up-Down 57">
            <a:extLst>
              <a:ext uri="{FF2B5EF4-FFF2-40B4-BE49-F238E27FC236}">
                <a16:creationId xmlns:a16="http://schemas.microsoft.com/office/drawing/2014/main" id="{9F6E8DBB-8773-4535-8120-6F8C7B993F64}"/>
              </a:ext>
            </a:extLst>
          </p:cNvPr>
          <p:cNvSpPr/>
          <p:nvPr/>
        </p:nvSpPr>
        <p:spPr>
          <a:xfrm>
            <a:off x="3698845" y="3612642"/>
            <a:ext cx="133388" cy="252862"/>
          </a:xfrm>
          <a:prstGeom prst="upDownArrow">
            <a:avLst/>
          </a:prstGeom>
          <a:solidFill>
            <a:srgbClr val="0067C5"/>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59" name="TextBox 58">
            <a:extLst>
              <a:ext uri="{FF2B5EF4-FFF2-40B4-BE49-F238E27FC236}">
                <a16:creationId xmlns:a16="http://schemas.microsoft.com/office/drawing/2014/main" id="{4A460E69-E84F-44BF-AB31-05B49F4762BC}"/>
              </a:ext>
            </a:extLst>
          </p:cNvPr>
          <p:cNvSpPr txBox="1"/>
          <p:nvPr/>
        </p:nvSpPr>
        <p:spPr>
          <a:xfrm>
            <a:off x="2650781" y="1252875"/>
            <a:ext cx="1590599" cy="419399"/>
          </a:xfrm>
          <a:prstGeom prst="rect">
            <a:avLst/>
          </a:prstGeom>
        </p:spPr>
        <p:txBody>
          <a:bodyPr vert="horz" wrap="none" lIns="68526" tIns="34263" rIns="68526" bIns="34263" rtlCol="0" anchor="ctr">
            <a:noAutofit/>
          </a:bodyPr>
          <a:lstStyle/>
          <a:p>
            <a:pPr marL="0" marR="0" lvl="0" indent="0" algn="ctr" defTabSz="686412" rtl="0" eaLnBrk="1" fontAlgn="auto" latinLnBrk="0" hangingPunct="1">
              <a:lnSpc>
                <a:spcPct val="95000"/>
              </a:lnSpc>
              <a:spcBef>
                <a:spcPts val="300"/>
              </a:spcBef>
              <a:spcAft>
                <a:spcPts val="150"/>
              </a:spcAft>
              <a:buClrTx/>
              <a:buSzTx/>
              <a:buFontTx/>
              <a:buNone/>
              <a:tabLst/>
              <a:defRPr/>
            </a:pPr>
            <a:r>
              <a:rPr kumimoji="0" lang="en-US" sz="1423" b="0" i="0" u="none" strike="noStrike" kern="1200" cap="none" spc="0" normalizeH="0" baseline="0" noProof="0">
                <a:ln>
                  <a:noFill/>
                </a:ln>
                <a:solidFill>
                  <a:srgbClr val="0067C5"/>
                </a:solidFill>
                <a:effectLst/>
                <a:uLnTx/>
                <a:uFillTx/>
                <a:latin typeface="Arial"/>
                <a:ea typeface="+mn-ea"/>
                <a:cs typeface="+mn-cs"/>
              </a:rPr>
              <a:t>After</a:t>
            </a:r>
            <a:endParaRPr kumimoji="0" lang="en-US" sz="1423" b="0" i="0" u="none" strike="noStrike" kern="1200" cap="none" spc="0" normalizeH="0" baseline="0" noProof="0">
              <a:ln>
                <a:noFill/>
              </a:ln>
              <a:solidFill>
                <a:sysClr val="windowText" lastClr="000000"/>
              </a:solidFill>
              <a:effectLst/>
              <a:uLnTx/>
              <a:uFillTx/>
              <a:latin typeface="Arial"/>
              <a:ea typeface="+mn-ea"/>
              <a:cs typeface="+mn-cs"/>
            </a:endParaRPr>
          </a:p>
        </p:txBody>
      </p:sp>
      <p:grpSp>
        <p:nvGrpSpPr>
          <p:cNvPr id="60" name="Group 59">
            <a:extLst>
              <a:ext uri="{FF2B5EF4-FFF2-40B4-BE49-F238E27FC236}">
                <a16:creationId xmlns:a16="http://schemas.microsoft.com/office/drawing/2014/main" id="{DFE48476-8B3C-49E5-BAA9-4C28BEA74331}"/>
              </a:ext>
            </a:extLst>
          </p:cNvPr>
          <p:cNvGrpSpPr/>
          <p:nvPr/>
        </p:nvGrpSpPr>
        <p:grpSpPr>
          <a:xfrm>
            <a:off x="278793" y="1604360"/>
            <a:ext cx="1900051" cy="1976017"/>
            <a:chOff x="0" y="1712564"/>
            <a:chExt cx="3040912" cy="1470827"/>
          </a:xfrm>
          <a:solidFill>
            <a:sysClr val="window" lastClr="FFFFFF">
              <a:lumMod val="85000"/>
            </a:sysClr>
          </a:solidFill>
        </p:grpSpPr>
        <p:sp>
          <p:nvSpPr>
            <p:cNvPr id="61" name="Rectangle 60">
              <a:extLst>
                <a:ext uri="{FF2B5EF4-FFF2-40B4-BE49-F238E27FC236}">
                  <a16:creationId xmlns:a16="http://schemas.microsoft.com/office/drawing/2014/main" id="{9F9FAF9B-98E0-4086-8897-6DF5C770036F}"/>
                </a:ext>
              </a:extLst>
            </p:cNvPr>
            <p:cNvSpPr/>
            <p:nvPr/>
          </p:nvSpPr>
          <p:spPr>
            <a:xfrm>
              <a:off x="0" y="1712564"/>
              <a:ext cx="3040912" cy="1470827"/>
            </a:xfrm>
            <a:prstGeom prst="rect">
              <a:avLst/>
            </a:prstGeom>
            <a:grp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62" name="TextBox 61">
              <a:extLst>
                <a:ext uri="{FF2B5EF4-FFF2-40B4-BE49-F238E27FC236}">
                  <a16:creationId xmlns:a16="http://schemas.microsoft.com/office/drawing/2014/main" id="{5C0862B7-CF6B-4E2A-AD88-908F325F6394}"/>
                </a:ext>
              </a:extLst>
            </p:cNvPr>
            <p:cNvSpPr txBox="1"/>
            <p:nvPr/>
          </p:nvSpPr>
          <p:spPr>
            <a:xfrm>
              <a:off x="0" y="1713625"/>
              <a:ext cx="3040912" cy="177920"/>
            </a:xfrm>
            <a:prstGeom prst="rect">
              <a:avLst/>
            </a:prstGeom>
            <a:solidFill>
              <a:srgbClr val="0067C5"/>
            </a:solidFill>
          </p:spPr>
          <p:txBody>
            <a:bodyPr vert="horz" wrap="none" lIns="68526" tIns="34263" rIns="68526" bIns="34263" rtlCol="0" anchor="ctr">
              <a:noAutofit/>
            </a:bodyPr>
            <a:lstStyle/>
            <a:p>
              <a:pPr marL="0" marR="0" lvl="0" indent="0" algn="ctr" defTabSz="686412" rtl="0" eaLnBrk="1" fontAlgn="auto" latinLnBrk="0" hangingPunct="1">
                <a:lnSpc>
                  <a:spcPct val="95000"/>
                </a:lnSpc>
                <a:spcBef>
                  <a:spcPts val="300"/>
                </a:spcBef>
                <a:spcAft>
                  <a:spcPts val="150"/>
                </a:spcAft>
                <a:buClrTx/>
                <a:buSzTx/>
                <a:buFontTx/>
                <a:buNone/>
                <a:tabLst/>
                <a:defRPr/>
              </a:pPr>
              <a:r>
                <a:rPr kumimoji="0" lang="en-US" sz="1423" b="0" i="0" u="none" strike="noStrike" kern="0" cap="none" spc="0" normalizeH="0" baseline="0" noProof="0">
                  <a:ln>
                    <a:noFill/>
                  </a:ln>
                  <a:solidFill>
                    <a:prstClr val="white"/>
                  </a:solidFill>
                  <a:effectLst/>
                  <a:uLnTx/>
                  <a:uFillTx/>
                  <a:latin typeface="Arial"/>
                  <a:ea typeface="+mn-ea"/>
                  <a:cs typeface="+mn-cs"/>
                </a:rPr>
                <a:t>Primary Cluster</a:t>
              </a:r>
            </a:p>
          </p:txBody>
        </p:sp>
      </p:grpSp>
      <p:sp>
        <p:nvSpPr>
          <p:cNvPr id="63" name="TextBox 62">
            <a:extLst>
              <a:ext uri="{FF2B5EF4-FFF2-40B4-BE49-F238E27FC236}">
                <a16:creationId xmlns:a16="http://schemas.microsoft.com/office/drawing/2014/main" id="{310139B5-F84D-4CD7-ADC2-03A4E770B84F}"/>
              </a:ext>
            </a:extLst>
          </p:cNvPr>
          <p:cNvSpPr txBox="1"/>
          <p:nvPr/>
        </p:nvSpPr>
        <p:spPr>
          <a:xfrm>
            <a:off x="417698" y="1240416"/>
            <a:ext cx="1590599" cy="419399"/>
          </a:xfrm>
          <a:prstGeom prst="rect">
            <a:avLst/>
          </a:prstGeom>
        </p:spPr>
        <p:txBody>
          <a:bodyPr vert="horz" wrap="none" lIns="68526" tIns="34263" rIns="68526" bIns="34263" rtlCol="0" anchor="ctr">
            <a:noAutofit/>
          </a:bodyPr>
          <a:lstStyle/>
          <a:p>
            <a:pPr marL="0" marR="0" lvl="0" indent="0" algn="ctr" defTabSz="686412" rtl="0" eaLnBrk="1" fontAlgn="auto" latinLnBrk="0" hangingPunct="1">
              <a:lnSpc>
                <a:spcPct val="95000"/>
              </a:lnSpc>
              <a:spcBef>
                <a:spcPts val="300"/>
              </a:spcBef>
              <a:spcAft>
                <a:spcPts val="150"/>
              </a:spcAft>
              <a:buClrTx/>
              <a:buSzTx/>
              <a:buFontTx/>
              <a:buNone/>
              <a:tabLst/>
              <a:defRPr/>
            </a:pPr>
            <a:r>
              <a:rPr kumimoji="0" lang="en-US" sz="1423" b="0" i="0" u="none" strike="noStrike" kern="1200" cap="none" spc="0" normalizeH="0" baseline="0" noProof="0">
                <a:ln>
                  <a:noFill/>
                </a:ln>
                <a:solidFill>
                  <a:srgbClr val="0067C5"/>
                </a:solidFill>
                <a:effectLst/>
                <a:uLnTx/>
                <a:uFillTx/>
                <a:latin typeface="Arial"/>
                <a:ea typeface="+mn-ea"/>
                <a:cs typeface="+mn-cs"/>
              </a:rPr>
              <a:t>Before</a:t>
            </a:r>
            <a:endParaRPr kumimoji="0" lang="en-US" sz="1423" b="0" i="0" u="none" strike="noStrike" kern="1200" cap="none" spc="0" normalizeH="0" baseline="0" noProof="0">
              <a:ln>
                <a:noFill/>
              </a:ln>
              <a:solidFill>
                <a:sysClr val="windowText" lastClr="000000"/>
              </a:solidFill>
              <a:effectLst/>
              <a:uLnTx/>
              <a:uFillTx/>
              <a:latin typeface="Arial"/>
              <a:ea typeface="+mn-ea"/>
              <a:cs typeface="+mn-cs"/>
            </a:endParaRPr>
          </a:p>
        </p:txBody>
      </p:sp>
      <p:grpSp>
        <p:nvGrpSpPr>
          <p:cNvPr id="64" name="Group 63">
            <a:extLst>
              <a:ext uri="{FF2B5EF4-FFF2-40B4-BE49-F238E27FC236}">
                <a16:creationId xmlns:a16="http://schemas.microsoft.com/office/drawing/2014/main" id="{7A40B94D-C2E0-491C-B0F8-56661C89777E}"/>
              </a:ext>
            </a:extLst>
          </p:cNvPr>
          <p:cNvGrpSpPr/>
          <p:nvPr/>
        </p:nvGrpSpPr>
        <p:grpSpPr>
          <a:xfrm>
            <a:off x="3249464" y="3982183"/>
            <a:ext cx="1040988" cy="720359"/>
            <a:chOff x="4309927" y="5135839"/>
            <a:chExt cx="1388708" cy="960978"/>
          </a:xfrm>
        </p:grpSpPr>
        <p:pic>
          <p:nvPicPr>
            <p:cNvPr id="65" name="image45.png">
              <a:extLst>
                <a:ext uri="{FF2B5EF4-FFF2-40B4-BE49-F238E27FC236}">
                  <a16:creationId xmlns:a16="http://schemas.microsoft.com/office/drawing/2014/main" id="{F854DB9A-F96B-48D4-AE38-9DB6D04AB5A2}"/>
                </a:ext>
              </a:extLst>
            </p:cNvPr>
            <p:cNvPicPr/>
            <p:nvPr/>
          </p:nvPicPr>
          <p:blipFill>
            <a:blip r:embed="rId2" cstate="print">
              <a:duotone>
                <a:srgbClr val="FF9E00">
                  <a:shade val="45000"/>
                  <a:satMod val="135000"/>
                </a:srgbClr>
                <a:prstClr val="white"/>
              </a:duotone>
            </a:blip>
            <a:stretch>
              <a:fillRect/>
            </a:stretch>
          </p:blipFill>
          <p:spPr>
            <a:xfrm>
              <a:off x="4309927" y="5135839"/>
              <a:ext cx="1388708" cy="960978"/>
            </a:xfrm>
            <a:prstGeom prst="rect">
              <a:avLst/>
            </a:prstGeom>
            <a:ln w="12700">
              <a:miter lim="400000"/>
            </a:ln>
          </p:spPr>
        </p:pic>
        <p:sp>
          <p:nvSpPr>
            <p:cNvPr id="66" name="TextBox 65">
              <a:extLst>
                <a:ext uri="{FF2B5EF4-FFF2-40B4-BE49-F238E27FC236}">
                  <a16:creationId xmlns:a16="http://schemas.microsoft.com/office/drawing/2014/main" id="{BE1AE2C9-D9D8-498E-A89F-0E73F6ED3F20}"/>
                </a:ext>
              </a:extLst>
            </p:cNvPr>
            <p:cNvSpPr txBox="1"/>
            <p:nvPr/>
          </p:nvSpPr>
          <p:spPr>
            <a:xfrm>
              <a:off x="4706584" y="5540217"/>
              <a:ext cx="369422" cy="229907"/>
            </a:xfrm>
            <a:prstGeom prst="rect">
              <a:avLst/>
            </a:prstGeom>
          </p:spPr>
          <p:txBody>
            <a:bodyPr vert="horz" wrap="none" lIns="68508" tIns="34254" rIns="68508" bIns="34254" rtlCol="0" anchor="ctr">
              <a:noAutofit/>
            </a:bodyPr>
            <a:lstStyle/>
            <a:p>
              <a:pPr marL="0" marR="0" lvl="0" indent="0" algn="l" defTabSz="684978" rtl="0" eaLnBrk="1" fontAlgn="auto" latinLnBrk="0" hangingPunct="1">
                <a:lnSpc>
                  <a:spcPct val="95000"/>
                </a:lnSpc>
                <a:spcBef>
                  <a:spcPts val="300"/>
                </a:spcBef>
                <a:spcAft>
                  <a:spcPts val="150"/>
                </a:spcAft>
                <a:buClrTx/>
                <a:buSzTx/>
                <a:buFontTx/>
                <a:buNone/>
                <a:tabLst/>
                <a:defRPr/>
              </a:pPr>
              <a:r>
                <a:rPr kumimoji="0" lang="en-US" sz="1347" b="0" i="0" u="none" strike="noStrike" kern="0" cap="none" spc="0" normalizeH="0" baseline="0" noProof="0">
                  <a:ln>
                    <a:noFill/>
                  </a:ln>
                  <a:solidFill>
                    <a:prstClr val="white"/>
                  </a:solidFill>
                  <a:effectLst/>
                  <a:uLnTx/>
                  <a:uFillTx/>
                  <a:latin typeface="Arial"/>
                  <a:ea typeface="+mn-ea"/>
                  <a:cs typeface="+mn-cs"/>
                </a:rPr>
                <a:t>S3</a:t>
              </a:r>
            </a:p>
          </p:txBody>
        </p:sp>
      </p:grpSp>
      <p:cxnSp>
        <p:nvCxnSpPr>
          <p:cNvPr id="67" name="Straight Connector 66">
            <a:extLst>
              <a:ext uri="{FF2B5EF4-FFF2-40B4-BE49-F238E27FC236}">
                <a16:creationId xmlns:a16="http://schemas.microsoft.com/office/drawing/2014/main" id="{07164226-1A17-49AE-84A2-71180F2FFFBB}"/>
              </a:ext>
            </a:extLst>
          </p:cNvPr>
          <p:cNvCxnSpPr>
            <a:cxnSpLocks/>
          </p:cNvCxnSpPr>
          <p:nvPr/>
        </p:nvCxnSpPr>
        <p:spPr>
          <a:xfrm flipH="1">
            <a:off x="2372743" y="1214583"/>
            <a:ext cx="1" cy="3547452"/>
          </a:xfrm>
          <a:prstGeom prst="line">
            <a:avLst/>
          </a:prstGeom>
          <a:noFill/>
          <a:ln w="38100" cap="flat" cmpd="sng" algn="ctr">
            <a:solidFill>
              <a:srgbClr val="9EA2A2"/>
            </a:solidFill>
            <a:prstDash val="dash"/>
          </a:ln>
          <a:effectLst/>
        </p:spPr>
      </p:cxnSp>
      <p:grpSp>
        <p:nvGrpSpPr>
          <p:cNvPr id="68" name="Group 67">
            <a:extLst>
              <a:ext uri="{FF2B5EF4-FFF2-40B4-BE49-F238E27FC236}">
                <a16:creationId xmlns:a16="http://schemas.microsoft.com/office/drawing/2014/main" id="{356EC32E-872B-450F-9FC2-03D80B5CF403}"/>
              </a:ext>
            </a:extLst>
          </p:cNvPr>
          <p:cNvGrpSpPr>
            <a:grpSpLocks noChangeAspect="1"/>
          </p:cNvGrpSpPr>
          <p:nvPr/>
        </p:nvGrpSpPr>
        <p:grpSpPr>
          <a:xfrm>
            <a:off x="311185" y="2203924"/>
            <a:ext cx="1848600" cy="1376450"/>
            <a:chOff x="820287" y="3213516"/>
            <a:chExt cx="1643200" cy="1223511"/>
          </a:xfrm>
        </p:grpSpPr>
        <p:pic>
          <p:nvPicPr>
            <p:cNvPr id="69" name="image21.png">
              <a:extLst>
                <a:ext uri="{FF2B5EF4-FFF2-40B4-BE49-F238E27FC236}">
                  <a16:creationId xmlns:a16="http://schemas.microsoft.com/office/drawing/2014/main" id="{8DCD4F7B-7611-41D2-85EF-9F37CFCB3489}"/>
                </a:ext>
              </a:extLst>
            </p:cNvPr>
            <p:cNvPicPr/>
            <p:nvPr/>
          </p:nvPicPr>
          <p:blipFill>
            <a:blip r:embed="rId3" cstate="print"/>
            <a:stretch>
              <a:fillRect/>
            </a:stretch>
          </p:blipFill>
          <p:spPr>
            <a:xfrm>
              <a:off x="1357833" y="3611131"/>
              <a:ext cx="1105654" cy="216773"/>
            </a:xfrm>
            <a:prstGeom prst="rect">
              <a:avLst/>
            </a:prstGeom>
            <a:ln w="12700" cap="flat">
              <a:noFill/>
              <a:miter lim="400000"/>
            </a:ln>
            <a:effectLst/>
          </p:spPr>
        </p:pic>
        <p:sp>
          <p:nvSpPr>
            <p:cNvPr id="70" name="Rectangle 69">
              <a:extLst>
                <a:ext uri="{FF2B5EF4-FFF2-40B4-BE49-F238E27FC236}">
                  <a16:creationId xmlns:a16="http://schemas.microsoft.com/office/drawing/2014/main" id="{BBA2D330-33F1-4120-9ED8-3F7FEC3CAB1E}"/>
                </a:ext>
              </a:extLst>
            </p:cNvPr>
            <p:cNvSpPr/>
            <p:nvPr/>
          </p:nvSpPr>
          <p:spPr>
            <a:xfrm>
              <a:off x="820287" y="3611131"/>
              <a:ext cx="403723" cy="825894"/>
            </a:xfrm>
            <a:prstGeom prst="rect">
              <a:avLst/>
            </a:prstGeom>
            <a:solidFill>
              <a:srgbClr val="9EA2A2"/>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AE1F7B0F-11E0-4865-B276-8D29577CC1CF}"/>
                </a:ext>
              </a:extLst>
            </p:cNvPr>
            <p:cNvSpPr/>
            <p:nvPr/>
          </p:nvSpPr>
          <p:spPr>
            <a:xfrm>
              <a:off x="820287" y="3861954"/>
              <a:ext cx="403723" cy="575068"/>
            </a:xfrm>
            <a:prstGeom prst="rect">
              <a:avLst/>
            </a:prstGeom>
            <a:solidFill>
              <a:srgbClr val="00B0F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pic>
          <p:nvPicPr>
            <p:cNvPr id="72" name="image21.png">
              <a:extLst>
                <a:ext uri="{FF2B5EF4-FFF2-40B4-BE49-F238E27FC236}">
                  <a16:creationId xmlns:a16="http://schemas.microsoft.com/office/drawing/2014/main" id="{9016C88C-94AD-447E-A8AA-114A197916DD}"/>
                </a:ext>
              </a:extLst>
            </p:cNvPr>
            <p:cNvPicPr/>
            <p:nvPr/>
          </p:nvPicPr>
          <p:blipFill>
            <a:blip r:embed="rId3" cstate="print"/>
            <a:stretch>
              <a:fillRect/>
            </a:stretch>
          </p:blipFill>
          <p:spPr>
            <a:xfrm>
              <a:off x="1357833" y="3763411"/>
              <a:ext cx="1105654" cy="216773"/>
            </a:xfrm>
            <a:prstGeom prst="rect">
              <a:avLst/>
            </a:prstGeom>
            <a:ln w="12700" cap="flat">
              <a:noFill/>
              <a:miter lim="400000"/>
            </a:ln>
            <a:effectLst/>
          </p:spPr>
        </p:pic>
        <p:pic>
          <p:nvPicPr>
            <p:cNvPr id="73" name="image21.png">
              <a:extLst>
                <a:ext uri="{FF2B5EF4-FFF2-40B4-BE49-F238E27FC236}">
                  <a16:creationId xmlns:a16="http://schemas.microsoft.com/office/drawing/2014/main" id="{4D2ED8F7-48DD-4785-9766-42890811B148}"/>
                </a:ext>
              </a:extLst>
            </p:cNvPr>
            <p:cNvPicPr/>
            <p:nvPr/>
          </p:nvPicPr>
          <p:blipFill>
            <a:blip r:embed="rId3" cstate="print"/>
            <a:stretch>
              <a:fillRect/>
            </a:stretch>
          </p:blipFill>
          <p:spPr>
            <a:xfrm>
              <a:off x="1357833" y="3915691"/>
              <a:ext cx="1105654" cy="216773"/>
            </a:xfrm>
            <a:prstGeom prst="rect">
              <a:avLst/>
            </a:prstGeom>
            <a:ln w="12700" cap="flat">
              <a:noFill/>
              <a:miter lim="400000"/>
            </a:ln>
            <a:effectLst/>
          </p:spPr>
        </p:pic>
        <p:pic>
          <p:nvPicPr>
            <p:cNvPr id="74" name="image21.png">
              <a:extLst>
                <a:ext uri="{FF2B5EF4-FFF2-40B4-BE49-F238E27FC236}">
                  <a16:creationId xmlns:a16="http://schemas.microsoft.com/office/drawing/2014/main" id="{8800983B-8447-4B43-B762-6D891799EAB3}"/>
                </a:ext>
              </a:extLst>
            </p:cNvPr>
            <p:cNvPicPr/>
            <p:nvPr/>
          </p:nvPicPr>
          <p:blipFill>
            <a:blip r:embed="rId3" cstate="print"/>
            <a:stretch>
              <a:fillRect/>
            </a:stretch>
          </p:blipFill>
          <p:spPr>
            <a:xfrm>
              <a:off x="1357833" y="4067974"/>
              <a:ext cx="1105654" cy="216773"/>
            </a:xfrm>
            <a:prstGeom prst="rect">
              <a:avLst/>
            </a:prstGeom>
            <a:ln w="12700" cap="flat">
              <a:noFill/>
              <a:miter lim="400000"/>
            </a:ln>
            <a:effectLst/>
          </p:spPr>
        </p:pic>
        <p:pic>
          <p:nvPicPr>
            <p:cNvPr id="75" name="image21.png">
              <a:extLst>
                <a:ext uri="{FF2B5EF4-FFF2-40B4-BE49-F238E27FC236}">
                  <a16:creationId xmlns:a16="http://schemas.microsoft.com/office/drawing/2014/main" id="{40F845E7-7C47-4D2D-B55F-D274E1661A09}"/>
                </a:ext>
              </a:extLst>
            </p:cNvPr>
            <p:cNvPicPr/>
            <p:nvPr/>
          </p:nvPicPr>
          <p:blipFill>
            <a:blip r:embed="rId3" cstate="print"/>
            <a:stretch>
              <a:fillRect/>
            </a:stretch>
          </p:blipFill>
          <p:spPr>
            <a:xfrm>
              <a:off x="1357833" y="4220254"/>
              <a:ext cx="1105654" cy="216773"/>
            </a:xfrm>
            <a:prstGeom prst="rect">
              <a:avLst/>
            </a:prstGeom>
            <a:ln w="12700" cap="flat">
              <a:noFill/>
              <a:miter lim="400000"/>
            </a:ln>
            <a:effectLst/>
          </p:spPr>
        </p:pic>
        <p:sp>
          <p:nvSpPr>
            <p:cNvPr id="76" name="Rectangle 75">
              <a:extLst>
                <a:ext uri="{FF2B5EF4-FFF2-40B4-BE49-F238E27FC236}">
                  <a16:creationId xmlns:a16="http://schemas.microsoft.com/office/drawing/2014/main" id="{06E6A111-D6C5-4013-8982-5EAAB31A4707}"/>
                </a:ext>
              </a:extLst>
            </p:cNvPr>
            <p:cNvSpPr/>
            <p:nvPr/>
          </p:nvSpPr>
          <p:spPr>
            <a:xfrm>
              <a:off x="820287" y="3847480"/>
              <a:ext cx="403723" cy="132702"/>
            </a:xfrm>
            <a:prstGeom prst="rect">
              <a:avLst/>
            </a:prstGeom>
            <a:solidFill>
              <a:srgbClr val="FF9E0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pic>
          <p:nvPicPr>
            <p:cNvPr id="77" name="Picture 76">
              <a:extLst>
                <a:ext uri="{FF2B5EF4-FFF2-40B4-BE49-F238E27FC236}">
                  <a16:creationId xmlns:a16="http://schemas.microsoft.com/office/drawing/2014/main" id="{29CFAF68-7BAC-4F6B-AAAA-814744C3C58C}"/>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49288" y="3213516"/>
              <a:ext cx="1107144" cy="399802"/>
            </a:xfrm>
            <a:prstGeom prst="rect">
              <a:avLst/>
            </a:prstGeom>
          </p:spPr>
        </p:pic>
      </p:grpSp>
      <p:grpSp>
        <p:nvGrpSpPr>
          <p:cNvPr id="78" name="Group 77">
            <a:extLst>
              <a:ext uri="{FF2B5EF4-FFF2-40B4-BE49-F238E27FC236}">
                <a16:creationId xmlns:a16="http://schemas.microsoft.com/office/drawing/2014/main" id="{A0BDBDE7-DAB8-41EB-9A4C-8985D7DA4571}"/>
              </a:ext>
            </a:extLst>
          </p:cNvPr>
          <p:cNvGrpSpPr>
            <a:grpSpLocks noChangeAspect="1"/>
          </p:cNvGrpSpPr>
          <p:nvPr/>
        </p:nvGrpSpPr>
        <p:grpSpPr>
          <a:xfrm>
            <a:off x="2543288" y="2205685"/>
            <a:ext cx="1848600" cy="1376450"/>
            <a:chOff x="820287" y="3213516"/>
            <a:chExt cx="1643200" cy="1223511"/>
          </a:xfrm>
        </p:grpSpPr>
        <p:pic>
          <p:nvPicPr>
            <p:cNvPr id="79" name="image21.png">
              <a:extLst>
                <a:ext uri="{FF2B5EF4-FFF2-40B4-BE49-F238E27FC236}">
                  <a16:creationId xmlns:a16="http://schemas.microsoft.com/office/drawing/2014/main" id="{0DA26BD7-83A1-4ED0-B31E-462AC2FC186C}"/>
                </a:ext>
              </a:extLst>
            </p:cNvPr>
            <p:cNvPicPr/>
            <p:nvPr/>
          </p:nvPicPr>
          <p:blipFill>
            <a:blip r:embed="rId3" cstate="print"/>
            <a:stretch>
              <a:fillRect/>
            </a:stretch>
          </p:blipFill>
          <p:spPr>
            <a:xfrm>
              <a:off x="1357833" y="3611131"/>
              <a:ext cx="1105654" cy="216773"/>
            </a:xfrm>
            <a:prstGeom prst="rect">
              <a:avLst/>
            </a:prstGeom>
            <a:ln w="12700" cap="flat">
              <a:noFill/>
              <a:miter lim="400000"/>
            </a:ln>
            <a:effectLst/>
          </p:spPr>
        </p:pic>
        <p:sp>
          <p:nvSpPr>
            <p:cNvPr id="80" name="Rectangle 79">
              <a:extLst>
                <a:ext uri="{FF2B5EF4-FFF2-40B4-BE49-F238E27FC236}">
                  <a16:creationId xmlns:a16="http://schemas.microsoft.com/office/drawing/2014/main" id="{8631B8F7-5891-47FF-A2AA-A1D247C53F7E}"/>
                </a:ext>
              </a:extLst>
            </p:cNvPr>
            <p:cNvSpPr/>
            <p:nvPr/>
          </p:nvSpPr>
          <p:spPr>
            <a:xfrm>
              <a:off x="820287" y="3609567"/>
              <a:ext cx="403723" cy="827458"/>
            </a:xfrm>
            <a:prstGeom prst="rect">
              <a:avLst/>
            </a:prstGeom>
            <a:solidFill>
              <a:srgbClr val="9EA2A2"/>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pic>
          <p:nvPicPr>
            <p:cNvPr id="81" name="image21.png">
              <a:extLst>
                <a:ext uri="{FF2B5EF4-FFF2-40B4-BE49-F238E27FC236}">
                  <a16:creationId xmlns:a16="http://schemas.microsoft.com/office/drawing/2014/main" id="{AF1096C1-D804-4B00-9134-A563788D0DD9}"/>
                </a:ext>
              </a:extLst>
            </p:cNvPr>
            <p:cNvPicPr/>
            <p:nvPr/>
          </p:nvPicPr>
          <p:blipFill>
            <a:blip r:embed="rId3" cstate="print"/>
            <a:stretch>
              <a:fillRect/>
            </a:stretch>
          </p:blipFill>
          <p:spPr>
            <a:xfrm>
              <a:off x="1357833" y="3763411"/>
              <a:ext cx="1105654" cy="216773"/>
            </a:xfrm>
            <a:prstGeom prst="rect">
              <a:avLst/>
            </a:prstGeom>
            <a:ln w="12700" cap="flat">
              <a:noFill/>
              <a:miter lim="400000"/>
            </a:ln>
            <a:effectLst/>
          </p:spPr>
        </p:pic>
        <p:pic>
          <p:nvPicPr>
            <p:cNvPr id="82" name="image21.png">
              <a:extLst>
                <a:ext uri="{FF2B5EF4-FFF2-40B4-BE49-F238E27FC236}">
                  <a16:creationId xmlns:a16="http://schemas.microsoft.com/office/drawing/2014/main" id="{F9A8222A-AADB-44FE-9E00-ACA34D97B233}"/>
                </a:ext>
              </a:extLst>
            </p:cNvPr>
            <p:cNvPicPr/>
            <p:nvPr/>
          </p:nvPicPr>
          <p:blipFill>
            <a:blip r:embed="rId3" cstate="print"/>
            <a:stretch>
              <a:fillRect/>
            </a:stretch>
          </p:blipFill>
          <p:spPr>
            <a:xfrm>
              <a:off x="1357833" y="3915691"/>
              <a:ext cx="1105654" cy="216773"/>
            </a:xfrm>
            <a:prstGeom prst="rect">
              <a:avLst/>
            </a:prstGeom>
            <a:ln w="12700" cap="flat">
              <a:noFill/>
              <a:miter lim="400000"/>
            </a:ln>
            <a:effectLst/>
          </p:spPr>
        </p:pic>
        <p:pic>
          <p:nvPicPr>
            <p:cNvPr id="83" name="image21.png">
              <a:extLst>
                <a:ext uri="{FF2B5EF4-FFF2-40B4-BE49-F238E27FC236}">
                  <a16:creationId xmlns:a16="http://schemas.microsoft.com/office/drawing/2014/main" id="{43D15FD3-C820-4909-A41D-41C5B842B868}"/>
                </a:ext>
              </a:extLst>
            </p:cNvPr>
            <p:cNvPicPr/>
            <p:nvPr/>
          </p:nvPicPr>
          <p:blipFill>
            <a:blip r:embed="rId3" cstate="print"/>
            <a:stretch>
              <a:fillRect/>
            </a:stretch>
          </p:blipFill>
          <p:spPr>
            <a:xfrm>
              <a:off x="1357833" y="4067974"/>
              <a:ext cx="1105654" cy="216773"/>
            </a:xfrm>
            <a:prstGeom prst="rect">
              <a:avLst/>
            </a:prstGeom>
            <a:ln w="12700" cap="flat">
              <a:noFill/>
              <a:miter lim="400000"/>
            </a:ln>
            <a:effectLst/>
          </p:spPr>
        </p:pic>
        <p:pic>
          <p:nvPicPr>
            <p:cNvPr id="84" name="image21.png">
              <a:extLst>
                <a:ext uri="{FF2B5EF4-FFF2-40B4-BE49-F238E27FC236}">
                  <a16:creationId xmlns:a16="http://schemas.microsoft.com/office/drawing/2014/main" id="{04698008-2B34-45F3-8828-637D7E43A48C}"/>
                </a:ext>
              </a:extLst>
            </p:cNvPr>
            <p:cNvPicPr/>
            <p:nvPr/>
          </p:nvPicPr>
          <p:blipFill>
            <a:blip r:embed="rId3" cstate="print"/>
            <a:stretch>
              <a:fillRect/>
            </a:stretch>
          </p:blipFill>
          <p:spPr>
            <a:xfrm>
              <a:off x="1357833" y="4220254"/>
              <a:ext cx="1105654" cy="216773"/>
            </a:xfrm>
            <a:prstGeom prst="rect">
              <a:avLst/>
            </a:prstGeom>
            <a:ln w="12700" cap="flat">
              <a:noFill/>
              <a:miter lim="400000"/>
            </a:ln>
            <a:effectLst/>
          </p:spPr>
        </p:pic>
        <p:pic>
          <p:nvPicPr>
            <p:cNvPr id="85" name="Picture 84">
              <a:extLst>
                <a:ext uri="{FF2B5EF4-FFF2-40B4-BE49-F238E27FC236}">
                  <a16:creationId xmlns:a16="http://schemas.microsoft.com/office/drawing/2014/main" id="{C52DCEC1-DC25-4D66-8DB5-1A45ED0B1D8D}"/>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49288" y="3213516"/>
              <a:ext cx="1107144" cy="399802"/>
            </a:xfrm>
            <a:prstGeom prst="rect">
              <a:avLst/>
            </a:prstGeom>
          </p:spPr>
        </p:pic>
      </p:grpSp>
      <p:sp>
        <p:nvSpPr>
          <p:cNvPr id="86" name="Rectangle 85">
            <a:extLst>
              <a:ext uri="{FF2B5EF4-FFF2-40B4-BE49-F238E27FC236}">
                <a16:creationId xmlns:a16="http://schemas.microsoft.com/office/drawing/2014/main" id="{FBAEFE6C-16F1-408B-9672-5FA207A163C2}"/>
              </a:ext>
            </a:extLst>
          </p:cNvPr>
          <p:cNvSpPr/>
          <p:nvPr/>
        </p:nvSpPr>
        <p:spPr>
          <a:xfrm>
            <a:off x="2543289" y="4284777"/>
            <a:ext cx="454189" cy="149290"/>
          </a:xfrm>
          <a:prstGeom prst="rect">
            <a:avLst/>
          </a:prstGeom>
          <a:solidFill>
            <a:srgbClr val="7B00C6"/>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pic>
        <p:nvPicPr>
          <p:cNvPr id="87" name="Picture 2" descr="https://upload.wikimedia.org/wikipedia/commons/thumb/3/32/AWS_Simple_Icons_Storage_Amazon_S3.svg/1024px-AWS_Simple_Icons_Storage_Amazon_S3.svg.png">
            <a:extLst>
              <a:ext uri="{FF2B5EF4-FFF2-40B4-BE49-F238E27FC236}">
                <a16:creationId xmlns:a16="http://schemas.microsoft.com/office/drawing/2014/main" id="{7509B8F6-896D-4E73-8D1B-B469F28F8691}"/>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487835" y="4131424"/>
            <a:ext cx="528836" cy="441731"/>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A8324DD2-CE87-476C-96BF-862DA97B3A0F}"/>
              </a:ext>
            </a:extLst>
          </p:cNvPr>
          <p:cNvSpPr/>
          <p:nvPr/>
        </p:nvSpPr>
        <p:spPr>
          <a:xfrm>
            <a:off x="312294" y="3071382"/>
            <a:ext cx="454189" cy="149290"/>
          </a:xfrm>
          <a:prstGeom prst="rect">
            <a:avLst/>
          </a:prstGeom>
          <a:solidFill>
            <a:srgbClr val="7B00C6"/>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3E184B74-0A49-4BAC-8643-A6EA0142D171}"/>
              </a:ext>
            </a:extLst>
          </p:cNvPr>
          <p:cNvSpPr/>
          <p:nvPr/>
        </p:nvSpPr>
        <p:spPr>
          <a:xfrm>
            <a:off x="2545210" y="3430413"/>
            <a:ext cx="454189" cy="149290"/>
          </a:xfrm>
          <a:prstGeom prst="rect">
            <a:avLst/>
          </a:prstGeom>
          <a:solidFill>
            <a:srgbClr val="FF9E0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C350489A-0D10-4283-99B3-9761E6414890}"/>
              </a:ext>
            </a:extLst>
          </p:cNvPr>
          <p:cNvSpPr/>
          <p:nvPr/>
        </p:nvSpPr>
        <p:spPr>
          <a:xfrm>
            <a:off x="2543178" y="3928451"/>
            <a:ext cx="454188" cy="359031"/>
          </a:xfrm>
          <a:prstGeom prst="rect">
            <a:avLst/>
          </a:prstGeom>
          <a:solidFill>
            <a:srgbClr val="00B0F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423" b="0" i="0" u="none" strike="noStrike" kern="0" cap="none" spc="0" normalizeH="0" baseline="0" noProof="0">
              <a:ln>
                <a:noFill/>
              </a:ln>
              <a:solidFill>
                <a:prstClr val="white"/>
              </a:solidFill>
              <a:effectLst/>
              <a:uLnTx/>
              <a:uFillTx/>
              <a:latin typeface="Arial"/>
              <a:ea typeface="+mn-ea"/>
              <a:cs typeface="+mn-cs"/>
            </a:endParaRPr>
          </a:p>
        </p:txBody>
      </p:sp>
      <p:grpSp>
        <p:nvGrpSpPr>
          <p:cNvPr id="91" name="Group 90">
            <a:extLst>
              <a:ext uri="{FF2B5EF4-FFF2-40B4-BE49-F238E27FC236}">
                <a16:creationId xmlns:a16="http://schemas.microsoft.com/office/drawing/2014/main" id="{86913F36-5FD6-481E-B137-5B85AAAFB08D}"/>
              </a:ext>
            </a:extLst>
          </p:cNvPr>
          <p:cNvGrpSpPr/>
          <p:nvPr/>
        </p:nvGrpSpPr>
        <p:grpSpPr>
          <a:xfrm>
            <a:off x="329095" y="3735559"/>
            <a:ext cx="1682423" cy="965174"/>
            <a:chOff x="623634" y="4980746"/>
            <a:chExt cx="2243231" cy="1286898"/>
          </a:xfrm>
        </p:grpSpPr>
        <p:sp>
          <p:nvSpPr>
            <p:cNvPr id="92" name="Rectangle 91">
              <a:extLst>
                <a:ext uri="{FF2B5EF4-FFF2-40B4-BE49-F238E27FC236}">
                  <a16:creationId xmlns:a16="http://schemas.microsoft.com/office/drawing/2014/main" id="{59FC29BC-F382-48FB-8DE2-CACF33069DE1}"/>
                </a:ext>
              </a:extLst>
            </p:cNvPr>
            <p:cNvSpPr/>
            <p:nvPr/>
          </p:nvSpPr>
          <p:spPr>
            <a:xfrm>
              <a:off x="630783" y="5085133"/>
              <a:ext cx="127492" cy="148738"/>
            </a:xfrm>
            <a:prstGeom prst="rect">
              <a:avLst/>
            </a:prstGeom>
            <a:solidFill>
              <a:srgbClr val="9EA2A2"/>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93" name="TextBox 92">
              <a:extLst>
                <a:ext uri="{FF2B5EF4-FFF2-40B4-BE49-F238E27FC236}">
                  <a16:creationId xmlns:a16="http://schemas.microsoft.com/office/drawing/2014/main" id="{F55B4D01-E668-45E3-AF03-1288FF3CA3A7}"/>
                </a:ext>
              </a:extLst>
            </p:cNvPr>
            <p:cNvSpPr txBox="1"/>
            <p:nvPr/>
          </p:nvSpPr>
          <p:spPr>
            <a:xfrm>
              <a:off x="719393" y="4980746"/>
              <a:ext cx="2147472" cy="376115"/>
            </a:xfrm>
            <a:prstGeom prst="rect">
              <a:avLst/>
            </a:prstGeom>
          </p:spPr>
          <p:txBody>
            <a:bodyPr vert="horz" wrap="none" lIns="68526" tIns="34263" rIns="68526" bIns="34263" rtlCol="0" anchor="ctr">
              <a:noAutofit/>
            </a:bodyPr>
            <a:lstStyle/>
            <a:p>
              <a:pPr marL="0" marR="0" lvl="0" indent="0" algn="l" defTabSz="686412" rtl="0" eaLnBrk="1" fontAlgn="auto" latinLnBrk="0" hangingPunct="1">
                <a:lnSpc>
                  <a:spcPct val="95000"/>
                </a:lnSpc>
                <a:spcBef>
                  <a:spcPts val="300"/>
                </a:spcBef>
                <a:spcAft>
                  <a:spcPts val="150"/>
                </a:spcAft>
                <a:buClrTx/>
                <a:buSzTx/>
                <a:buFontTx/>
                <a:buNone/>
                <a:tabLst/>
                <a:defRPr/>
              </a:pPr>
              <a:r>
                <a:rPr kumimoji="0" lang="en-US" sz="900" b="0" i="0" u="none" strike="noStrike" kern="0" cap="none" spc="0" normalizeH="0" baseline="0" noProof="0">
                  <a:ln>
                    <a:noFill/>
                  </a:ln>
                  <a:solidFill>
                    <a:sysClr val="windowText" lastClr="000000"/>
                  </a:solidFill>
                  <a:effectLst/>
                  <a:uLnTx/>
                  <a:uFillTx/>
                  <a:latin typeface="Arial"/>
                  <a:ea typeface="+mn-ea"/>
                  <a:cs typeface="+mn-cs"/>
                </a:rPr>
                <a:t>Provisioned storage</a:t>
              </a:r>
            </a:p>
          </p:txBody>
        </p:sp>
        <p:sp>
          <p:nvSpPr>
            <p:cNvPr id="94" name="Rectangle 93">
              <a:extLst>
                <a:ext uri="{FF2B5EF4-FFF2-40B4-BE49-F238E27FC236}">
                  <a16:creationId xmlns:a16="http://schemas.microsoft.com/office/drawing/2014/main" id="{9EA62883-2916-4917-A737-CE6B3E3ED179}"/>
                </a:ext>
              </a:extLst>
            </p:cNvPr>
            <p:cNvSpPr/>
            <p:nvPr/>
          </p:nvSpPr>
          <p:spPr>
            <a:xfrm>
              <a:off x="623634" y="5390314"/>
              <a:ext cx="127492" cy="148738"/>
            </a:xfrm>
            <a:prstGeom prst="rect">
              <a:avLst/>
            </a:prstGeom>
            <a:solidFill>
              <a:srgbClr val="FF9E0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95" name="TextBox 94">
              <a:extLst>
                <a:ext uri="{FF2B5EF4-FFF2-40B4-BE49-F238E27FC236}">
                  <a16:creationId xmlns:a16="http://schemas.microsoft.com/office/drawing/2014/main" id="{80EC0B36-0056-4AD4-847D-FAAEC41681B8}"/>
                </a:ext>
              </a:extLst>
            </p:cNvPr>
            <p:cNvSpPr txBox="1"/>
            <p:nvPr/>
          </p:nvSpPr>
          <p:spPr>
            <a:xfrm>
              <a:off x="719389" y="5284552"/>
              <a:ext cx="2069519" cy="376115"/>
            </a:xfrm>
            <a:prstGeom prst="rect">
              <a:avLst/>
            </a:prstGeom>
          </p:spPr>
          <p:txBody>
            <a:bodyPr vert="horz" wrap="none" lIns="68526" tIns="34263" rIns="68526" bIns="34263" rtlCol="0" anchor="ctr">
              <a:noAutofit/>
            </a:bodyPr>
            <a:lstStyle/>
            <a:p>
              <a:pPr marL="0" marR="0" lvl="0" indent="0" algn="l" defTabSz="686412" rtl="0" eaLnBrk="1" fontAlgn="auto" latinLnBrk="0" hangingPunct="1">
                <a:lnSpc>
                  <a:spcPct val="95000"/>
                </a:lnSpc>
                <a:spcBef>
                  <a:spcPts val="300"/>
                </a:spcBef>
                <a:spcAft>
                  <a:spcPts val="150"/>
                </a:spcAft>
                <a:buClrTx/>
                <a:buSzTx/>
                <a:buFontTx/>
                <a:buNone/>
                <a:tabLst/>
                <a:defRPr/>
              </a:pPr>
              <a:r>
                <a:rPr kumimoji="0" lang="en-US" sz="900" b="0" i="0" u="none" strike="noStrike" kern="0" cap="none" spc="0" normalizeH="0" baseline="0" noProof="0">
                  <a:ln>
                    <a:noFill/>
                  </a:ln>
                  <a:solidFill>
                    <a:sysClr val="windowText" lastClr="000000"/>
                  </a:solidFill>
                  <a:effectLst/>
                  <a:uLnTx/>
                  <a:uFillTx/>
                  <a:latin typeface="Arial"/>
                  <a:ea typeface="+mn-ea"/>
                  <a:cs typeface="+mn-cs"/>
                </a:rPr>
                <a:t>Active data</a:t>
              </a:r>
            </a:p>
          </p:txBody>
        </p:sp>
        <p:sp>
          <p:nvSpPr>
            <p:cNvPr id="96" name="Rectangle 95">
              <a:extLst>
                <a:ext uri="{FF2B5EF4-FFF2-40B4-BE49-F238E27FC236}">
                  <a16:creationId xmlns:a16="http://schemas.microsoft.com/office/drawing/2014/main" id="{7250811E-57E0-46F3-9950-63C3CF97031D}"/>
                </a:ext>
              </a:extLst>
            </p:cNvPr>
            <p:cNvSpPr/>
            <p:nvPr/>
          </p:nvSpPr>
          <p:spPr>
            <a:xfrm>
              <a:off x="623634" y="5707764"/>
              <a:ext cx="127492" cy="148738"/>
            </a:xfrm>
            <a:prstGeom prst="rect">
              <a:avLst/>
            </a:prstGeom>
            <a:solidFill>
              <a:srgbClr val="7B00C6"/>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97" name="TextBox 96">
              <a:extLst>
                <a:ext uri="{FF2B5EF4-FFF2-40B4-BE49-F238E27FC236}">
                  <a16:creationId xmlns:a16="http://schemas.microsoft.com/office/drawing/2014/main" id="{2827BCE8-4055-4CF8-ACF7-3A63E9439E54}"/>
                </a:ext>
              </a:extLst>
            </p:cNvPr>
            <p:cNvSpPr txBox="1"/>
            <p:nvPr/>
          </p:nvSpPr>
          <p:spPr>
            <a:xfrm>
              <a:off x="719390" y="5605960"/>
              <a:ext cx="2059166" cy="376115"/>
            </a:xfrm>
            <a:prstGeom prst="rect">
              <a:avLst/>
            </a:prstGeom>
          </p:spPr>
          <p:txBody>
            <a:bodyPr vert="horz" wrap="none" lIns="68526" tIns="34263" rIns="68526" bIns="34263" rtlCol="0" anchor="ctr">
              <a:noAutofit/>
            </a:bodyPr>
            <a:lstStyle/>
            <a:p>
              <a:pPr marL="0" marR="0" lvl="0" indent="0" algn="l" defTabSz="686412" rtl="0" eaLnBrk="1" fontAlgn="auto" latinLnBrk="0" hangingPunct="1">
                <a:lnSpc>
                  <a:spcPct val="95000"/>
                </a:lnSpc>
                <a:spcBef>
                  <a:spcPts val="300"/>
                </a:spcBef>
                <a:spcAft>
                  <a:spcPts val="150"/>
                </a:spcAft>
                <a:buClrTx/>
                <a:buSzTx/>
                <a:buFontTx/>
                <a:buNone/>
                <a:tabLst/>
                <a:defRPr/>
              </a:pPr>
              <a:r>
                <a:rPr kumimoji="0" lang="en-US" sz="900" b="0" i="0" u="none" strike="noStrike" kern="0" cap="none" spc="0" normalizeH="0" baseline="0" noProof="0">
                  <a:ln>
                    <a:noFill/>
                  </a:ln>
                  <a:solidFill>
                    <a:sysClr val="windowText" lastClr="000000"/>
                  </a:solidFill>
                  <a:effectLst/>
                  <a:uLnTx/>
                  <a:uFillTx/>
                  <a:latin typeface="Arial"/>
                  <a:ea typeface="+mn-ea"/>
                  <a:cs typeface="+mn-cs"/>
                </a:rPr>
                <a:t>Snapshot™ copies</a:t>
              </a:r>
            </a:p>
          </p:txBody>
        </p:sp>
        <p:sp>
          <p:nvSpPr>
            <p:cNvPr id="98" name="Rectangle 97">
              <a:extLst>
                <a:ext uri="{FF2B5EF4-FFF2-40B4-BE49-F238E27FC236}">
                  <a16:creationId xmlns:a16="http://schemas.microsoft.com/office/drawing/2014/main" id="{6C71EBE0-DDC3-46D6-8991-00F5FD491869}"/>
                </a:ext>
              </a:extLst>
            </p:cNvPr>
            <p:cNvSpPr/>
            <p:nvPr/>
          </p:nvSpPr>
          <p:spPr>
            <a:xfrm>
              <a:off x="625109" y="5993333"/>
              <a:ext cx="127492" cy="148738"/>
            </a:xfrm>
            <a:prstGeom prst="rect">
              <a:avLst/>
            </a:prstGeom>
            <a:solidFill>
              <a:srgbClr val="00B0F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6412"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99" name="TextBox 98">
              <a:extLst>
                <a:ext uri="{FF2B5EF4-FFF2-40B4-BE49-F238E27FC236}">
                  <a16:creationId xmlns:a16="http://schemas.microsoft.com/office/drawing/2014/main" id="{BCA3B5DA-D645-45B9-9FAE-889A538DD20B}"/>
                </a:ext>
              </a:extLst>
            </p:cNvPr>
            <p:cNvSpPr txBox="1"/>
            <p:nvPr/>
          </p:nvSpPr>
          <p:spPr>
            <a:xfrm>
              <a:off x="729743" y="5891529"/>
              <a:ext cx="2059166" cy="376115"/>
            </a:xfrm>
            <a:prstGeom prst="rect">
              <a:avLst/>
            </a:prstGeom>
          </p:spPr>
          <p:txBody>
            <a:bodyPr vert="horz" wrap="none" lIns="68526" tIns="34263" rIns="68526" bIns="34263" rtlCol="0" anchor="ctr">
              <a:noAutofit/>
            </a:bodyPr>
            <a:lstStyle/>
            <a:p>
              <a:pPr marL="0" marR="0" lvl="0" indent="0" algn="l" defTabSz="686412" rtl="0" eaLnBrk="1" fontAlgn="auto" latinLnBrk="0" hangingPunct="1">
                <a:lnSpc>
                  <a:spcPct val="95000"/>
                </a:lnSpc>
                <a:spcBef>
                  <a:spcPts val="300"/>
                </a:spcBef>
                <a:spcAft>
                  <a:spcPts val="150"/>
                </a:spcAft>
                <a:buClrTx/>
                <a:buSzTx/>
                <a:buFontTx/>
                <a:buNone/>
                <a:tabLst/>
                <a:defRPr/>
              </a:pPr>
              <a:r>
                <a:rPr kumimoji="0" lang="en-US" sz="900" b="0" i="0" u="none" strike="noStrike" kern="0" cap="none" spc="0" normalizeH="0" baseline="0" noProof="0">
                  <a:ln>
                    <a:noFill/>
                  </a:ln>
                  <a:solidFill>
                    <a:sysClr val="windowText" lastClr="000000"/>
                  </a:solidFill>
                  <a:effectLst/>
                  <a:uLnTx/>
                  <a:uFillTx/>
                  <a:latin typeface="Arial"/>
                  <a:ea typeface="+mn-ea"/>
                  <a:cs typeface="+mn-cs"/>
                </a:rPr>
                <a:t>Inactive data</a:t>
              </a:r>
            </a:p>
          </p:txBody>
        </p:sp>
      </p:grpSp>
      <p:pic>
        <p:nvPicPr>
          <p:cNvPr id="100" name="Picture 99" descr="Image result for picture of a flexpod logo">
            <a:extLst>
              <a:ext uri="{FF2B5EF4-FFF2-40B4-BE49-F238E27FC236}">
                <a16:creationId xmlns:a16="http://schemas.microsoft.com/office/drawing/2014/main" id="{DB86401D-E4B6-483B-84A9-1226557F43BC}"/>
              </a:ext>
            </a:extLst>
          </p:cNvPr>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152521" y="1865366"/>
            <a:ext cx="1235610" cy="300082"/>
          </a:xfrm>
          <a:prstGeom prst="rect">
            <a:avLst/>
          </a:prstGeom>
          <a:noFill/>
          <a:ln>
            <a:noFill/>
          </a:ln>
        </p:spPr>
      </p:pic>
      <p:pic>
        <p:nvPicPr>
          <p:cNvPr id="101" name="Picture 100" descr="Image result for picture of a flexpod logo">
            <a:extLst>
              <a:ext uri="{FF2B5EF4-FFF2-40B4-BE49-F238E27FC236}">
                <a16:creationId xmlns:a16="http://schemas.microsoft.com/office/drawing/2014/main" id="{3069AD9B-FBA5-48D4-AD86-EDF8FA8175E0}"/>
              </a:ext>
            </a:extLst>
          </p:cNvPr>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00049" y="1871462"/>
            <a:ext cx="1235610" cy="300082"/>
          </a:xfrm>
          <a:prstGeom prst="rect">
            <a:avLst/>
          </a:prstGeom>
          <a:noFill/>
          <a:ln>
            <a:noFill/>
          </a:ln>
        </p:spPr>
      </p:pic>
      <p:sp>
        <p:nvSpPr>
          <p:cNvPr id="104" name="Title 3">
            <a:extLst>
              <a:ext uri="{FF2B5EF4-FFF2-40B4-BE49-F238E27FC236}">
                <a16:creationId xmlns:a16="http://schemas.microsoft.com/office/drawing/2014/main" id="{9574C385-EBBC-F749-A336-73F9C96EE958}"/>
              </a:ext>
            </a:extLst>
          </p:cNvPr>
          <p:cNvSpPr txBox="1">
            <a:spLocks/>
          </p:cNvSpPr>
          <p:nvPr/>
        </p:nvSpPr>
        <p:spPr>
          <a:xfrm>
            <a:off x="228600" y="112683"/>
            <a:ext cx="8534399"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a:ea typeface="+mj-ea"/>
                <a:cs typeface="+mj-cs"/>
              </a:rPr>
              <a:t>FlexPod </a:t>
            </a:r>
            <a:r>
              <a:rPr kumimoji="0" lang="en-US" sz="2800" b="1" i="0" u="none" strike="noStrike" kern="0" cap="none" spc="0" normalizeH="0" baseline="0" noProof="0" dirty="0" err="1">
                <a:ln>
                  <a:noFill/>
                </a:ln>
                <a:solidFill>
                  <a:srgbClr val="000000"/>
                </a:solidFill>
                <a:effectLst/>
                <a:uLnTx/>
                <a:uFillTx/>
                <a:latin typeface="Arial"/>
                <a:ea typeface="+mj-ea"/>
                <a:cs typeface="+mj-cs"/>
              </a:rPr>
              <a:t>FabricPool</a:t>
            </a:r>
            <a:r>
              <a:rPr kumimoji="0" lang="en-US" sz="2800" b="1" i="0" u="none" strike="noStrike" kern="0" cap="none" spc="0" normalizeH="0" baseline="0" noProof="0" dirty="0">
                <a:ln>
                  <a:noFill/>
                </a:ln>
                <a:solidFill>
                  <a:srgbClr val="000000"/>
                </a:solidFill>
                <a:effectLst/>
                <a:uLnTx/>
                <a:uFillTx/>
                <a:latin typeface="Arial"/>
                <a:ea typeface="+mj-ea"/>
                <a:cs typeface="+mj-cs"/>
              </a:rPr>
              <a:t> with Primary Data</a:t>
            </a:r>
          </a:p>
        </p:txBody>
      </p:sp>
    </p:spTree>
    <p:extLst>
      <p:ext uri="{BB962C8B-B14F-4D97-AF65-F5344CB8AC3E}">
        <p14:creationId xmlns:p14="http://schemas.microsoft.com/office/powerpoint/2010/main" val="288281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2A9F9339-383B-4652-ABDE-B042B5757D96}"/>
              </a:ext>
            </a:extLst>
          </p:cNvPr>
          <p:cNvSpPr/>
          <p:nvPr/>
        </p:nvSpPr>
        <p:spPr>
          <a:xfrm>
            <a:off x="251686" y="980595"/>
            <a:ext cx="8746226" cy="4140481"/>
          </a:xfrm>
          <a:prstGeom prst="rect">
            <a:avLst/>
          </a:prstGeom>
          <a:solidFill>
            <a:sysClr val="window" lastClr="FFFFFF">
              <a:lumMod val="95000"/>
            </a:sysClr>
          </a:solidFill>
          <a:ln w="12700" cap="flat" cmpd="sng" algn="ctr">
            <a:noFill/>
            <a:prstDash val="solid"/>
          </a:ln>
          <a:effectLst>
            <a:softEdge rad="12700"/>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FBED3A45-9024-4A56-8377-684C1E0C0215}"/>
              </a:ext>
            </a:extLst>
          </p:cNvPr>
          <p:cNvSpPr txBox="1"/>
          <p:nvPr/>
        </p:nvSpPr>
        <p:spPr>
          <a:xfrm>
            <a:off x="1467445" y="2598205"/>
            <a:ext cx="1371559" cy="559344"/>
          </a:xfrm>
          <a:prstGeom prst="rect">
            <a:avLst/>
          </a:prstGeom>
        </p:spPr>
        <p:txBody>
          <a:bodyPr vert="horz" wrap="none" lIns="91392" tIns="45696" rIns="91392" bIns="45696" rtlCol="0" anchor="ctr">
            <a:noAutofit/>
          </a:bodyPr>
          <a:lstStyle/>
          <a:p>
            <a:pPr marL="0" marR="0" lvl="0" indent="0" algn="ctr" defTabSz="914400" rtl="0" eaLnBrk="1" fontAlgn="auto" latinLnBrk="0" hangingPunct="1">
              <a:lnSpc>
                <a:spcPct val="95000"/>
              </a:lnSpc>
              <a:spcBef>
                <a:spcPts val="400"/>
              </a:spcBef>
              <a:spcAft>
                <a:spcPts val="200"/>
              </a:spcAft>
              <a:buClrTx/>
              <a:buSzTx/>
              <a:buFontTx/>
              <a:buNone/>
              <a:tabLst/>
              <a:defRPr/>
            </a:pPr>
            <a:r>
              <a:rPr kumimoji="0" lang="en-US" sz="1898" b="0" i="0" u="none" strike="noStrike" kern="0" cap="none" spc="0" normalizeH="0" baseline="0" noProof="0">
                <a:ln>
                  <a:noFill/>
                </a:ln>
                <a:solidFill>
                  <a:sysClr val="windowText" lastClr="000000"/>
                </a:solidFill>
                <a:effectLst/>
                <a:uLnTx/>
                <a:uFillTx/>
                <a:latin typeface="Arial" panose="020B0604020202020204" pitchFamily="34" charset="0"/>
                <a:ea typeface="+mn-ea"/>
                <a:cs typeface="+mn-cs"/>
              </a:rPr>
              <a:t>On Premises</a:t>
            </a:r>
          </a:p>
        </p:txBody>
      </p:sp>
      <p:grpSp>
        <p:nvGrpSpPr>
          <p:cNvPr id="33" name="Group 32">
            <a:extLst>
              <a:ext uri="{FF2B5EF4-FFF2-40B4-BE49-F238E27FC236}">
                <a16:creationId xmlns:a16="http://schemas.microsoft.com/office/drawing/2014/main" id="{AE1D5F06-52AF-4C6F-AEC8-B65CB561C83C}"/>
              </a:ext>
            </a:extLst>
          </p:cNvPr>
          <p:cNvGrpSpPr/>
          <p:nvPr/>
        </p:nvGrpSpPr>
        <p:grpSpPr>
          <a:xfrm>
            <a:off x="1461456" y="2002801"/>
            <a:ext cx="1370889" cy="720029"/>
            <a:chOff x="3081219" y="2643180"/>
            <a:chExt cx="1371604" cy="720405"/>
          </a:xfrm>
        </p:grpSpPr>
        <p:pic>
          <p:nvPicPr>
            <p:cNvPr id="34" name="image21.png">
              <a:extLst>
                <a:ext uri="{FF2B5EF4-FFF2-40B4-BE49-F238E27FC236}">
                  <a16:creationId xmlns:a16="http://schemas.microsoft.com/office/drawing/2014/main" id="{9DC6CB00-F575-42F7-B337-EE0E0BE413D5}"/>
                </a:ext>
              </a:extLst>
            </p:cNvPr>
            <p:cNvPicPr/>
            <p:nvPr/>
          </p:nvPicPr>
          <p:blipFill>
            <a:blip r:embed="rId3" cstate="print"/>
            <a:stretch>
              <a:fillRect/>
            </a:stretch>
          </p:blipFill>
          <p:spPr>
            <a:xfrm>
              <a:off x="3081219" y="2643180"/>
              <a:ext cx="1371604" cy="246892"/>
            </a:xfrm>
            <a:prstGeom prst="rect">
              <a:avLst/>
            </a:prstGeom>
            <a:ln w="12700" cap="flat">
              <a:noFill/>
              <a:miter lim="400000"/>
            </a:ln>
            <a:effectLst/>
          </p:spPr>
        </p:pic>
        <p:pic>
          <p:nvPicPr>
            <p:cNvPr id="35" name="image21.png">
              <a:extLst>
                <a:ext uri="{FF2B5EF4-FFF2-40B4-BE49-F238E27FC236}">
                  <a16:creationId xmlns:a16="http://schemas.microsoft.com/office/drawing/2014/main" id="{61D36AC9-6448-48A4-910A-89B1216BE4C0}"/>
                </a:ext>
              </a:extLst>
            </p:cNvPr>
            <p:cNvPicPr/>
            <p:nvPr/>
          </p:nvPicPr>
          <p:blipFill>
            <a:blip r:embed="rId3" cstate="print"/>
            <a:stretch>
              <a:fillRect/>
            </a:stretch>
          </p:blipFill>
          <p:spPr>
            <a:xfrm>
              <a:off x="3081219" y="2870848"/>
              <a:ext cx="1371604" cy="246891"/>
            </a:xfrm>
            <a:prstGeom prst="rect">
              <a:avLst/>
            </a:prstGeom>
            <a:ln w="12700" cap="flat">
              <a:noFill/>
              <a:miter lim="400000"/>
            </a:ln>
            <a:effectLst/>
          </p:spPr>
        </p:pic>
        <p:pic>
          <p:nvPicPr>
            <p:cNvPr id="36" name="image21.png">
              <a:extLst>
                <a:ext uri="{FF2B5EF4-FFF2-40B4-BE49-F238E27FC236}">
                  <a16:creationId xmlns:a16="http://schemas.microsoft.com/office/drawing/2014/main" id="{6D4E9C96-181A-42F2-B163-F05D731E2C80}"/>
                </a:ext>
              </a:extLst>
            </p:cNvPr>
            <p:cNvPicPr/>
            <p:nvPr/>
          </p:nvPicPr>
          <p:blipFill>
            <a:blip r:embed="rId3" cstate="print"/>
            <a:stretch>
              <a:fillRect/>
            </a:stretch>
          </p:blipFill>
          <p:spPr>
            <a:xfrm>
              <a:off x="3081219" y="3116694"/>
              <a:ext cx="1371604" cy="246891"/>
            </a:xfrm>
            <a:prstGeom prst="rect">
              <a:avLst/>
            </a:prstGeom>
            <a:ln w="12700" cap="flat">
              <a:noFill/>
              <a:miter lim="400000"/>
            </a:ln>
            <a:effectLst/>
          </p:spPr>
        </p:pic>
      </p:grpSp>
      <p:sp>
        <p:nvSpPr>
          <p:cNvPr id="37" name="Left-Up Arrow 17">
            <a:extLst>
              <a:ext uri="{FF2B5EF4-FFF2-40B4-BE49-F238E27FC236}">
                <a16:creationId xmlns:a16="http://schemas.microsoft.com/office/drawing/2014/main" id="{5E956611-CE96-472C-A0DA-64A89EB37387}"/>
              </a:ext>
            </a:extLst>
          </p:cNvPr>
          <p:cNvSpPr/>
          <p:nvPr/>
        </p:nvSpPr>
        <p:spPr>
          <a:xfrm rot="13584962">
            <a:off x="1425798" y="3012460"/>
            <a:ext cx="1309568" cy="1375952"/>
          </a:xfrm>
          <a:prstGeom prst="leftUpArrow">
            <a:avLst/>
          </a:prstGeom>
          <a:solidFill>
            <a:srgbClr val="0067C5">
              <a:lumMod val="40000"/>
              <a:lumOff val="60000"/>
            </a:srgbClr>
          </a:solidFill>
          <a:ln w="12700" cap="flat" cmpd="sng" algn="ctr">
            <a:noFill/>
            <a:prstDash val="soli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98" b="0" i="0" u="none" strike="noStrike" kern="0" cap="none" spc="0" normalizeH="0" baseline="0" noProof="0">
              <a:ln>
                <a:noFill/>
              </a:ln>
              <a:solidFill>
                <a:prstClr val="white"/>
              </a:solidFill>
              <a:effectLst/>
              <a:uLnTx/>
              <a:uFillTx/>
              <a:latin typeface="Arial"/>
              <a:ea typeface="+mn-ea"/>
              <a:cs typeface="+mn-cs"/>
            </a:endParaRPr>
          </a:p>
        </p:txBody>
      </p:sp>
      <p:sp>
        <p:nvSpPr>
          <p:cNvPr id="38" name="Freeform 117">
            <a:extLst>
              <a:ext uri="{FF2B5EF4-FFF2-40B4-BE49-F238E27FC236}">
                <a16:creationId xmlns:a16="http://schemas.microsoft.com/office/drawing/2014/main" id="{09235C7E-F621-4150-8DB0-DBE74FBC7581}"/>
              </a:ext>
            </a:extLst>
          </p:cNvPr>
          <p:cNvSpPr>
            <a:spLocks/>
          </p:cNvSpPr>
          <p:nvPr/>
        </p:nvSpPr>
        <p:spPr bwMode="auto">
          <a:xfrm>
            <a:off x="640029" y="3980176"/>
            <a:ext cx="1440554" cy="811863"/>
          </a:xfrm>
          <a:custGeom>
            <a:avLst/>
            <a:gdLst>
              <a:gd name="T0" fmla="*/ 567 w 675"/>
              <a:gd name="T1" fmla="*/ 194 h 443"/>
              <a:gd name="T2" fmla="*/ 567 w 675"/>
              <a:gd name="T3" fmla="*/ 185 h 443"/>
              <a:gd name="T4" fmla="*/ 381 w 675"/>
              <a:gd name="T5" fmla="*/ 0 h 443"/>
              <a:gd name="T6" fmla="*/ 226 w 675"/>
              <a:gd name="T7" fmla="*/ 83 h 443"/>
              <a:gd name="T8" fmla="*/ 175 w 675"/>
              <a:gd name="T9" fmla="*/ 69 h 443"/>
              <a:gd name="T10" fmla="*/ 115 w 675"/>
              <a:gd name="T11" fmla="*/ 87 h 443"/>
              <a:gd name="T12" fmla="*/ 67 w 675"/>
              <a:gd name="T13" fmla="*/ 174 h 443"/>
              <a:gd name="T14" fmla="*/ 0 w 675"/>
              <a:gd name="T15" fmla="*/ 297 h 443"/>
              <a:gd name="T16" fmla="*/ 131 w 675"/>
              <a:gd name="T17" fmla="*/ 443 h 443"/>
              <a:gd name="T18" fmla="*/ 147 w 675"/>
              <a:gd name="T19" fmla="*/ 443 h 443"/>
              <a:gd name="T20" fmla="*/ 162 w 675"/>
              <a:gd name="T21" fmla="*/ 443 h 443"/>
              <a:gd name="T22" fmla="*/ 465 w 675"/>
              <a:gd name="T23" fmla="*/ 443 h 443"/>
              <a:gd name="T24" fmla="*/ 471 w 675"/>
              <a:gd name="T25" fmla="*/ 443 h 443"/>
              <a:gd name="T26" fmla="*/ 479 w 675"/>
              <a:gd name="T27" fmla="*/ 443 h 443"/>
              <a:gd name="T28" fmla="*/ 501 w 675"/>
              <a:gd name="T29" fmla="*/ 443 h 443"/>
              <a:gd name="T30" fmla="*/ 550 w 675"/>
              <a:gd name="T31" fmla="*/ 443 h 443"/>
              <a:gd name="T32" fmla="*/ 675 w 675"/>
              <a:gd name="T33" fmla="*/ 318 h 443"/>
              <a:gd name="T34" fmla="*/ 567 w 675"/>
              <a:gd name="T35" fmla="*/ 194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5" h="443">
                <a:moveTo>
                  <a:pt x="567" y="194"/>
                </a:moveTo>
                <a:cubicBezTo>
                  <a:pt x="567" y="192"/>
                  <a:pt x="567" y="188"/>
                  <a:pt x="567" y="185"/>
                </a:cubicBezTo>
                <a:cubicBezTo>
                  <a:pt x="567" y="83"/>
                  <a:pt x="484" y="0"/>
                  <a:pt x="381" y="0"/>
                </a:cubicBezTo>
                <a:cubicBezTo>
                  <a:pt x="317" y="0"/>
                  <a:pt x="260" y="33"/>
                  <a:pt x="226" y="83"/>
                </a:cubicBezTo>
                <a:cubicBezTo>
                  <a:pt x="211" y="74"/>
                  <a:pt x="194" y="69"/>
                  <a:pt x="175" y="69"/>
                </a:cubicBezTo>
                <a:cubicBezTo>
                  <a:pt x="153" y="69"/>
                  <a:pt x="132" y="76"/>
                  <a:pt x="115" y="87"/>
                </a:cubicBezTo>
                <a:cubicBezTo>
                  <a:pt x="87" y="106"/>
                  <a:pt x="68" y="138"/>
                  <a:pt x="67" y="174"/>
                </a:cubicBezTo>
                <a:cubicBezTo>
                  <a:pt x="28" y="200"/>
                  <a:pt x="0" y="246"/>
                  <a:pt x="0" y="297"/>
                </a:cubicBezTo>
                <a:cubicBezTo>
                  <a:pt x="0" y="372"/>
                  <a:pt x="57" y="434"/>
                  <a:pt x="131" y="443"/>
                </a:cubicBezTo>
                <a:cubicBezTo>
                  <a:pt x="136" y="443"/>
                  <a:pt x="142" y="443"/>
                  <a:pt x="147" y="443"/>
                </a:cubicBezTo>
                <a:cubicBezTo>
                  <a:pt x="152" y="443"/>
                  <a:pt x="157" y="443"/>
                  <a:pt x="162" y="443"/>
                </a:cubicBezTo>
                <a:cubicBezTo>
                  <a:pt x="230" y="443"/>
                  <a:pt x="390" y="443"/>
                  <a:pt x="465" y="443"/>
                </a:cubicBezTo>
                <a:cubicBezTo>
                  <a:pt x="468" y="443"/>
                  <a:pt x="470" y="443"/>
                  <a:pt x="471" y="443"/>
                </a:cubicBezTo>
                <a:cubicBezTo>
                  <a:pt x="479" y="443"/>
                  <a:pt x="479" y="443"/>
                  <a:pt x="479" y="443"/>
                </a:cubicBezTo>
                <a:cubicBezTo>
                  <a:pt x="483" y="443"/>
                  <a:pt x="494" y="443"/>
                  <a:pt x="501" y="443"/>
                </a:cubicBezTo>
                <a:cubicBezTo>
                  <a:pt x="550" y="443"/>
                  <a:pt x="550" y="443"/>
                  <a:pt x="550" y="443"/>
                </a:cubicBezTo>
                <a:cubicBezTo>
                  <a:pt x="619" y="442"/>
                  <a:pt x="675" y="386"/>
                  <a:pt x="675" y="318"/>
                </a:cubicBezTo>
                <a:cubicBezTo>
                  <a:pt x="675" y="255"/>
                  <a:pt x="628" y="203"/>
                  <a:pt x="567" y="194"/>
                </a:cubicBezTo>
                <a:close/>
              </a:path>
            </a:pathLst>
          </a:custGeom>
          <a:solidFill>
            <a:srgbClr val="0072C6"/>
          </a:solidFill>
          <a:ln>
            <a:noFill/>
          </a:ln>
        </p:spPr>
        <p:txBody>
          <a:bodyPr vert="horz" wrap="square" lIns="91392" tIns="45696" rIns="91392" bIns="45696"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8"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mn-cs"/>
              </a:rPr>
              <a:t>Public Cloud</a:t>
            </a:r>
          </a:p>
        </p:txBody>
      </p:sp>
      <p:sp>
        <p:nvSpPr>
          <p:cNvPr id="39" name="Freeform 117">
            <a:extLst>
              <a:ext uri="{FF2B5EF4-FFF2-40B4-BE49-F238E27FC236}">
                <a16:creationId xmlns:a16="http://schemas.microsoft.com/office/drawing/2014/main" id="{D61F6944-059D-4515-B363-71A072ACC95C}"/>
              </a:ext>
            </a:extLst>
          </p:cNvPr>
          <p:cNvSpPr>
            <a:spLocks/>
          </p:cNvSpPr>
          <p:nvPr/>
        </p:nvSpPr>
        <p:spPr bwMode="auto">
          <a:xfrm>
            <a:off x="2232903" y="3980176"/>
            <a:ext cx="1440554" cy="811863"/>
          </a:xfrm>
          <a:custGeom>
            <a:avLst/>
            <a:gdLst>
              <a:gd name="T0" fmla="*/ 567 w 675"/>
              <a:gd name="T1" fmla="*/ 194 h 443"/>
              <a:gd name="T2" fmla="*/ 567 w 675"/>
              <a:gd name="T3" fmla="*/ 185 h 443"/>
              <a:gd name="T4" fmla="*/ 381 w 675"/>
              <a:gd name="T5" fmla="*/ 0 h 443"/>
              <a:gd name="T6" fmla="*/ 226 w 675"/>
              <a:gd name="T7" fmla="*/ 83 h 443"/>
              <a:gd name="T8" fmla="*/ 175 w 675"/>
              <a:gd name="T9" fmla="*/ 69 h 443"/>
              <a:gd name="T10" fmla="*/ 115 w 675"/>
              <a:gd name="T11" fmla="*/ 87 h 443"/>
              <a:gd name="T12" fmla="*/ 67 w 675"/>
              <a:gd name="T13" fmla="*/ 174 h 443"/>
              <a:gd name="T14" fmla="*/ 0 w 675"/>
              <a:gd name="T15" fmla="*/ 297 h 443"/>
              <a:gd name="T16" fmla="*/ 131 w 675"/>
              <a:gd name="T17" fmla="*/ 443 h 443"/>
              <a:gd name="T18" fmla="*/ 147 w 675"/>
              <a:gd name="T19" fmla="*/ 443 h 443"/>
              <a:gd name="T20" fmla="*/ 162 w 675"/>
              <a:gd name="T21" fmla="*/ 443 h 443"/>
              <a:gd name="T22" fmla="*/ 465 w 675"/>
              <a:gd name="T23" fmla="*/ 443 h 443"/>
              <a:gd name="T24" fmla="*/ 471 w 675"/>
              <a:gd name="T25" fmla="*/ 443 h 443"/>
              <a:gd name="T26" fmla="*/ 479 w 675"/>
              <a:gd name="T27" fmla="*/ 443 h 443"/>
              <a:gd name="T28" fmla="*/ 501 w 675"/>
              <a:gd name="T29" fmla="*/ 443 h 443"/>
              <a:gd name="T30" fmla="*/ 550 w 675"/>
              <a:gd name="T31" fmla="*/ 443 h 443"/>
              <a:gd name="T32" fmla="*/ 675 w 675"/>
              <a:gd name="T33" fmla="*/ 318 h 443"/>
              <a:gd name="T34" fmla="*/ 567 w 675"/>
              <a:gd name="T35" fmla="*/ 194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5" h="443">
                <a:moveTo>
                  <a:pt x="567" y="194"/>
                </a:moveTo>
                <a:cubicBezTo>
                  <a:pt x="567" y="192"/>
                  <a:pt x="567" y="188"/>
                  <a:pt x="567" y="185"/>
                </a:cubicBezTo>
                <a:cubicBezTo>
                  <a:pt x="567" y="83"/>
                  <a:pt x="484" y="0"/>
                  <a:pt x="381" y="0"/>
                </a:cubicBezTo>
                <a:cubicBezTo>
                  <a:pt x="317" y="0"/>
                  <a:pt x="260" y="33"/>
                  <a:pt x="226" y="83"/>
                </a:cubicBezTo>
                <a:cubicBezTo>
                  <a:pt x="211" y="74"/>
                  <a:pt x="194" y="69"/>
                  <a:pt x="175" y="69"/>
                </a:cubicBezTo>
                <a:cubicBezTo>
                  <a:pt x="153" y="69"/>
                  <a:pt x="132" y="76"/>
                  <a:pt x="115" y="87"/>
                </a:cubicBezTo>
                <a:cubicBezTo>
                  <a:pt x="87" y="106"/>
                  <a:pt x="68" y="138"/>
                  <a:pt x="67" y="174"/>
                </a:cubicBezTo>
                <a:cubicBezTo>
                  <a:pt x="28" y="200"/>
                  <a:pt x="0" y="246"/>
                  <a:pt x="0" y="297"/>
                </a:cubicBezTo>
                <a:cubicBezTo>
                  <a:pt x="0" y="372"/>
                  <a:pt x="57" y="434"/>
                  <a:pt x="131" y="443"/>
                </a:cubicBezTo>
                <a:cubicBezTo>
                  <a:pt x="136" y="443"/>
                  <a:pt x="142" y="443"/>
                  <a:pt x="147" y="443"/>
                </a:cubicBezTo>
                <a:cubicBezTo>
                  <a:pt x="152" y="443"/>
                  <a:pt x="157" y="443"/>
                  <a:pt x="162" y="443"/>
                </a:cubicBezTo>
                <a:cubicBezTo>
                  <a:pt x="230" y="443"/>
                  <a:pt x="390" y="443"/>
                  <a:pt x="465" y="443"/>
                </a:cubicBezTo>
                <a:cubicBezTo>
                  <a:pt x="468" y="443"/>
                  <a:pt x="470" y="443"/>
                  <a:pt x="471" y="443"/>
                </a:cubicBezTo>
                <a:cubicBezTo>
                  <a:pt x="479" y="443"/>
                  <a:pt x="479" y="443"/>
                  <a:pt x="479" y="443"/>
                </a:cubicBezTo>
                <a:cubicBezTo>
                  <a:pt x="483" y="443"/>
                  <a:pt x="494" y="443"/>
                  <a:pt x="501" y="443"/>
                </a:cubicBezTo>
                <a:cubicBezTo>
                  <a:pt x="550" y="443"/>
                  <a:pt x="550" y="443"/>
                  <a:pt x="550" y="443"/>
                </a:cubicBezTo>
                <a:cubicBezTo>
                  <a:pt x="619" y="442"/>
                  <a:pt x="675" y="386"/>
                  <a:pt x="675" y="318"/>
                </a:cubicBezTo>
                <a:cubicBezTo>
                  <a:pt x="675" y="255"/>
                  <a:pt x="628" y="203"/>
                  <a:pt x="567" y="194"/>
                </a:cubicBezTo>
                <a:close/>
              </a:path>
            </a:pathLst>
          </a:custGeom>
          <a:solidFill>
            <a:srgbClr val="00B050"/>
          </a:solidFill>
          <a:ln>
            <a:noFill/>
          </a:ln>
        </p:spPr>
        <p:txBody>
          <a:bodyPr vert="horz" wrap="square" lIns="91392" tIns="45696" rIns="91392" bIns="45696"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8"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mn-cs"/>
              </a:rPr>
              <a:t>Private Cloud</a:t>
            </a:r>
          </a:p>
        </p:txBody>
      </p:sp>
      <p:sp>
        <p:nvSpPr>
          <p:cNvPr id="40" name="TextBox 39">
            <a:extLst>
              <a:ext uri="{FF2B5EF4-FFF2-40B4-BE49-F238E27FC236}">
                <a16:creationId xmlns:a16="http://schemas.microsoft.com/office/drawing/2014/main" id="{FFA892ED-F5FE-46A0-8A38-C095401E2F57}"/>
              </a:ext>
            </a:extLst>
          </p:cNvPr>
          <p:cNvSpPr txBox="1"/>
          <p:nvPr/>
        </p:nvSpPr>
        <p:spPr>
          <a:xfrm>
            <a:off x="4228816" y="1572511"/>
            <a:ext cx="1007121" cy="720382"/>
          </a:xfrm>
          <a:prstGeom prst="rect">
            <a:avLst/>
          </a:prstGeom>
          <a:noFill/>
        </p:spPr>
        <p:txBody>
          <a:bodyPr vert="horz" wrap="none" lIns="91392" tIns="45696" rIns="91392" bIns="45696" rtlCol="0" anchor="ctr">
            <a:noAutofit/>
          </a:bodyPr>
          <a:lstStyle/>
          <a:p>
            <a:pPr marL="0" marR="0" lvl="0" indent="0" algn="ctr" defTabSz="913852" rtl="0" eaLnBrk="1" fontAlgn="auto" latinLnBrk="0" hangingPunct="1">
              <a:lnSpc>
                <a:spcPct val="95000"/>
              </a:lnSpc>
              <a:spcBef>
                <a:spcPts val="400"/>
              </a:spcBef>
              <a:spcAft>
                <a:spcPts val="200"/>
              </a:spcAft>
              <a:buClrTx/>
              <a:buSzTx/>
              <a:buFontTx/>
              <a:buNone/>
              <a:tabLst/>
              <a:defRPr/>
            </a:pPr>
            <a:r>
              <a:rPr kumimoji="0" lang="en-US" sz="12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erformance</a:t>
            </a:r>
          </a:p>
          <a:p>
            <a:pPr marL="0" marR="0" lvl="0" indent="0" algn="ctr" defTabSz="913852" rtl="0" eaLnBrk="1" fontAlgn="auto" latinLnBrk="0" hangingPunct="1">
              <a:lnSpc>
                <a:spcPct val="95000"/>
              </a:lnSpc>
              <a:spcBef>
                <a:spcPts val="400"/>
              </a:spcBef>
              <a:spcAft>
                <a:spcPts val="200"/>
              </a:spcAft>
              <a:buClrTx/>
              <a:buSzTx/>
              <a:buFontTx/>
              <a:buNone/>
              <a:tabLst/>
              <a:defRPr/>
            </a:pPr>
            <a:r>
              <a:rPr kumimoji="0" lang="en-US" sz="12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Tier</a:t>
            </a:r>
          </a:p>
        </p:txBody>
      </p:sp>
      <p:sp>
        <p:nvSpPr>
          <p:cNvPr id="41" name="TextBox 40">
            <a:extLst>
              <a:ext uri="{FF2B5EF4-FFF2-40B4-BE49-F238E27FC236}">
                <a16:creationId xmlns:a16="http://schemas.microsoft.com/office/drawing/2014/main" id="{24CCE7A9-EB2F-46FC-BAD9-3998798FDE4D}"/>
              </a:ext>
            </a:extLst>
          </p:cNvPr>
          <p:cNvSpPr txBox="1"/>
          <p:nvPr/>
        </p:nvSpPr>
        <p:spPr>
          <a:xfrm>
            <a:off x="4184308" y="3980175"/>
            <a:ext cx="1007700" cy="811863"/>
          </a:xfrm>
          <a:prstGeom prst="rect">
            <a:avLst/>
          </a:prstGeom>
          <a:noFill/>
        </p:spPr>
        <p:txBody>
          <a:bodyPr vert="horz" wrap="none" lIns="91392" tIns="45696" rIns="91392" bIns="45696" rtlCol="0" anchor="ctr">
            <a:noAutofit/>
          </a:bodyPr>
          <a:lstStyle/>
          <a:p>
            <a:pPr marL="0" marR="0" lvl="0" indent="0" algn="ctr" defTabSz="913852" rtl="0" eaLnBrk="1" fontAlgn="auto" latinLnBrk="0" hangingPunct="1">
              <a:lnSpc>
                <a:spcPct val="95000"/>
              </a:lnSpc>
              <a:spcBef>
                <a:spcPts val="400"/>
              </a:spcBef>
              <a:spcAft>
                <a:spcPts val="200"/>
              </a:spcAft>
              <a:buClrTx/>
              <a:buSzTx/>
              <a:buFontTx/>
              <a:buNone/>
              <a:tabLst/>
              <a:defRPr/>
            </a:pPr>
            <a:r>
              <a:rPr kumimoji="0" lang="en-US" sz="12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Cloud</a:t>
            </a:r>
          </a:p>
          <a:p>
            <a:pPr marL="0" marR="0" lvl="0" indent="0" algn="ctr" defTabSz="913852" rtl="0" eaLnBrk="1" fontAlgn="auto" latinLnBrk="0" hangingPunct="1">
              <a:lnSpc>
                <a:spcPct val="95000"/>
              </a:lnSpc>
              <a:spcBef>
                <a:spcPts val="400"/>
              </a:spcBef>
              <a:spcAft>
                <a:spcPts val="200"/>
              </a:spcAft>
              <a:buClrTx/>
              <a:buSzTx/>
              <a:buFontTx/>
              <a:buNone/>
              <a:tabLst/>
              <a:defRPr/>
            </a:pPr>
            <a:r>
              <a:rPr kumimoji="0" lang="en-US" sz="12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Tier</a:t>
            </a:r>
          </a:p>
        </p:txBody>
      </p:sp>
      <p:pic>
        <p:nvPicPr>
          <p:cNvPr id="42" name="Picture 41">
            <a:extLst>
              <a:ext uri="{FF2B5EF4-FFF2-40B4-BE49-F238E27FC236}">
                <a16:creationId xmlns:a16="http://schemas.microsoft.com/office/drawing/2014/main" id="{17D753DC-1993-471C-AD5C-3D03432AAEF0}"/>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56760" y="1262496"/>
            <a:ext cx="1375584" cy="739950"/>
          </a:xfrm>
          <a:prstGeom prst="rect">
            <a:avLst/>
          </a:prstGeom>
        </p:spPr>
      </p:pic>
      <p:pic>
        <p:nvPicPr>
          <p:cNvPr id="16" name="Picture 13" descr="A close up of a sign&#10;&#10;Description generated with high confidence">
            <a:extLst>
              <a:ext uri="{FF2B5EF4-FFF2-40B4-BE49-F238E27FC236}">
                <a16:creationId xmlns:a16="http://schemas.microsoft.com/office/drawing/2014/main" id="{D695D3D7-0847-440A-891C-CCA7229D239F}"/>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723986" y="1115598"/>
            <a:ext cx="1034804" cy="2079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AWS-logo-trans.png">
            <a:extLst>
              <a:ext uri="{FF2B5EF4-FFF2-40B4-BE49-F238E27FC236}">
                <a16:creationId xmlns:a16="http://schemas.microsoft.com/office/drawing/2014/main" id="{138C71A8-9D01-4B81-9B7D-B0484883F6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85289" y="4598978"/>
            <a:ext cx="470646" cy="281681"/>
          </a:xfrm>
          <a:prstGeom prst="rect">
            <a:avLst/>
          </a:prstGeom>
        </p:spPr>
      </p:pic>
      <p:pic>
        <p:nvPicPr>
          <p:cNvPr id="18" name="Picture 17" descr="MS-Azure-2019.png">
            <a:extLst>
              <a:ext uri="{FF2B5EF4-FFF2-40B4-BE49-F238E27FC236}">
                <a16:creationId xmlns:a16="http://schemas.microsoft.com/office/drawing/2014/main" id="{252F8A29-749D-46D6-94A6-3105B321C7C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02935" y="4122889"/>
            <a:ext cx="1319955" cy="309284"/>
          </a:xfrm>
          <a:prstGeom prst="rect">
            <a:avLst/>
          </a:prstGeom>
        </p:spPr>
      </p:pic>
      <p:pic>
        <p:nvPicPr>
          <p:cNvPr id="19" name="Picture 18" descr="google-cloud-logo-vertical.png">
            <a:extLst>
              <a:ext uri="{FF2B5EF4-FFF2-40B4-BE49-F238E27FC236}">
                <a16:creationId xmlns:a16="http://schemas.microsoft.com/office/drawing/2014/main" id="{27269D80-7ECB-4D72-8E6C-B12C75CEF5D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69734" y="4410671"/>
            <a:ext cx="1103258" cy="681641"/>
          </a:xfrm>
          <a:prstGeom prst="rect">
            <a:avLst/>
          </a:prstGeom>
        </p:spPr>
      </p:pic>
      <p:cxnSp>
        <p:nvCxnSpPr>
          <p:cNvPr id="20" name="Straight Connector 19">
            <a:extLst>
              <a:ext uri="{FF2B5EF4-FFF2-40B4-BE49-F238E27FC236}">
                <a16:creationId xmlns:a16="http://schemas.microsoft.com/office/drawing/2014/main" id="{A2928560-1768-49FA-9944-3FE2C1EC1C55}"/>
              </a:ext>
            </a:extLst>
          </p:cNvPr>
          <p:cNvCxnSpPr>
            <a:cxnSpLocks/>
          </p:cNvCxnSpPr>
          <p:nvPr/>
        </p:nvCxnSpPr>
        <p:spPr>
          <a:xfrm flipV="1">
            <a:off x="4005382" y="933227"/>
            <a:ext cx="0" cy="3870792"/>
          </a:xfrm>
          <a:prstGeom prst="line">
            <a:avLst/>
          </a:prstGeom>
          <a:noFill/>
          <a:ln w="12700" cap="flat" cmpd="sng" algn="ctr">
            <a:gradFill>
              <a:gsLst>
                <a:gs pos="0">
                  <a:sysClr val="window" lastClr="FFFFFF">
                    <a:lumMod val="95000"/>
                  </a:sysClr>
                </a:gs>
                <a:gs pos="25000">
                  <a:srgbClr val="9F9F9F"/>
                </a:gs>
                <a:gs pos="75000">
                  <a:sysClr val="window" lastClr="FFFFFF">
                    <a:lumMod val="75000"/>
                  </a:sysClr>
                </a:gs>
                <a:gs pos="50000">
                  <a:sysClr val="windowText" lastClr="000000">
                    <a:lumMod val="73000"/>
                    <a:lumOff val="27000"/>
                  </a:sysClr>
                </a:gs>
                <a:gs pos="100000">
                  <a:sysClr val="window" lastClr="FFFFFF">
                    <a:lumMod val="95000"/>
                  </a:sysClr>
                </a:gs>
              </a:gsLst>
              <a:lin ang="5400000" scaled="1"/>
            </a:gradFill>
            <a:prstDash val="solid"/>
          </a:ln>
          <a:effectLst/>
        </p:spPr>
      </p:cxnSp>
      <p:cxnSp>
        <p:nvCxnSpPr>
          <p:cNvPr id="21" name="Straight Connector 20">
            <a:extLst>
              <a:ext uri="{FF2B5EF4-FFF2-40B4-BE49-F238E27FC236}">
                <a16:creationId xmlns:a16="http://schemas.microsoft.com/office/drawing/2014/main" id="{81D8AA1C-60FD-4F9F-88AA-C6F2BFBA3938}"/>
              </a:ext>
            </a:extLst>
          </p:cNvPr>
          <p:cNvCxnSpPr>
            <a:cxnSpLocks/>
          </p:cNvCxnSpPr>
          <p:nvPr/>
        </p:nvCxnSpPr>
        <p:spPr>
          <a:xfrm flipV="1">
            <a:off x="5355207" y="1250285"/>
            <a:ext cx="0" cy="3870792"/>
          </a:xfrm>
          <a:prstGeom prst="line">
            <a:avLst/>
          </a:prstGeom>
          <a:noFill/>
          <a:ln w="12700" cap="flat" cmpd="sng" algn="ctr">
            <a:gradFill>
              <a:gsLst>
                <a:gs pos="0">
                  <a:sysClr val="window" lastClr="FFFFFF">
                    <a:lumMod val="95000"/>
                  </a:sysClr>
                </a:gs>
                <a:gs pos="25000">
                  <a:srgbClr val="9F9F9F"/>
                </a:gs>
                <a:gs pos="75000">
                  <a:sysClr val="window" lastClr="FFFFFF">
                    <a:lumMod val="75000"/>
                  </a:sysClr>
                </a:gs>
                <a:gs pos="50000">
                  <a:sysClr val="windowText" lastClr="000000">
                    <a:lumMod val="73000"/>
                    <a:lumOff val="27000"/>
                  </a:sysClr>
                </a:gs>
                <a:gs pos="100000">
                  <a:sysClr val="window" lastClr="FFFFFF">
                    <a:lumMod val="95000"/>
                  </a:sysClr>
                </a:gs>
              </a:gsLst>
              <a:lin ang="5400000" scaled="1"/>
            </a:gradFill>
            <a:prstDash val="solid"/>
          </a:ln>
          <a:effectLst/>
        </p:spPr>
      </p:cxnSp>
      <p:pic>
        <p:nvPicPr>
          <p:cNvPr id="28" name="Picture 27">
            <a:extLst>
              <a:ext uri="{FF2B5EF4-FFF2-40B4-BE49-F238E27FC236}">
                <a16:creationId xmlns:a16="http://schemas.microsoft.com/office/drawing/2014/main" id="{FAC136D1-F009-4B73-9C42-81AB8DCEC3CE}"/>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7671715" y="4162769"/>
            <a:ext cx="825952" cy="529986"/>
          </a:xfrm>
          <a:prstGeom prst="rect">
            <a:avLst/>
          </a:prstGeom>
        </p:spPr>
      </p:pic>
      <p:sp>
        <p:nvSpPr>
          <p:cNvPr id="29" name="Left-Up Arrow 17">
            <a:extLst>
              <a:ext uri="{FF2B5EF4-FFF2-40B4-BE49-F238E27FC236}">
                <a16:creationId xmlns:a16="http://schemas.microsoft.com/office/drawing/2014/main" id="{BE027A12-0CAE-417B-B535-0A6F465F1478}"/>
              </a:ext>
            </a:extLst>
          </p:cNvPr>
          <p:cNvSpPr/>
          <p:nvPr/>
        </p:nvSpPr>
        <p:spPr>
          <a:xfrm rot="13584962">
            <a:off x="6628814" y="3200233"/>
            <a:ext cx="1309568" cy="1375952"/>
          </a:xfrm>
          <a:prstGeom prst="leftUpArrow">
            <a:avLst/>
          </a:prstGeom>
          <a:solidFill>
            <a:srgbClr val="0067C5">
              <a:lumMod val="40000"/>
              <a:lumOff val="60000"/>
            </a:srgbClr>
          </a:solidFill>
          <a:ln w="12700" cap="flat" cmpd="sng" algn="ctr">
            <a:noFill/>
            <a:prstDash val="soli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98" b="0" i="0" u="none" strike="noStrike" kern="0" cap="none" spc="0" normalizeH="0" baseline="0" noProof="0">
              <a:ln>
                <a:noFill/>
              </a:ln>
              <a:solidFill>
                <a:prstClr val="white"/>
              </a:solidFill>
              <a:effectLst/>
              <a:uLnTx/>
              <a:uFillTx/>
              <a:latin typeface="Arial"/>
              <a:ea typeface="+mn-ea"/>
              <a:cs typeface="+mn-cs"/>
            </a:endParaRPr>
          </a:p>
        </p:txBody>
      </p:sp>
      <p:sp>
        <p:nvSpPr>
          <p:cNvPr id="23" name="Title 3">
            <a:extLst>
              <a:ext uri="{FF2B5EF4-FFF2-40B4-BE49-F238E27FC236}">
                <a16:creationId xmlns:a16="http://schemas.microsoft.com/office/drawing/2014/main" id="{F5EA43B8-C7D3-754D-B5FD-81E15F9F43C6}"/>
              </a:ext>
            </a:extLst>
          </p:cNvPr>
          <p:cNvSpPr txBox="1">
            <a:spLocks/>
          </p:cNvSpPr>
          <p:nvPr/>
        </p:nvSpPr>
        <p:spPr>
          <a:xfrm>
            <a:off x="259596" y="104939"/>
            <a:ext cx="8534399"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Arial"/>
                <a:ea typeface="+mj-ea"/>
                <a:cs typeface="+mj-cs"/>
              </a:rPr>
              <a:t>FlexPod </a:t>
            </a:r>
            <a:r>
              <a:rPr kumimoji="0" lang="en-US" sz="2800" b="1" i="0" u="none" strike="noStrike" kern="0" cap="none" spc="0" normalizeH="0" baseline="0" noProof="0" dirty="0" err="1">
                <a:ln>
                  <a:noFill/>
                </a:ln>
                <a:solidFill>
                  <a:srgbClr val="000000"/>
                </a:solidFill>
                <a:effectLst/>
                <a:uLnTx/>
                <a:uFillTx/>
                <a:latin typeface="Arial"/>
                <a:ea typeface="+mj-ea"/>
                <a:cs typeface="+mj-cs"/>
              </a:rPr>
              <a:t>FabricPool</a:t>
            </a:r>
            <a:r>
              <a:rPr kumimoji="0" lang="en-US" sz="2800" b="1" i="0" u="none" strike="noStrike" kern="0" cap="none" spc="0" normalizeH="0" baseline="0" noProof="0">
                <a:ln>
                  <a:noFill/>
                </a:ln>
                <a:solidFill>
                  <a:srgbClr val="000000"/>
                </a:solidFill>
                <a:effectLst/>
                <a:uLnTx/>
                <a:uFillTx/>
                <a:latin typeface="Arial"/>
                <a:ea typeface="+mj-ea"/>
                <a:cs typeface="+mj-cs"/>
              </a:rPr>
              <a:t> Lowers TCO</a:t>
            </a:r>
          </a:p>
        </p:txBody>
      </p:sp>
    </p:spTree>
    <p:extLst>
      <p:ext uri="{BB962C8B-B14F-4D97-AF65-F5344CB8AC3E}">
        <p14:creationId xmlns:p14="http://schemas.microsoft.com/office/powerpoint/2010/main" val="3915693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Slide Number Placeholder 1">
            <a:extLst>
              <a:ext uri="{FF2B5EF4-FFF2-40B4-BE49-F238E27FC236}">
                <a16:creationId xmlns:a16="http://schemas.microsoft.com/office/drawing/2014/main" id="{E15BC92E-F84C-4AB9-AA34-BA98B1FE2C64}"/>
              </a:ext>
            </a:extLst>
          </p:cNvPr>
          <p:cNvSpPr txBox="1">
            <a:spLocks/>
          </p:cNvSpPr>
          <p:nvPr/>
        </p:nvSpPr>
        <p:spPr>
          <a:xfrm>
            <a:off x="220867" y="4846931"/>
            <a:ext cx="336491" cy="195607"/>
          </a:xfrm>
          <a:prstGeom prst="rect">
            <a:avLst/>
          </a:prstGeom>
        </p:spPr>
        <p:txBody>
          <a:bodyPr vert="horz" wrap="square" lIns="91521" tIns="45761" rIns="91521" bIns="45761" rtlCol="0" anchor="b">
            <a:noAutofit/>
          </a:bodyPr>
          <a:lstStyle>
            <a:defPPr>
              <a:defRPr lang="en-US"/>
            </a:defPPr>
            <a:lvl1pPr algn="l" rtl="0" eaLnBrk="0" fontAlgn="base" hangingPunct="0">
              <a:spcBef>
                <a:spcPct val="0"/>
              </a:spcBef>
              <a:spcAft>
                <a:spcPct val="0"/>
              </a:spcAft>
              <a:defRPr lang="en-US" sz="788" b="1" kern="1200" smtClean="0">
                <a:solidFill>
                  <a:schemeClr val="bg2">
                    <a:lumMod val="50000"/>
                  </a:schemeClr>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B071A5F3-A4FF-4CEE-8215-C08835B585C1}" type="slidenum">
              <a:rPr kumimoji="0" lang="en-US" sz="788" b="1" i="0" u="none" strike="noStrike" kern="1200" cap="none" spc="0" normalizeH="0" baseline="0" noProof="0" smtClean="0">
                <a:ln>
                  <a:noFill/>
                </a:ln>
                <a:solidFill>
                  <a:srgbClr val="A2A5A2">
                    <a:lumMod val="50000"/>
                  </a:srgbClr>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6</a:t>
            </a:fld>
            <a:endParaRPr kumimoji="0" lang="en-US" sz="788" b="1" i="0" u="none" strike="noStrike" kern="1200" cap="none" spc="0" normalizeH="0" baseline="0" noProof="0">
              <a:ln>
                <a:noFill/>
              </a:ln>
              <a:solidFill>
                <a:srgbClr val="A2A5A2">
                  <a:lumMod val="50000"/>
                </a:srgbClr>
              </a:solidFill>
              <a:effectLst/>
              <a:uLnTx/>
              <a:uFillTx/>
              <a:latin typeface="Arial"/>
              <a:ea typeface="+mn-ea"/>
              <a:cs typeface="+mn-cs"/>
            </a:endParaRPr>
          </a:p>
        </p:txBody>
      </p:sp>
      <p:sp>
        <p:nvSpPr>
          <p:cNvPr id="53" name="Footer Placeholder 5">
            <a:extLst>
              <a:ext uri="{FF2B5EF4-FFF2-40B4-BE49-F238E27FC236}">
                <a16:creationId xmlns:a16="http://schemas.microsoft.com/office/drawing/2014/main" id="{5D154328-F910-4C3C-B702-219DF34BC3B2}"/>
              </a:ext>
            </a:extLst>
          </p:cNvPr>
          <p:cNvSpPr txBox="1">
            <a:spLocks/>
          </p:cNvSpPr>
          <p:nvPr/>
        </p:nvSpPr>
        <p:spPr>
          <a:xfrm>
            <a:off x="557358" y="4854551"/>
            <a:ext cx="4905348" cy="180367"/>
          </a:xfrm>
          <a:prstGeom prst="rect">
            <a:avLst/>
          </a:prstGeom>
        </p:spPr>
        <p:txBody>
          <a:bodyPr vert="horz" wrap="square" lIns="91521" tIns="45761" rIns="91521" bIns="45761" rtlCol="0" anchor="b">
            <a:noAutofit/>
          </a:bodyPr>
          <a:lstStyle>
            <a:defPPr>
              <a:defRPr lang="en-US"/>
            </a:defPPr>
            <a:lvl1pPr algn="l" rtl="0" eaLnBrk="0" fontAlgn="base" hangingPunct="0">
              <a:spcBef>
                <a:spcPct val="0"/>
              </a:spcBef>
              <a:spcAft>
                <a:spcPct val="0"/>
              </a:spcAft>
              <a:defRPr lang="en-US" sz="600" kern="1200" smtClean="0">
                <a:solidFill>
                  <a:schemeClr val="bg2">
                    <a:lumMod val="50000"/>
                  </a:schemeClr>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A2A5A2">
                    <a:lumMod val="50000"/>
                  </a:srgbClr>
                </a:solidFill>
                <a:effectLst/>
                <a:uLnTx/>
                <a:uFillTx/>
                <a:latin typeface="Arial"/>
                <a:ea typeface="+mn-ea"/>
                <a:cs typeface="+mn-cs"/>
              </a:rPr>
              <a:t>© 2018 NetApp, Inc. All rights reserved.</a:t>
            </a:r>
          </a:p>
        </p:txBody>
      </p:sp>
      <p:grpSp>
        <p:nvGrpSpPr>
          <p:cNvPr id="55" name="Group 54">
            <a:extLst>
              <a:ext uri="{FF2B5EF4-FFF2-40B4-BE49-F238E27FC236}">
                <a16:creationId xmlns:a16="http://schemas.microsoft.com/office/drawing/2014/main" id="{4A6FA0AD-8345-42DE-B0BE-6B2694773F36}"/>
              </a:ext>
            </a:extLst>
          </p:cNvPr>
          <p:cNvGrpSpPr/>
          <p:nvPr/>
        </p:nvGrpSpPr>
        <p:grpSpPr>
          <a:xfrm>
            <a:off x="2910709" y="1550412"/>
            <a:ext cx="3055236" cy="2703913"/>
            <a:chOff x="2316394" y="2323298"/>
            <a:chExt cx="4073648" cy="3605215"/>
          </a:xfrm>
        </p:grpSpPr>
        <p:sp>
          <p:nvSpPr>
            <p:cNvPr id="57" name="Oval 56">
              <a:extLst>
                <a:ext uri="{FF2B5EF4-FFF2-40B4-BE49-F238E27FC236}">
                  <a16:creationId xmlns:a16="http://schemas.microsoft.com/office/drawing/2014/main" id="{37632C21-B40D-4110-A71D-3CFD59FCD023}"/>
                </a:ext>
              </a:extLst>
            </p:cNvPr>
            <p:cNvSpPr/>
            <p:nvPr/>
          </p:nvSpPr>
          <p:spPr>
            <a:xfrm>
              <a:off x="3593053" y="3322961"/>
              <a:ext cx="1764255" cy="1764255"/>
            </a:xfrm>
            <a:prstGeom prst="ellipse">
              <a:avLst/>
            </a:prstGeom>
            <a:gradFill flip="none" rotWithShape="1">
              <a:gsLst>
                <a:gs pos="0">
                  <a:srgbClr val="32872D">
                    <a:tint val="66000"/>
                    <a:satMod val="160000"/>
                  </a:srgbClr>
                </a:gs>
                <a:gs pos="50000">
                  <a:srgbClr val="32872D">
                    <a:tint val="44500"/>
                    <a:satMod val="160000"/>
                  </a:srgbClr>
                </a:gs>
                <a:gs pos="100000">
                  <a:srgbClr val="32872D">
                    <a:tint val="23500"/>
                    <a:satMod val="160000"/>
                  </a:srgbClr>
                </a:gs>
              </a:gsLst>
              <a:path path="circle">
                <a:fillToRect l="50000" t="50000" r="50000" b="50000"/>
              </a:path>
              <a:tileRect/>
            </a:gra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8" name="Oval 57">
              <a:extLst>
                <a:ext uri="{FF2B5EF4-FFF2-40B4-BE49-F238E27FC236}">
                  <a16:creationId xmlns:a16="http://schemas.microsoft.com/office/drawing/2014/main" id="{E4085CA6-8FD8-40B4-BD61-541782F04956}"/>
                </a:ext>
              </a:extLst>
            </p:cNvPr>
            <p:cNvSpPr/>
            <p:nvPr/>
          </p:nvSpPr>
          <p:spPr>
            <a:xfrm>
              <a:off x="2560320" y="2556219"/>
              <a:ext cx="3829722" cy="3372294"/>
            </a:xfrm>
            <a:prstGeom prst="ellipse">
              <a:avLst/>
            </a:prstGeom>
            <a:noFill/>
            <a:ln w="28575" cap="flat" cmpd="sng" algn="ctr">
              <a:solidFill>
                <a:srgbClr val="A2A5A2"/>
              </a:solidFill>
              <a:prstDash val="lg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pic>
          <p:nvPicPr>
            <p:cNvPr id="60" name="image134.png" descr="SnapLock-Right.png">
              <a:extLst>
                <a:ext uri="{FF2B5EF4-FFF2-40B4-BE49-F238E27FC236}">
                  <a16:creationId xmlns:a16="http://schemas.microsoft.com/office/drawing/2014/main" id="{EBDC2A68-7B93-4E6E-A8B3-CCFD78909791}"/>
                </a:ext>
              </a:extLst>
            </p:cNvPr>
            <p:cNvPicPr/>
            <p:nvPr/>
          </p:nvPicPr>
          <p:blipFill>
            <a:blip r:embed="rId3" cstate="print"/>
            <a:stretch>
              <a:fillRect/>
            </a:stretch>
          </p:blipFill>
          <p:spPr>
            <a:xfrm>
              <a:off x="2316394" y="3160513"/>
              <a:ext cx="914407" cy="515632"/>
            </a:xfrm>
            <a:prstGeom prst="rect">
              <a:avLst/>
            </a:prstGeom>
            <a:ln w="12700">
              <a:miter lim="400000"/>
            </a:ln>
          </p:spPr>
        </p:pic>
        <p:pic>
          <p:nvPicPr>
            <p:cNvPr id="61" name="image126.png" descr="SnapVault-Right.png">
              <a:extLst>
                <a:ext uri="{FF2B5EF4-FFF2-40B4-BE49-F238E27FC236}">
                  <a16:creationId xmlns:a16="http://schemas.microsoft.com/office/drawing/2014/main" id="{552780F9-41C7-43D1-8F86-8037AA6A63A2}"/>
                </a:ext>
              </a:extLst>
            </p:cNvPr>
            <p:cNvPicPr/>
            <p:nvPr/>
          </p:nvPicPr>
          <p:blipFill>
            <a:blip r:embed="rId4" cstate="print"/>
            <a:stretch>
              <a:fillRect/>
            </a:stretch>
          </p:blipFill>
          <p:spPr>
            <a:xfrm>
              <a:off x="4216990" y="2323298"/>
              <a:ext cx="914407" cy="515632"/>
            </a:xfrm>
            <a:prstGeom prst="rect">
              <a:avLst/>
            </a:prstGeom>
            <a:ln w="12700">
              <a:miter lim="400000"/>
            </a:ln>
          </p:spPr>
        </p:pic>
        <p:pic>
          <p:nvPicPr>
            <p:cNvPr id="62" name="image120.png" descr="Folder-Protected.png">
              <a:extLst>
                <a:ext uri="{FF2B5EF4-FFF2-40B4-BE49-F238E27FC236}">
                  <a16:creationId xmlns:a16="http://schemas.microsoft.com/office/drawing/2014/main" id="{29F941F7-04F0-48E8-81ED-E301E70421A4}"/>
                </a:ext>
              </a:extLst>
            </p:cNvPr>
            <p:cNvPicPr/>
            <p:nvPr/>
          </p:nvPicPr>
          <p:blipFill>
            <a:blip r:embed="rId5" cstate="print"/>
            <a:stretch>
              <a:fillRect/>
            </a:stretch>
          </p:blipFill>
          <p:spPr>
            <a:xfrm>
              <a:off x="5324829" y="5410113"/>
              <a:ext cx="685808" cy="485878"/>
            </a:xfrm>
            <a:prstGeom prst="rect">
              <a:avLst/>
            </a:prstGeom>
            <a:ln w="12700">
              <a:miter lim="400000"/>
            </a:ln>
          </p:spPr>
        </p:pic>
        <p:pic>
          <p:nvPicPr>
            <p:cNvPr id="63" name="image136.png" descr="SnapShot-Copy-Right.png">
              <a:extLst>
                <a:ext uri="{FF2B5EF4-FFF2-40B4-BE49-F238E27FC236}">
                  <a16:creationId xmlns:a16="http://schemas.microsoft.com/office/drawing/2014/main" id="{7C5B7184-8770-4752-B732-8C887C69321B}"/>
                </a:ext>
              </a:extLst>
            </p:cNvPr>
            <p:cNvPicPr/>
            <p:nvPr/>
          </p:nvPicPr>
          <p:blipFill>
            <a:blip r:embed="rId6" cstate="print"/>
            <a:stretch>
              <a:fillRect/>
            </a:stretch>
          </p:blipFill>
          <p:spPr>
            <a:xfrm>
              <a:off x="4148532" y="3890453"/>
              <a:ext cx="685807" cy="629272"/>
            </a:xfrm>
            <a:prstGeom prst="rect">
              <a:avLst/>
            </a:prstGeom>
            <a:ln w="12700">
              <a:miter lim="400000"/>
            </a:ln>
          </p:spPr>
        </p:pic>
      </p:grpSp>
      <p:sp>
        <p:nvSpPr>
          <p:cNvPr id="64" name="Callout: Bent Line with Accent Bar 21">
            <a:extLst>
              <a:ext uri="{FF2B5EF4-FFF2-40B4-BE49-F238E27FC236}">
                <a16:creationId xmlns:a16="http://schemas.microsoft.com/office/drawing/2014/main" id="{F6A08152-613B-4FDC-82E1-582BCCED614E}"/>
              </a:ext>
            </a:extLst>
          </p:cNvPr>
          <p:cNvSpPr/>
          <p:nvPr/>
        </p:nvSpPr>
        <p:spPr>
          <a:xfrm>
            <a:off x="6176141" y="1136428"/>
            <a:ext cx="2220824" cy="638449"/>
          </a:xfrm>
          <a:prstGeom prst="accentCallout2">
            <a:avLst>
              <a:gd name="adj1" fmla="val 18750"/>
              <a:gd name="adj2" fmla="val -8333"/>
              <a:gd name="adj3" fmla="val 18750"/>
              <a:gd name="adj4" fmla="val -16667"/>
              <a:gd name="adj5" fmla="val 70451"/>
              <a:gd name="adj6" fmla="val -51516"/>
            </a:avLst>
          </a:prstGeom>
          <a:noFill/>
          <a:ln w="12700" cap="flat" cmpd="sng" algn="ctr">
            <a:solidFill>
              <a:srgbClr val="A2A5A2"/>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5000"/>
              </a:lnSpc>
              <a:spcBef>
                <a:spcPts val="0"/>
              </a:spcBef>
              <a:spcAft>
                <a:spcPts val="0"/>
              </a:spcAft>
              <a:buClrTx/>
              <a:buSzTx/>
              <a:buFontTx/>
              <a:buNone/>
              <a:tabLst/>
              <a:defRPr/>
            </a:pPr>
            <a:r>
              <a:rPr kumimoji="0" lang="en-US" sz="1350" b="1" i="0" u="none" strike="noStrike" kern="0" cap="none" spc="0" normalizeH="0" baseline="0" noProof="0">
                <a:ln>
                  <a:noFill/>
                </a:ln>
                <a:solidFill>
                  <a:prstClr val="black"/>
                </a:solidFill>
                <a:effectLst/>
                <a:uLnTx/>
                <a:uFillTx/>
                <a:latin typeface="Arial"/>
                <a:ea typeface="+mn-ea"/>
                <a:cs typeface="+mn-cs"/>
              </a:rPr>
              <a:t>Ransomware recovery. </a:t>
            </a:r>
          </a:p>
          <a:p>
            <a:pPr marL="0" marR="0" lvl="0" indent="0" algn="l" defTabSz="685800" rtl="0" eaLnBrk="1" fontAlgn="auto" latinLnBrk="0" hangingPunct="1">
              <a:lnSpc>
                <a:spcPct val="95000"/>
              </a:lnSpc>
              <a:spcBef>
                <a:spcPts val="0"/>
              </a:spcBef>
              <a:spcAft>
                <a:spcPts val="0"/>
              </a:spcAft>
              <a:buClrTx/>
              <a:buSzTx/>
              <a:buFontTx/>
              <a:buNone/>
              <a:tabLst/>
              <a:defRPr/>
            </a:pPr>
            <a:r>
              <a:rPr kumimoji="0" lang="en-US" sz="1350" b="0" i="0" u="none" strike="noStrike" kern="0" cap="none" spc="0" normalizeH="0" baseline="0" noProof="0">
                <a:ln>
                  <a:noFill/>
                </a:ln>
                <a:solidFill>
                  <a:prstClr val="black"/>
                </a:solidFill>
                <a:effectLst/>
                <a:uLnTx/>
                <a:uFillTx/>
                <a:latin typeface="Arial"/>
                <a:ea typeface="+mn-ea"/>
                <a:cs typeface="+mn-cs"/>
              </a:rPr>
              <a:t>Quickly restore after attack with NetApp Snapshot™</a:t>
            </a:r>
          </a:p>
        </p:txBody>
      </p:sp>
      <p:sp>
        <p:nvSpPr>
          <p:cNvPr id="65" name="Callout: Bent Line with Accent Bar 22">
            <a:extLst>
              <a:ext uri="{FF2B5EF4-FFF2-40B4-BE49-F238E27FC236}">
                <a16:creationId xmlns:a16="http://schemas.microsoft.com/office/drawing/2014/main" id="{2FD3F545-04F5-401B-9707-5465B786D379}"/>
              </a:ext>
            </a:extLst>
          </p:cNvPr>
          <p:cNvSpPr/>
          <p:nvPr/>
        </p:nvSpPr>
        <p:spPr>
          <a:xfrm>
            <a:off x="6857775" y="3889508"/>
            <a:ext cx="1944445" cy="749371"/>
          </a:xfrm>
          <a:prstGeom prst="accentCallout2">
            <a:avLst>
              <a:gd name="adj1" fmla="val 18750"/>
              <a:gd name="adj2" fmla="val -8333"/>
              <a:gd name="adj3" fmla="val 18750"/>
              <a:gd name="adj4" fmla="val -16667"/>
              <a:gd name="adj5" fmla="val 23181"/>
              <a:gd name="adj6" fmla="val -57447"/>
            </a:avLst>
          </a:prstGeom>
          <a:noFill/>
          <a:ln w="12700" cap="flat" cmpd="sng" algn="ctr">
            <a:solidFill>
              <a:srgbClr val="A2A5A2"/>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350" b="1" i="0" u="none" strike="noStrike" kern="0" cap="none" spc="0" normalizeH="0" baseline="0" noProof="0">
                <a:ln>
                  <a:noFill/>
                </a:ln>
                <a:solidFill>
                  <a:prstClr val="black"/>
                </a:solidFill>
                <a:effectLst/>
                <a:uLnTx/>
                <a:uFillTx/>
                <a:latin typeface="Arial"/>
                <a:ea typeface="+mn-ea"/>
                <a:cs typeface="+mn-cs"/>
              </a:rPr>
              <a:t>Encryption.</a:t>
            </a:r>
            <a:br>
              <a:rPr kumimoji="0" lang="en-US" sz="1350" b="1" i="0" u="none" strike="noStrike" kern="0" cap="none" spc="0" normalizeH="0" baseline="0" noProof="0">
                <a:ln>
                  <a:noFill/>
                </a:ln>
                <a:solidFill>
                  <a:prstClr val="black"/>
                </a:solidFill>
                <a:effectLst/>
                <a:uLnTx/>
                <a:uFillTx/>
                <a:latin typeface="Arial"/>
                <a:ea typeface="+mn-ea"/>
                <a:cs typeface="+mn-cs"/>
              </a:rPr>
            </a:br>
            <a:r>
              <a:rPr kumimoji="0" lang="en-US" sz="1350" b="0" i="0" u="none" strike="noStrike" kern="0" cap="none" spc="0" normalizeH="0" baseline="0" noProof="0">
                <a:ln>
                  <a:noFill/>
                </a:ln>
                <a:solidFill>
                  <a:prstClr val="black"/>
                </a:solidFill>
                <a:effectLst/>
                <a:uLnTx/>
                <a:uFillTx/>
                <a:latin typeface="Arial"/>
                <a:ea typeface="+mn-ea"/>
                <a:cs typeface="+mn-cs"/>
              </a:rPr>
              <a:t>On disk, data is secured and can be purged</a:t>
            </a:r>
          </a:p>
        </p:txBody>
      </p:sp>
      <p:sp>
        <p:nvSpPr>
          <p:cNvPr id="67" name="Callout: Bent Line with Accent Bar 25">
            <a:extLst>
              <a:ext uri="{FF2B5EF4-FFF2-40B4-BE49-F238E27FC236}">
                <a16:creationId xmlns:a16="http://schemas.microsoft.com/office/drawing/2014/main" id="{4FE2CE1D-CE7A-46DC-9F99-013814813782}"/>
              </a:ext>
            </a:extLst>
          </p:cNvPr>
          <p:cNvSpPr/>
          <p:nvPr/>
        </p:nvSpPr>
        <p:spPr>
          <a:xfrm flipH="1">
            <a:off x="514792" y="1424713"/>
            <a:ext cx="1687033" cy="1099424"/>
          </a:xfrm>
          <a:prstGeom prst="accentCallout2">
            <a:avLst>
              <a:gd name="adj1" fmla="val 18750"/>
              <a:gd name="adj2" fmla="val -8333"/>
              <a:gd name="adj3" fmla="val 18750"/>
              <a:gd name="adj4" fmla="val -16667"/>
              <a:gd name="adj5" fmla="val 65001"/>
              <a:gd name="adj6" fmla="val -46229"/>
            </a:avLst>
          </a:prstGeom>
          <a:noFill/>
          <a:ln w="12700" cap="flat" cmpd="sng" algn="ctr">
            <a:solidFill>
              <a:srgbClr val="A2A5A2"/>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350" b="1" i="0" u="none" strike="noStrike" kern="0" cap="none" spc="0" normalizeH="0" baseline="0" noProof="0">
                <a:ln>
                  <a:noFill/>
                </a:ln>
                <a:solidFill>
                  <a:prstClr val="black"/>
                </a:solidFill>
                <a:effectLst/>
                <a:uLnTx/>
                <a:uFillTx/>
                <a:latin typeface="Arial"/>
                <a:ea typeface="+mn-ea"/>
                <a:cs typeface="+mn-cs"/>
              </a:rPr>
              <a:t>Policy-driven data retention. </a:t>
            </a:r>
            <a:r>
              <a:rPr kumimoji="0" lang="en-US" sz="1350" b="0" i="0" u="none" strike="noStrike" kern="0" cap="none" spc="0" normalizeH="0" baseline="0" noProof="0">
                <a:ln>
                  <a:noFill/>
                </a:ln>
                <a:solidFill>
                  <a:prstClr val="black"/>
                </a:solidFill>
                <a:effectLst/>
                <a:uLnTx/>
                <a:uFillTx/>
                <a:latin typeface="Arial"/>
                <a:ea typeface="+mn-ea"/>
                <a:cs typeface="+mn-cs"/>
              </a:rPr>
              <a:t>Automatically enforce data retention with NetApp SnapLock</a:t>
            </a:r>
            <a:r>
              <a:rPr kumimoji="0" lang="en-US" sz="1350" b="0" i="0" u="none" strike="noStrike" kern="0" cap="none" spc="0" normalizeH="0" baseline="30000" noProof="0">
                <a:ln>
                  <a:noFill/>
                </a:ln>
                <a:solidFill>
                  <a:prstClr val="black"/>
                </a:solidFill>
                <a:effectLst/>
                <a:uLnTx/>
                <a:uFillTx/>
                <a:latin typeface="Arial"/>
                <a:ea typeface="+mn-ea"/>
                <a:cs typeface="+mn-cs"/>
              </a:rPr>
              <a:t>®</a:t>
            </a: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sp>
        <p:nvSpPr>
          <p:cNvPr id="68" name="TextBox 67">
            <a:extLst>
              <a:ext uri="{FF2B5EF4-FFF2-40B4-BE49-F238E27FC236}">
                <a16:creationId xmlns:a16="http://schemas.microsoft.com/office/drawing/2014/main" id="{B6FD9DED-CB49-49AB-929A-086394B14115}"/>
              </a:ext>
            </a:extLst>
          </p:cNvPr>
          <p:cNvSpPr txBox="1"/>
          <p:nvPr/>
        </p:nvSpPr>
        <p:spPr>
          <a:xfrm>
            <a:off x="4063467" y="3283772"/>
            <a:ext cx="984325" cy="258184"/>
          </a:xfrm>
          <a:prstGeom prst="rect">
            <a:avLst/>
          </a:prstGeom>
        </p:spPr>
        <p:txBody>
          <a:bodyPr vert="horz" wrap="square" lIns="68580" tIns="34290" rIns="68580" bIns="34290" rtlCol="0" anchor="t">
            <a:noAutofit/>
          </a:bodyPr>
          <a:lstStyle/>
          <a:p>
            <a:pPr marL="0" marR="0" lvl="0" indent="0" algn="ctr" defTabSz="685800" rtl="0" eaLnBrk="1" fontAlgn="auto" latinLnBrk="0" hangingPunct="1">
              <a:lnSpc>
                <a:spcPct val="95000"/>
              </a:lnSpc>
              <a:spcBef>
                <a:spcPts val="300"/>
              </a:spcBef>
              <a:spcAft>
                <a:spcPts val="150"/>
              </a:spcAft>
              <a:buClr>
                <a:srgbClr val="0067C5"/>
              </a:buClr>
              <a:buSzTx/>
              <a:buFontTx/>
              <a:buNone/>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Data</a:t>
            </a:r>
          </a:p>
        </p:txBody>
      </p:sp>
      <p:pic>
        <p:nvPicPr>
          <p:cNvPr id="70" name="image147.png" descr="Encrypted.png">
            <a:extLst>
              <a:ext uri="{FF2B5EF4-FFF2-40B4-BE49-F238E27FC236}">
                <a16:creationId xmlns:a16="http://schemas.microsoft.com/office/drawing/2014/main" id="{609F6601-65BC-4CD8-8816-E1237B9AFD83}"/>
              </a:ext>
            </a:extLst>
          </p:cNvPr>
          <p:cNvPicPr/>
          <p:nvPr/>
        </p:nvPicPr>
        <p:blipFill>
          <a:blip r:embed="rId7" cstate="print">
            <a:duotone>
              <a:srgbClr val="0067C5">
                <a:shade val="45000"/>
                <a:satMod val="135000"/>
              </a:srgbClr>
              <a:prstClr val="white"/>
            </a:duotone>
          </a:blip>
          <a:stretch>
            <a:fillRect/>
          </a:stretch>
        </p:blipFill>
        <p:spPr>
          <a:xfrm>
            <a:off x="3303965" y="3688327"/>
            <a:ext cx="411392" cy="411392"/>
          </a:xfrm>
          <a:prstGeom prst="rect">
            <a:avLst/>
          </a:prstGeom>
          <a:ln w="12700">
            <a:miter lim="400000"/>
          </a:ln>
        </p:spPr>
      </p:pic>
      <p:sp>
        <p:nvSpPr>
          <p:cNvPr id="71" name="&quot;Not Allowed&quot; Symbol 31">
            <a:extLst>
              <a:ext uri="{FF2B5EF4-FFF2-40B4-BE49-F238E27FC236}">
                <a16:creationId xmlns:a16="http://schemas.microsoft.com/office/drawing/2014/main" id="{7CA39BD7-874F-4E9B-BB65-EE9CC280215F}"/>
              </a:ext>
            </a:extLst>
          </p:cNvPr>
          <p:cNvSpPr/>
          <p:nvPr/>
        </p:nvSpPr>
        <p:spPr>
          <a:xfrm>
            <a:off x="3306306" y="3688327"/>
            <a:ext cx="359403" cy="359403"/>
          </a:xfrm>
          <a:prstGeom prst="noSmoking">
            <a:avLst/>
          </a:prstGeom>
          <a:solidFill>
            <a:srgbClr val="26A9E0"/>
          </a:solidFill>
          <a:ln w="19050" cap="flat" cmpd="sng" algn="ctr">
            <a:solidFill>
              <a:sysClr val="windowText" lastClr="00000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sp>
        <p:nvSpPr>
          <p:cNvPr id="72" name="Callout: Bent Line with Accent Bar 32">
            <a:extLst>
              <a:ext uri="{FF2B5EF4-FFF2-40B4-BE49-F238E27FC236}">
                <a16:creationId xmlns:a16="http://schemas.microsoft.com/office/drawing/2014/main" id="{AC950242-3EFF-4875-AF82-6B1BAA56E940}"/>
              </a:ext>
            </a:extLst>
          </p:cNvPr>
          <p:cNvSpPr/>
          <p:nvPr/>
        </p:nvSpPr>
        <p:spPr>
          <a:xfrm flipH="1">
            <a:off x="-31018" y="3762069"/>
            <a:ext cx="2305840" cy="786653"/>
          </a:xfrm>
          <a:prstGeom prst="accentCallout2">
            <a:avLst>
              <a:gd name="adj1" fmla="val 18750"/>
              <a:gd name="adj2" fmla="val -8333"/>
              <a:gd name="adj3" fmla="val 18750"/>
              <a:gd name="adj4" fmla="val -16667"/>
              <a:gd name="adj5" fmla="val 19872"/>
              <a:gd name="adj6" fmla="val -50442"/>
            </a:avLst>
          </a:prstGeom>
          <a:noFill/>
          <a:ln w="12700" cap="flat" cmpd="sng" algn="ctr">
            <a:solidFill>
              <a:srgbClr val="A2A5A2"/>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350" b="1" i="0" u="none" strike="noStrike" kern="0" cap="none" spc="0" normalizeH="0" baseline="0" noProof="0">
                <a:ln>
                  <a:noFill/>
                </a:ln>
                <a:solidFill>
                  <a:prstClr val="black"/>
                </a:solidFill>
                <a:effectLst/>
                <a:uLnTx/>
                <a:uFillTx/>
                <a:latin typeface="Arial"/>
                <a:ea typeface="+mn-ea"/>
                <a:cs typeface="+mn-cs"/>
              </a:rPr>
              <a:t>Malware prevention. </a:t>
            </a:r>
            <a:r>
              <a:rPr kumimoji="0" lang="en-US" sz="1350" b="0" i="0" u="none" strike="noStrike" kern="0" cap="none" spc="0" normalizeH="0" baseline="0" noProof="0">
                <a:ln>
                  <a:noFill/>
                </a:ln>
                <a:solidFill>
                  <a:prstClr val="black"/>
                </a:solidFill>
                <a:effectLst/>
                <a:uLnTx/>
                <a:uFillTx/>
                <a:latin typeface="Arial"/>
                <a:ea typeface="+mn-ea"/>
                <a:cs typeface="+mn-cs"/>
              </a:rPr>
              <a:t>Antivirus and third-party integration through NetApp FPolicy</a:t>
            </a:r>
            <a:r>
              <a:rPr kumimoji="0" lang="en-US" sz="1350" b="0" i="0" u="none" strike="noStrike" kern="0" cap="none" spc="0" normalizeH="0" baseline="30000" noProof="0">
                <a:ln>
                  <a:noFill/>
                </a:ln>
                <a:solidFill>
                  <a:prstClr val="black"/>
                </a:solidFill>
                <a:effectLst/>
                <a:uLnTx/>
                <a:uFillTx/>
                <a:latin typeface="Arial"/>
                <a:ea typeface="+mn-ea"/>
                <a:cs typeface="+mn-cs"/>
              </a:rPr>
              <a:t>™</a:t>
            </a: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pic>
        <p:nvPicPr>
          <p:cNvPr id="73" name="Picture 72">
            <a:extLst>
              <a:ext uri="{FF2B5EF4-FFF2-40B4-BE49-F238E27FC236}">
                <a16:creationId xmlns:a16="http://schemas.microsoft.com/office/drawing/2014/main" id="{15228D0C-C307-4339-B9DA-DCC5EAB6ED8E}"/>
              </a:ext>
            </a:extLst>
          </p:cNvPr>
          <p:cNvPicPr>
            <a:picLocks noChangeAspect="1"/>
          </p:cNvPicPr>
          <p:nvPr/>
        </p:nvPicPr>
        <p:blipFill>
          <a:blip r:embed="rId8"/>
          <a:stretch>
            <a:fillRect/>
          </a:stretch>
        </p:blipFill>
        <p:spPr>
          <a:xfrm>
            <a:off x="5493572" y="2626185"/>
            <a:ext cx="859838" cy="390836"/>
          </a:xfrm>
          <a:prstGeom prst="rect">
            <a:avLst/>
          </a:prstGeom>
        </p:spPr>
      </p:pic>
      <p:sp>
        <p:nvSpPr>
          <p:cNvPr id="74" name="Callout: Bent Line with Accent Bar 21">
            <a:extLst>
              <a:ext uri="{FF2B5EF4-FFF2-40B4-BE49-F238E27FC236}">
                <a16:creationId xmlns:a16="http://schemas.microsoft.com/office/drawing/2014/main" id="{B67E784B-81E0-4A8A-8326-8C0874B92B02}"/>
              </a:ext>
            </a:extLst>
          </p:cNvPr>
          <p:cNvSpPr/>
          <p:nvPr/>
        </p:nvSpPr>
        <p:spPr>
          <a:xfrm>
            <a:off x="6953928" y="2143677"/>
            <a:ext cx="1944445" cy="690011"/>
          </a:xfrm>
          <a:prstGeom prst="accentCallout2">
            <a:avLst>
              <a:gd name="adj1" fmla="val 18750"/>
              <a:gd name="adj2" fmla="val -8333"/>
              <a:gd name="adj3" fmla="val 18750"/>
              <a:gd name="adj4" fmla="val -16667"/>
              <a:gd name="adj5" fmla="val 41532"/>
              <a:gd name="adj6" fmla="val -29346"/>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5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Arial"/>
                <a:ea typeface="+mn-ea"/>
                <a:cs typeface="+mn-cs"/>
              </a:rPr>
              <a:t>Data Recovery. </a:t>
            </a:r>
          </a:p>
          <a:p>
            <a:pPr marL="0" marR="0" lvl="0" indent="0" algn="l" defTabSz="685800" rtl="0" eaLnBrk="1" fontAlgn="auto" latinLnBrk="0" hangingPunct="1">
              <a:lnSpc>
                <a:spcPct val="95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Arial"/>
                <a:ea typeface="+mn-ea"/>
                <a:cs typeface="+mn-cs"/>
              </a:rPr>
              <a:t>Near instant remediation  with NetApp </a:t>
            </a:r>
            <a:r>
              <a:rPr kumimoji="0" lang="en-US" sz="1350" b="0" i="0" u="none" strike="noStrike" kern="1200" cap="none" spc="0" normalizeH="0" baseline="0" noProof="0" err="1">
                <a:ln>
                  <a:noFill/>
                </a:ln>
                <a:solidFill>
                  <a:prstClr val="black"/>
                </a:solidFill>
                <a:effectLst/>
                <a:uLnTx/>
                <a:uFillTx/>
                <a:latin typeface="Arial"/>
                <a:ea typeface="+mn-ea"/>
                <a:cs typeface="+mn-cs"/>
              </a:rPr>
              <a:t>SnapRestore</a:t>
            </a:r>
            <a:r>
              <a:rPr kumimoji="0" lang="en-US" sz="1350" b="0" i="0" u="none" strike="noStrike" kern="1200" cap="none" spc="0" normalizeH="0" baseline="30000" noProof="0">
                <a:ln>
                  <a:noFill/>
                </a:ln>
                <a:solidFill>
                  <a:prstClr val="black"/>
                </a:solidFill>
                <a:effectLst/>
                <a:uLnTx/>
                <a:uFillTx/>
                <a:latin typeface="Arial"/>
                <a:ea typeface="+mn-ea"/>
                <a:cs typeface="+mn-cs"/>
              </a:rPr>
              <a:t> ®</a:t>
            </a: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22" name="Title 3">
            <a:extLst>
              <a:ext uri="{FF2B5EF4-FFF2-40B4-BE49-F238E27FC236}">
                <a16:creationId xmlns:a16="http://schemas.microsoft.com/office/drawing/2014/main" id="{54D1F8BC-921F-9E4C-8ACE-36224B98E496}"/>
              </a:ext>
            </a:extLst>
          </p:cNvPr>
          <p:cNvSpPr txBox="1">
            <a:spLocks/>
          </p:cNvSpPr>
          <p:nvPr/>
        </p:nvSpPr>
        <p:spPr>
          <a:xfrm>
            <a:off x="228600" y="368893"/>
            <a:ext cx="8915400"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300" b="1" i="0" u="none" strike="noStrike" kern="0" cap="none" spc="0" normalizeH="0" baseline="0" noProof="0" dirty="0">
                <a:ln>
                  <a:noFill/>
                </a:ln>
                <a:solidFill>
                  <a:srgbClr val="000000"/>
                </a:solidFill>
                <a:effectLst/>
                <a:uLnTx/>
                <a:uFillTx/>
                <a:latin typeface="Arial"/>
                <a:ea typeface="+mj-ea"/>
                <a:cs typeface="+mj-cs"/>
              </a:rPr>
              <a:t>FlexPod Ransomware: Prevention and Mitigation</a:t>
            </a:r>
          </a:p>
        </p:txBody>
      </p:sp>
      <p:sp>
        <p:nvSpPr>
          <p:cNvPr id="25" name="Text Placeholder 6">
            <a:extLst>
              <a:ext uri="{FF2B5EF4-FFF2-40B4-BE49-F238E27FC236}">
                <a16:creationId xmlns:a16="http://schemas.microsoft.com/office/drawing/2014/main" id="{17885946-5FC4-D240-A3A1-611B7E0969CF}"/>
              </a:ext>
            </a:extLst>
          </p:cNvPr>
          <p:cNvSpPr txBox="1">
            <a:spLocks/>
          </p:cNvSpPr>
          <p:nvPr/>
        </p:nvSpPr>
        <p:spPr>
          <a:xfrm>
            <a:off x="228600" y="733491"/>
            <a:ext cx="8542991" cy="300082"/>
          </a:xfrm>
          <a:prstGeom prst="rect">
            <a:avLst/>
          </a:prstGeom>
        </p:spPr>
        <p:txBody>
          <a:bodyPr/>
          <a:lstStyle>
            <a:lvl1pPr marL="206957" indent="-206957"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36" indent="-245048" algn="l" rtl="0" eaLnBrk="0" fontAlgn="base" hangingPunct="0">
              <a:spcBef>
                <a:spcPts val="624"/>
              </a:spcBef>
              <a:spcAft>
                <a:spcPct val="0"/>
              </a:spcAft>
              <a:buClrTx/>
              <a:buFont typeface="Arial"/>
              <a:buChar char="•"/>
              <a:defRPr sz="1600">
                <a:solidFill>
                  <a:srgbClr val="000000"/>
                </a:solidFill>
                <a:latin typeface="+mn-lt"/>
              </a:defRPr>
            </a:lvl2pPr>
            <a:lvl3pPr marL="835499" indent="-197436" algn="l" rtl="0" eaLnBrk="0" fontAlgn="base" hangingPunct="0">
              <a:spcBef>
                <a:spcPts val="576"/>
              </a:spcBef>
              <a:spcAft>
                <a:spcPct val="0"/>
              </a:spcAft>
              <a:buClrTx/>
              <a:buFont typeface="Arial"/>
              <a:buChar char="•"/>
              <a:defRPr sz="1600">
                <a:solidFill>
                  <a:srgbClr val="000000"/>
                </a:solidFill>
                <a:latin typeface="+mn-lt"/>
              </a:defRPr>
            </a:lvl3pPr>
            <a:lvl4pPr marL="1145006" indent="-216482" algn="l" rtl="0" eaLnBrk="0" fontAlgn="base" hangingPunct="0">
              <a:spcBef>
                <a:spcPts val="480"/>
              </a:spcBef>
              <a:spcAft>
                <a:spcPct val="0"/>
              </a:spcAft>
              <a:buClrTx/>
              <a:buFont typeface="Arial"/>
              <a:buChar char="•"/>
              <a:defRPr sz="1600">
                <a:solidFill>
                  <a:srgbClr val="000000"/>
                </a:solidFill>
                <a:latin typeface="+mn-lt"/>
              </a:defRPr>
            </a:lvl4pPr>
            <a:lvl5pPr marL="1413248" indent="-175217" algn="l" rtl="0" eaLnBrk="0" fontAlgn="base" hangingPunct="0">
              <a:spcBef>
                <a:spcPts val="48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0"/>
              </a:spcAft>
              <a:buClrTx/>
              <a:buSzTx/>
              <a:buFont typeface="Arial"/>
              <a:buNone/>
              <a:tabLst/>
              <a:defRPr/>
            </a:pPr>
            <a:r>
              <a:rPr kumimoji="0" lang="en-US" sz="1800" b="0" i="0" u="none" strike="noStrike" kern="1200" cap="none" spc="0" normalizeH="0" baseline="0" noProof="0" dirty="0">
                <a:ln>
                  <a:noFill/>
                </a:ln>
                <a:solidFill>
                  <a:srgbClr val="95918F"/>
                </a:solidFill>
                <a:effectLst/>
                <a:uLnTx/>
                <a:uFillTx/>
                <a:latin typeface="Arial"/>
                <a:ea typeface="+mn-ea"/>
                <a:cs typeface="+mn-cs"/>
              </a:rPr>
              <a:t>Pre-emptive Hardening, Recovery and Remediation</a:t>
            </a:r>
          </a:p>
          <a:p>
            <a:pPr marL="0" marR="0" lvl="0" indent="0" algn="l" defTabSz="914400" rtl="0" eaLnBrk="0" fontAlgn="base" latinLnBrk="0" hangingPunct="0">
              <a:lnSpc>
                <a:spcPct val="100000"/>
              </a:lnSpc>
              <a:spcBef>
                <a:spcPts val="676"/>
              </a:spcBef>
              <a:spcAft>
                <a:spcPct val="0"/>
              </a:spcAft>
              <a:buClrTx/>
              <a:buSzTx/>
              <a:buFont typeface="Arial"/>
              <a:buNone/>
              <a:tabLst/>
              <a:defRPr/>
            </a:pPr>
            <a:endParaRPr kumimoji="0" lang="en-US" sz="1350" b="0" i="0" u="none" strike="noStrike" kern="0" cap="none" spc="0" normalizeH="0" baseline="0" noProof="0" dirty="0">
              <a:ln>
                <a:noFill/>
              </a:ln>
              <a:solidFill>
                <a:srgbClr val="0070C0"/>
              </a:solidFill>
              <a:effectLst/>
              <a:uLnTx/>
              <a:uFillTx/>
              <a:latin typeface="Arial"/>
              <a:ea typeface="+mn-ea"/>
              <a:cs typeface="+mn-cs"/>
            </a:endParaRPr>
          </a:p>
        </p:txBody>
      </p:sp>
    </p:spTree>
    <p:extLst>
      <p:ext uri="{BB962C8B-B14F-4D97-AF65-F5344CB8AC3E}">
        <p14:creationId xmlns:p14="http://schemas.microsoft.com/office/powerpoint/2010/main" val="1607761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3">
            <a:extLst>
              <a:ext uri="{FF2B5EF4-FFF2-40B4-BE49-F238E27FC236}">
                <a16:creationId xmlns:a16="http://schemas.microsoft.com/office/drawing/2014/main" id="{F21D9E09-F4B4-4375-A522-0254B42C6461}"/>
              </a:ext>
            </a:extLst>
          </p:cNvPr>
          <p:cNvSpPr txBox="1">
            <a:spLocks/>
          </p:cNvSpPr>
          <p:nvPr/>
        </p:nvSpPr>
        <p:spPr>
          <a:xfrm>
            <a:off x="228600" y="476893"/>
            <a:ext cx="8915400" cy="535781"/>
          </a:xfrm>
          <a:prstGeom prst="rect">
            <a:avLst/>
          </a:prstGeom>
        </p:spPr>
        <p:txBody>
          <a:bodyPr anchor="t"/>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300" kern="0" dirty="0" err="1">
                <a:latin typeface="Arial"/>
              </a:rPr>
              <a:t>FlexPod</a:t>
            </a:r>
            <a:r>
              <a:rPr kumimoji="0" lang="en-US" sz="2300" b="1" i="0" u="none" strike="noStrike" kern="0" cap="none" spc="0" normalizeH="0" baseline="0" noProof="0" dirty="0">
                <a:ln>
                  <a:noFill/>
                </a:ln>
                <a:solidFill>
                  <a:srgbClr val="000000"/>
                </a:solidFill>
                <a:effectLst/>
                <a:uLnTx/>
                <a:uFillTx/>
                <a:latin typeface="Arial"/>
                <a:ea typeface="+mj-ea"/>
                <a:cs typeface="+mj-cs"/>
              </a:rPr>
              <a:t> </a:t>
            </a:r>
            <a:r>
              <a:rPr kumimoji="0" lang="en-US" sz="2300" b="1" i="0" u="none" strike="noStrike" kern="1200" cap="none" spc="0" normalizeH="0" baseline="0" noProof="0" dirty="0">
                <a:ln>
                  <a:noFill/>
                </a:ln>
                <a:solidFill>
                  <a:srgbClr val="000000"/>
                </a:solidFill>
                <a:effectLst/>
                <a:uLnTx/>
                <a:uFillTx/>
                <a:latin typeface="Arial"/>
                <a:cs typeface="Arial"/>
              </a:rPr>
              <a:t>Infrastructure with vSphere with C190 and C220</a:t>
            </a:r>
            <a:endParaRPr kumimoji="0" lang="en-US" sz="2300" b="1" i="0" u="none" strike="noStrike" kern="0" cap="none" spc="0" normalizeH="0" baseline="0" noProof="0" dirty="0">
              <a:ln>
                <a:noFill/>
              </a:ln>
              <a:solidFill>
                <a:srgbClr val="000000"/>
              </a:solidFill>
              <a:effectLst/>
              <a:uLnTx/>
              <a:uFillTx/>
              <a:latin typeface="Arial"/>
              <a:cs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3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Slide Number Placeholder 4">
            <a:extLst>
              <a:ext uri="{FF2B5EF4-FFF2-40B4-BE49-F238E27FC236}">
                <a16:creationId xmlns:a16="http://schemas.microsoft.com/office/drawing/2014/main" id="{F9D9A9D1-30B7-46D5-B3C2-9A23A66BB3C0}"/>
              </a:ext>
            </a:extLst>
          </p:cNvPr>
          <p:cNvSpPr>
            <a:spLocks noGrp="1"/>
          </p:cNvSpPr>
          <p:nvPr>
            <p:ph type="sldNum" sz="quarter" idx="4294967295"/>
          </p:nvPr>
        </p:nvSpPr>
        <p:spPr>
          <a:xfrm>
            <a:off x="8458200" y="239713"/>
            <a:ext cx="685800" cy="239712"/>
          </a:xfrm>
          <a:prstGeom prst="rect">
            <a:avLst/>
          </a:prstGeom>
        </p:spPr>
        <p:txBody>
          <a:bodyPr vert="horz" lIns="68580" tIns="34290" rIns="68580" bIns="34290" rtlCol="0" anchor="ctr"/>
          <a:lstStyle>
            <a:defPPr>
              <a:defRPr lang="en-US"/>
            </a:defPPr>
            <a:lvl1pPr marL="0" algn="r" defTabSz="342900" rtl="0" eaLnBrk="1" latinLnBrk="0" hangingPunct="1">
              <a:defRPr sz="750" kern="1200">
                <a:solidFill>
                  <a:schemeClr val="tx1">
                    <a:tint val="75000"/>
                  </a:schemeClr>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r" defTabSz="685578" rtl="0" eaLnBrk="1" fontAlgn="auto" latinLnBrk="0" hangingPunct="1">
              <a:lnSpc>
                <a:spcPct val="100000"/>
              </a:lnSpc>
              <a:spcBef>
                <a:spcPts val="0"/>
              </a:spcBef>
              <a:spcAft>
                <a:spcPts val="0"/>
              </a:spcAft>
              <a:buClrTx/>
              <a:buSzTx/>
              <a:buFontTx/>
              <a:buNone/>
              <a:tabLst/>
              <a:defRPr/>
            </a:pPr>
            <a:fld id="{8D9F6C40-14AF-764E-BE80-DFD0C767A593}" type="slidenum">
              <a:rPr kumimoji="0" lang="en-US" sz="75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685578" rtl="0" eaLnBrk="1" fontAlgn="auto" latinLnBrk="0" hangingPunct="1">
                <a:lnSpc>
                  <a:spcPct val="100000"/>
                </a:lnSpc>
                <a:spcBef>
                  <a:spcPts val="0"/>
                </a:spcBef>
                <a:spcAft>
                  <a:spcPts val="0"/>
                </a:spcAft>
                <a:buClrTx/>
                <a:buSzTx/>
                <a:buFontTx/>
                <a:buNone/>
                <a:tabLst/>
                <a:defRPr/>
              </a:pPr>
              <a:t>27</a:t>
            </a:fld>
            <a:endParaRPr kumimoji="0" lang="en-US" sz="750" b="0" i="0" u="none" strike="noStrike" kern="1200" cap="none" spc="0" normalizeH="0" baseline="0" noProof="0">
              <a:ln>
                <a:noFill/>
              </a:ln>
              <a:solidFill>
                <a:srgbClr val="E7E6E6">
                  <a:lumMod val="50000"/>
                </a:srgbClr>
              </a:solidFill>
              <a:effectLst/>
              <a:uLnTx/>
              <a:uFillTx/>
              <a:latin typeface="Calibri" panose="020F0502020204030204"/>
              <a:ea typeface="+mn-ea"/>
              <a:cs typeface="+mn-cs"/>
            </a:endParaRPr>
          </a:p>
        </p:txBody>
      </p:sp>
      <p:sp>
        <p:nvSpPr>
          <p:cNvPr id="42" name="Content Placeholder 2">
            <a:extLst>
              <a:ext uri="{FF2B5EF4-FFF2-40B4-BE49-F238E27FC236}">
                <a16:creationId xmlns:a16="http://schemas.microsoft.com/office/drawing/2014/main" id="{4DA8F065-A277-144D-BCD7-45B69095F208}"/>
              </a:ext>
            </a:extLst>
          </p:cNvPr>
          <p:cNvSpPr txBox="1">
            <a:spLocks/>
          </p:cNvSpPr>
          <p:nvPr/>
        </p:nvSpPr>
        <p:spPr>
          <a:xfrm>
            <a:off x="1696851" y="2853388"/>
            <a:ext cx="1456788" cy="415285"/>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3160" rtl="0" eaLnBrk="1" fontAlgn="base" latinLnBrk="0" hangingPunct="1">
              <a:lnSpc>
                <a:spcPct val="95000"/>
              </a:lnSpc>
              <a:spcBef>
                <a:spcPts val="826"/>
              </a:spcBef>
              <a:spcAft>
                <a:spcPct val="0"/>
              </a:spcAft>
              <a:buClr>
                <a:srgbClr val="000000"/>
              </a:buClr>
              <a:buSzPct val="80000"/>
              <a:buFont typeface="Arial"/>
              <a:buNone/>
              <a:tabLst/>
              <a:defRPr/>
            </a:pPr>
            <a:r>
              <a:rPr kumimoji="0" lang="en-US" sz="15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implify Deployments</a:t>
            </a:r>
          </a:p>
        </p:txBody>
      </p:sp>
      <p:sp>
        <p:nvSpPr>
          <p:cNvPr id="43" name="TextBox 42">
            <a:extLst>
              <a:ext uri="{FF2B5EF4-FFF2-40B4-BE49-F238E27FC236}">
                <a16:creationId xmlns:a16="http://schemas.microsoft.com/office/drawing/2014/main" id="{2D81476C-985E-7840-B332-D8D213F08E25}"/>
              </a:ext>
            </a:extLst>
          </p:cNvPr>
          <p:cNvSpPr txBox="1"/>
          <p:nvPr/>
        </p:nvSpPr>
        <p:spPr>
          <a:xfrm>
            <a:off x="399394" y="3491413"/>
            <a:ext cx="4393320" cy="276999"/>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Offers reference architecture that simplifies deployment</a:t>
            </a:r>
          </a:p>
        </p:txBody>
      </p:sp>
      <p:sp>
        <p:nvSpPr>
          <p:cNvPr id="37" name="Content Placeholder 2">
            <a:extLst>
              <a:ext uri="{FF2B5EF4-FFF2-40B4-BE49-F238E27FC236}">
                <a16:creationId xmlns:a16="http://schemas.microsoft.com/office/drawing/2014/main" id="{00600EC5-092A-EB4F-938C-8AAF528E8952}"/>
              </a:ext>
            </a:extLst>
          </p:cNvPr>
          <p:cNvSpPr txBox="1">
            <a:spLocks/>
          </p:cNvSpPr>
          <p:nvPr/>
        </p:nvSpPr>
        <p:spPr>
          <a:xfrm>
            <a:off x="1690866" y="1730261"/>
            <a:ext cx="1774367" cy="685801"/>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3160" rtl="0" eaLnBrk="1" fontAlgn="base" latinLnBrk="0" hangingPunct="1">
              <a:lnSpc>
                <a:spcPct val="95000"/>
              </a:lnSpc>
              <a:spcBef>
                <a:spcPts val="826"/>
              </a:spcBef>
              <a:spcAft>
                <a:spcPct val="0"/>
              </a:spcAft>
              <a:buClr>
                <a:srgbClr val="000000"/>
              </a:buClr>
              <a:buSzPct val="80000"/>
              <a:buFont typeface="Arial"/>
              <a:buNone/>
              <a:tabLst/>
              <a:defRPr/>
            </a:pPr>
            <a:r>
              <a:rPr kumimoji="0" lang="en-US" sz="15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OBO/ Small Enterprise</a:t>
            </a:r>
          </a:p>
        </p:txBody>
      </p:sp>
      <p:sp>
        <p:nvSpPr>
          <p:cNvPr id="39" name="TextBox 38">
            <a:extLst>
              <a:ext uri="{FF2B5EF4-FFF2-40B4-BE49-F238E27FC236}">
                <a16:creationId xmlns:a16="http://schemas.microsoft.com/office/drawing/2014/main" id="{CAEA8E03-13B6-0140-BECB-F58DB57F1DFA}"/>
              </a:ext>
            </a:extLst>
          </p:cNvPr>
          <p:cNvSpPr txBox="1"/>
          <p:nvPr/>
        </p:nvSpPr>
        <p:spPr>
          <a:xfrm>
            <a:off x="408830" y="2357270"/>
            <a:ext cx="4393320" cy="461665"/>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Offers pre-validated capabilities for Remote Office, Branch Office and Small sized Enterprise</a:t>
            </a:r>
          </a:p>
        </p:txBody>
      </p:sp>
      <p:pic>
        <p:nvPicPr>
          <p:cNvPr id="45" name="Graphic 44" descr="House">
            <a:extLst>
              <a:ext uri="{FF2B5EF4-FFF2-40B4-BE49-F238E27FC236}">
                <a16:creationId xmlns:a16="http://schemas.microsoft.com/office/drawing/2014/main" id="{0614CAA4-96F3-DE4F-AA07-260C90F35C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0487" y="1589757"/>
            <a:ext cx="685800" cy="685800"/>
          </a:xfrm>
          <a:prstGeom prst="rect">
            <a:avLst/>
          </a:prstGeom>
        </p:spPr>
      </p:pic>
      <p:sp>
        <p:nvSpPr>
          <p:cNvPr id="40" name="Content Placeholder 2">
            <a:extLst>
              <a:ext uri="{FF2B5EF4-FFF2-40B4-BE49-F238E27FC236}">
                <a16:creationId xmlns:a16="http://schemas.microsoft.com/office/drawing/2014/main" id="{C76158DD-B0CE-D54A-B689-FDD649424D98}"/>
              </a:ext>
            </a:extLst>
          </p:cNvPr>
          <p:cNvSpPr txBox="1">
            <a:spLocks/>
          </p:cNvSpPr>
          <p:nvPr/>
        </p:nvSpPr>
        <p:spPr>
          <a:xfrm>
            <a:off x="1710519" y="3852586"/>
            <a:ext cx="1628312" cy="692865"/>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3160" rtl="0" eaLnBrk="1" fontAlgn="base" latinLnBrk="0" hangingPunct="1">
              <a:lnSpc>
                <a:spcPct val="95000"/>
              </a:lnSpc>
              <a:spcBef>
                <a:spcPts val="826"/>
              </a:spcBef>
              <a:spcAft>
                <a:spcPct val="0"/>
              </a:spcAft>
              <a:buClr>
                <a:srgbClr val="000000"/>
              </a:buClr>
              <a:buSzPct val="80000"/>
              <a:buFont typeface="Arial"/>
              <a:buNone/>
              <a:tabLst/>
              <a:defRPr/>
            </a:pPr>
            <a:r>
              <a:rPr kumimoji="0" lang="en-US" sz="15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mbrace Innovations</a:t>
            </a:r>
          </a:p>
        </p:txBody>
      </p:sp>
      <p:sp>
        <p:nvSpPr>
          <p:cNvPr id="41" name="TextBox 40">
            <a:extLst>
              <a:ext uri="{FF2B5EF4-FFF2-40B4-BE49-F238E27FC236}">
                <a16:creationId xmlns:a16="http://schemas.microsoft.com/office/drawing/2014/main" id="{9E40A8E7-2F62-1A4D-B429-DFFF165086F0}"/>
              </a:ext>
            </a:extLst>
          </p:cNvPr>
          <p:cNvSpPr txBox="1"/>
          <p:nvPr/>
        </p:nvSpPr>
        <p:spPr>
          <a:xfrm>
            <a:off x="441420" y="4385263"/>
            <a:ext cx="4537957" cy="276999"/>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Stay current with technology innovations from NetApp and Cisco</a:t>
            </a:r>
          </a:p>
        </p:txBody>
      </p:sp>
      <p:pic>
        <p:nvPicPr>
          <p:cNvPr id="46" name="Graphic 45" descr="Lightbulb and gear">
            <a:extLst>
              <a:ext uri="{FF2B5EF4-FFF2-40B4-BE49-F238E27FC236}">
                <a16:creationId xmlns:a16="http://schemas.microsoft.com/office/drawing/2014/main" id="{EE14C243-187B-EE4A-808A-13EA80C6F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0217" y="3653489"/>
            <a:ext cx="685800" cy="685800"/>
          </a:xfrm>
          <a:prstGeom prst="rect">
            <a:avLst/>
          </a:prstGeom>
          <a:effectLst>
            <a:outerShdw blurRad="50800" dist="50800" dir="5400000" algn="ctr" rotWithShape="0">
              <a:schemeClr val="accent5">
                <a:lumMod val="75000"/>
              </a:schemeClr>
            </a:outerShdw>
          </a:effectLst>
        </p:spPr>
      </p:pic>
      <p:cxnSp>
        <p:nvCxnSpPr>
          <p:cNvPr id="26" name="Straight Connector 25">
            <a:extLst>
              <a:ext uri="{FF2B5EF4-FFF2-40B4-BE49-F238E27FC236}">
                <a16:creationId xmlns:a16="http://schemas.microsoft.com/office/drawing/2014/main" id="{2EF8263B-615C-4425-B072-8C711242181D}"/>
              </a:ext>
            </a:extLst>
          </p:cNvPr>
          <p:cNvCxnSpPr>
            <a:cxnSpLocks/>
          </p:cNvCxnSpPr>
          <p:nvPr/>
        </p:nvCxnSpPr>
        <p:spPr>
          <a:xfrm flipV="1">
            <a:off x="5115723" y="1552829"/>
            <a:ext cx="0" cy="3078385"/>
          </a:xfrm>
          <a:prstGeom prst="line">
            <a:avLst/>
          </a:prstGeom>
          <a:noFill/>
          <a:ln w="12700" cap="flat" cmpd="sng" algn="ctr">
            <a:gradFill>
              <a:gsLst>
                <a:gs pos="0">
                  <a:sysClr val="window" lastClr="FFFFFF">
                    <a:lumMod val="95000"/>
                  </a:sysClr>
                </a:gs>
                <a:gs pos="25000">
                  <a:srgbClr val="9F9F9F"/>
                </a:gs>
                <a:gs pos="75000">
                  <a:sysClr val="window" lastClr="FFFFFF">
                    <a:lumMod val="75000"/>
                  </a:sysClr>
                </a:gs>
                <a:gs pos="50000">
                  <a:sysClr val="windowText" lastClr="000000">
                    <a:lumMod val="73000"/>
                    <a:lumOff val="27000"/>
                  </a:sysClr>
                </a:gs>
                <a:gs pos="100000">
                  <a:sysClr val="window" lastClr="FFFFFF">
                    <a:lumMod val="95000"/>
                  </a:sysClr>
                </a:gs>
              </a:gsLst>
              <a:lin ang="5400000" scaled="1"/>
            </a:gradFill>
            <a:prstDash val="solid"/>
          </a:ln>
          <a:effectLst/>
        </p:spPr>
      </p:cxnSp>
      <p:sp>
        <p:nvSpPr>
          <p:cNvPr id="29" name="Text Placeholder 4">
            <a:extLst>
              <a:ext uri="{FF2B5EF4-FFF2-40B4-BE49-F238E27FC236}">
                <a16:creationId xmlns:a16="http://schemas.microsoft.com/office/drawing/2014/main" id="{AF33A566-6A30-40E6-9B37-86EA04F837A3}"/>
              </a:ext>
            </a:extLst>
          </p:cNvPr>
          <p:cNvSpPr txBox="1">
            <a:spLocks/>
          </p:cNvSpPr>
          <p:nvPr/>
        </p:nvSpPr>
        <p:spPr bwMode="gray">
          <a:xfrm>
            <a:off x="228600" y="929261"/>
            <a:ext cx="8484491" cy="192591"/>
          </a:xfrm>
          <a:prstGeom prst="rect">
            <a:avLst/>
          </a:prstGeom>
        </p:spPr>
        <p:txBody>
          <a:bodyPr vert="horz" wrap="square" lIns="91521" tIns="45761" rIns="91521" bIns="45761" rtlCol="0" anchor="t">
            <a:noAutofit/>
          </a:bodyPr>
          <a:lstStyle>
            <a:lvl1pPr marL="0" indent="0" algn="l" defTabSz="686412" rtl="0" eaLnBrk="1" latinLnBrk="0" hangingPunct="1">
              <a:lnSpc>
                <a:spcPct val="95000"/>
              </a:lnSpc>
              <a:spcBef>
                <a:spcPts val="0"/>
              </a:spcBef>
              <a:spcAft>
                <a:spcPts val="0"/>
              </a:spcAft>
              <a:buClr>
                <a:schemeClr val="accent1"/>
              </a:buClr>
              <a:buFont typeface="Wingdings" panose="05000000000000000000" pitchFamily="2" charset="2"/>
              <a:buNone/>
              <a:defRPr sz="1350" b="0" kern="1200">
                <a:solidFill>
                  <a:schemeClr val="accent1"/>
                </a:solidFill>
                <a:latin typeface="+mn-lt"/>
                <a:ea typeface="+mn-ea"/>
                <a:cs typeface="+mn-cs"/>
              </a:defRPr>
            </a:lvl1pPr>
            <a:lvl2pPr marL="343206" indent="0"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None/>
              <a:defRPr sz="1500" b="1" kern="1200">
                <a:solidFill>
                  <a:schemeClr val="tx1"/>
                </a:solidFill>
                <a:latin typeface="+mn-lt"/>
                <a:ea typeface="+mn-ea"/>
                <a:cs typeface="+mn-cs"/>
              </a:defRPr>
            </a:lvl2pPr>
            <a:lvl3pPr marL="686412"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425" b="1" kern="1200">
                <a:solidFill>
                  <a:schemeClr val="tx1"/>
                </a:solidFill>
                <a:latin typeface="+mn-lt"/>
                <a:ea typeface="+mn-ea"/>
                <a:cs typeface="+mn-cs"/>
              </a:defRPr>
            </a:lvl3pPr>
            <a:lvl4pPr marL="1029617"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200" b="1" kern="1200">
                <a:solidFill>
                  <a:schemeClr val="tx1"/>
                </a:solidFill>
                <a:latin typeface="+mn-lt"/>
                <a:ea typeface="+mn-ea"/>
                <a:cs typeface="+mn-cs"/>
              </a:defRPr>
            </a:lvl4pPr>
            <a:lvl5pPr marL="1372823" marR="0" indent="0"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None/>
              <a:tabLst/>
              <a:defRPr lang="en-US" sz="1200" b="1" kern="1200">
                <a:solidFill>
                  <a:schemeClr val="tx1"/>
                </a:solidFill>
                <a:latin typeface="+mn-lt"/>
                <a:ea typeface="+mn-ea"/>
                <a:cs typeface="+mn-cs"/>
              </a:defRPr>
            </a:lvl5pPr>
            <a:lvl6pPr marL="1716029"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6pPr>
            <a:lvl7pPr marL="2059235"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7pPr>
            <a:lvl8pPr marL="2402440"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8pPr>
            <a:lvl9pPr marL="2745646"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9pPr>
          </a:lstStyle>
          <a:p>
            <a:pPr marL="0" marR="0" lvl="0" indent="0" algn="l" defTabSz="686412" rtl="0" eaLnBrk="1" fontAlgn="auto" latinLnBrk="0" hangingPunct="1">
              <a:lnSpc>
                <a:spcPct val="95000"/>
              </a:lnSpc>
              <a:spcBef>
                <a:spcPts val="0"/>
              </a:spcBef>
              <a:spcAft>
                <a:spcPts val="0"/>
              </a:spcAft>
              <a:buClr>
                <a:srgbClr val="0067C5"/>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95918F"/>
                </a:solidFill>
                <a:effectLst/>
                <a:uLnTx/>
                <a:uFillTx/>
                <a:latin typeface="Arial"/>
                <a:ea typeface="+mn-ea"/>
                <a:cs typeface="+mn-cs"/>
              </a:rPr>
              <a:t>Targeted at Small to Mid-size Businesses</a:t>
            </a:r>
          </a:p>
        </p:txBody>
      </p:sp>
      <p:grpSp>
        <p:nvGrpSpPr>
          <p:cNvPr id="27" name="Group 26">
            <a:extLst>
              <a:ext uri="{FF2B5EF4-FFF2-40B4-BE49-F238E27FC236}">
                <a16:creationId xmlns:a16="http://schemas.microsoft.com/office/drawing/2014/main" id="{9AC77A95-2E38-4C31-BF41-6672BAE7F919}"/>
              </a:ext>
            </a:extLst>
          </p:cNvPr>
          <p:cNvGrpSpPr/>
          <p:nvPr/>
        </p:nvGrpSpPr>
        <p:grpSpPr>
          <a:xfrm>
            <a:off x="5587786" y="1897026"/>
            <a:ext cx="2596737" cy="858602"/>
            <a:chOff x="7994027" y="4914845"/>
            <a:chExt cx="3462316" cy="1144802"/>
          </a:xfrm>
        </p:grpSpPr>
        <p:sp>
          <p:nvSpPr>
            <p:cNvPr id="28" name="Rectangle 27">
              <a:extLst>
                <a:ext uri="{FF2B5EF4-FFF2-40B4-BE49-F238E27FC236}">
                  <a16:creationId xmlns:a16="http://schemas.microsoft.com/office/drawing/2014/main" id="{F64D2C6D-CB68-4CDB-BDEC-44185F1AA4F9}"/>
                </a:ext>
              </a:extLst>
            </p:cNvPr>
            <p:cNvSpPr/>
            <p:nvPr/>
          </p:nvSpPr>
          <p:spPr>
            <a:xfrm>
              <a:off x="7994027" y="5649278"/>
              <a:ext cx="3462316"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roxima-nova"/>
                  <a:ea typeface="+mn-ea"/>
                  <a:cs typeface="+mn-cs"/>
                </a:rPr>
                <a:t>NetApp AFF C190 All-Flash Array</a:t>
              </a:r>
            </a:p>
          </p:txBody>
        </p:sp>
        <p:sp>
          <p:nvSpPr>
            <p:cNvPr id="30" name="Rectangle 29">
              <a:extLst>
                <a:ext uri="{FF2B5EF4-FFF2-40B4-BE49-F238E27FC236}">
                  <a16:creationId xmlns:a16="http://schemas.microsoft.com/office/drawing/2014/main" id="{C858669A-C73C-4649-8513-3D735B9C1B8A}"/>
                </a:ext>
              </a:extLst>
            </p:cNvPr>
            <p:cNvSpPr/>
            <p:nvPr/>
          </p:nvSpPr>
          <p:spPr>
            <a:xfrm>
              <a:off x="7994027" y="5250727"/>
              <a:ext cx="2414679"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roxima-nova"/>
                  <a:ea typeface="+mn-ea"/>
                  <a:cs typeface="+mn-cs"/>
                </a:rPr>
                <a:t>Cisco Nexus 3K switch</a:t>
              </a:r>
            </a:p>
          </p:txBody>
        </p:sp>
        <p:sp>
          <p:nvSpPr>
            <p:cNvPr id="31" name="Rectangle 30">
              <a:extLst>
                <a:ext uri="{FF2B5EF4-FFF2-40B4-BE49-F238E27FC236}">
                  <a16:creationId xmlns:a16="http://schemas.microsoft.com/office/drawing/2014/main" id="{8BBECCCD-667C-483B-B7E9-F3F2F937B6BC}"/>
                </a:ext>
              </a:extLst>
            </p:cNvPr>
            <p:cNvSpPr/>
            <p:nvPr/>
          </p:nvSpPr>
          <p:spPr>
            <a:xfrm>
              <a:off x="7994027" y="4914845"/>
              <a:ext cx="2861040"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roxima-nova"/>
                  <a:ea typeface="+mn-ea"/>
                  <a:cs typeface="+mn-cs"/>
                </a:rPr>
                <a:t>Cisco UCS C220 M5 server </a:t>
              </a:r>
            </a:p>
          </p:txBody>
        </p:sp>
      </p:grpSp>
      <p:pic>
        <p:nvPicPr>
          <p:cNvPr id="32" name="Picture 31">
            <a:extLst>
              <a:ext uri="{FF2B5EF4-FFF2-40B4-BE49-F238E27FC236}">
                <a16:creationId xmlns:a16="http://schemas.microsoft.com/office/drawing/2014/main" id="{B4938889-B493-4A37-9FCB-9B857BD965F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1502" y="3466600"/>
            <a:ext cx="2297844" cy="223942"/>
          </a:xfrm>
          <a:prstGeom prst="rect">
            <a:avLst/>
          </a:prstGeom>
        </p:spPr>
      </p:pic>
      <p:pic>
        <p:nvPicPr>
          <p:cNvPr id="33" name="Picture 2" descr="image002">
            <a:extLst>
              <a:ext uri="{FF2B5EF4-FFF2-40B4-BE49-F238E27FC236}">
                <a16:creationId xmlns:a16="http://schemas.microsoft.com/office/drawing/2014/main" id="{DCAAF0BA-66A8-4142-AAE6-2474DA62C670}"/>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591502" y="3784097"/>
            <a:ext cx="2297843" cy="408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6849DDBF-0D7B-4F13-AB28-8B6042F0BF9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1502" y="3145751"/>
            <a:ext cx="2318721" cy="225978"/>
          </a:xfrm>
          <a:prstGeom prst="rect">
            <a:avLst/>
          </a:prstGeom>
        </p:spPr>
      </p:pic>
      <p:grpSp>
        <p:nvGrpSpPr>
          <p:cNvPr id="35" name="Group 28">
            <a:extLst>
              <a:ext uri="{FF2B5EF4-FFF2-40B4-BE49-F238E27FC236}">
                <a16:creationId xmlns:a16="http://schemas.microsoft.com/office/drawing/2014/main" id="{055056C1-A698-4A92-84EB-793E6FBFD20A}"/>
              </a:ext>
            </a:extLst>
          </p:cNvPr>
          <p:cNvGrpSpPr>
            <a:grpSpLocks noChangeAspect="1"/>
          </p:cNvGrpSpPr>
          <p:nvPr/>
        </p:nvGrpSpPr>
        <p:grpSpPr bwMode="auto">
          <a:xfrm>
            <a:off x="1106865" y="2822394"/>
            <a:ext cx="477864" cy="477272"/>
            <a:chOff x="1896" y="624"/>
            <a:chExt cx="2560" cy="2557"/>
          </a:xfrm>
        </p:grpSpPr>
        <p:sp>
          <p:nvSpPr>
            <p:cNvPr id="36" name="Oval 29">
              <a:extLst>
                <a:ext uri="{FF2B5EF4-FFF2-40B4-BE49-F238E27FC236}">
                  <a16:creationId xmlns:a16="http://schemas.microsoft.com/office/drawing/2014/main" id="{54C7B7FD-91CB-4C1E-AB46-8988200DCA0F}"/>
                </a:ext>
              </a:extLst>
            </p:cNvPr>
            <p:cNvSpPr>
              <a:spLocks noChangeArrowheads="1"/>
            </p:cNvSpPr>
            <p:nvPr/>
          </p:nvSpPr>
          <p:spPr bwMode="auto">
            <a:xfrm>
              <a:off x="1896" y="635"/>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455613">
                <a:defRPr sz="2000">
                  <a:solidFill>
                    <a:schemeClr val="tx1"/>
                  </a:solidFill>
                  <a:latin typeface="Arial" panose="020B0604020202020204" pitchFamily="34" charset="0"/>
                </a:defRPr>
              </a:lvl1pPr>
              <a:lvl2pPr defTabSz="455613">
                <a:defRPr sz="2000">
                  <a:solidFill>
                    <a:schemeClr val="tx1"/>
                  </a:solidFill>
                  <a:latin typeface="Arial" panose="020B0604020202020204" pitchFamily="34" charset="0"/>
                </a:defRPr>
              </a:lvl2pPr>
              <a:lvl3pPr defTabSz="455613">
                <a:defRPr sz="2000">
                  <a:solidFill>
                    <a:schemeClr val="tx1"/>
                  </a:solidFill>
                  <a:latin typeface="Arial" panose="020B0604020202020204" pitchFamily="34" charset="0"/>
                </a:defRPr>
              </a:lvl3pPr>
              <a:lvl4pPr defTabSz="455613">
                <a:defRPr sz="2000">
                  <a:solidFill>
                    <a:schemeClr val="tx1"/>
                  </a:solidFill>
                  <a:latin typeface="Arial" panose="020B0604020202020204" pitchFamily="34" charset="0"/>
                </a:defRPr>
              </a:lvl4pPr>
              <a:lvl5pPr defTabSz="455613">
                <a:defRPr sz="2000">
                  <a:solidFill>
                    <a:schemeClr val="tx1"/>
                  </a:solidFill>
                  <a:latin typeface="Arial" panose="020B0604020202020204" pitchFamily="34" charset="0"/>
                </a:defRPr>
              </a:lvl5pPr>
              <a:lvl6pPr marL="2284413" indent="1588" defTabSz="4556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4556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4556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4556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 name="Freeform 30">
              <a:extLst>
                <a:ext uri="{FF2B5EF4-FFF2-40B4-BE49-F238E27FC236}">
                  <a16:creationId xmlns:a16="http://schemas.microsoft.com/office/drawing/2014/main" id="{D96F81B1-CE34-4DEF-80BC-8C041491FBB6}"/>
                </a:ext>
              </a:extLst>
            </p:cNvPr>
            <p:cNvSpPr>
              <a:spLocks/>
            </p:cNvSpPr>
            <p:nvPr/>
          </p:nvSpPr>
          <p:spPr bwMode="auto">
            <a:xfrm>
              <a:off x="2214" y="624"/>
              <a:ext cx="2242" cy="2515"/>
            </a:xfrm>
            <a:custGeom>
              <a:avLst/>
              <a:gdLst>
                <a:gd name="T0" fmla="*/ 35580 w 1269"/>
                <a:gd name="T1" fmla="*/ 11574 h 1422"/>
                <a:gd name="T2" fmla="*/ 36798 w 1269"/>
                <a:gd name="T3" fmla="*/ 9766 h 1422"/>
                <a:gd name="T4" fmla="*/ 35308 w 1269"/>
                <a:gd name="T5" fmla="*/ 1799 h 1422"/>
                <a:gd name="T6" fmla="*/ 27409 w 1269"/>
                <a:gd name="T7" fmla="*/ 3309 h 1422"/>
                <a:gd name="T8" fmla="*/ 16185 w 1269"/>
                <a:gd name="T9" fmla="*/ 19835 h 1422"/>
                <a:gd name="T10" fmla="*/ 10980 w 1269"/>
                <a:gd name="T11" fmla="*/ 12897 h 1422"/>
                <a:gd name="T12" fmla="*/ 3012 w 1269"/>
                <a:gd name="T13" fmla="*/ 11753 h 1422"/>
                <a:gd name="T14" fmla="*/ 1892 w 1269"/>
                <a:gd name="T15" fmla="*/ 19786 h 1422"/>
                <a:gd name="T16" fmla="*/ 11830 w 1269"/>
                <a:gd name="T17" fmla="*/ 33123 h 1422"/>
                <a:gd name="T18" fmla="*/ 11858 w 1269"/>
                <a:gd name="T19" fmla="*/ 33139 h 1422"/>
                <a:gd name="T20" fmla="*/ 11858 w 1269"/>
                <a:gd name="T21" fmla="*/ 33139 h 1422"/>
                <a:gd name="T22" fmla="*/ 12733 w 1269"/>
                <a:gd name="T23" fmla="*/ 34090 h 1422"/>
                <a:gd name="T24" fmla="*/ 12733 w 1269"/>
                <a:gd name="T25" fmla="*/ 34090 h 1422"/>
                <a:gd name="T26" fmla="*/ 22086 w 1269"/>
                <a:gd name="T27" fmla="*/ 43524 h 1422"/>
                <a:gd name="T28" fmla="*/ 38321 w 1269"/>
                <a:gd name="T29" fmla="*/ 22225 h 1422"/>
                <a:gd name="T30" fmla="*/ 35580 w 1269"/>
                <a:gd name="T31" fmla="*/ 11574 h 14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69" h="1422">
                  <a:moveTo>
                    <a:pt x="1170" y="378"/>
                  </a:moveTo>
                  <a:cubicBezTo>
                    <a:pt x="1210" y="319"/>
                    <a:pt x="1210" y="319"/>
                    <a:pt x="1210" y="319"/>
                  </a:cubicBezTo>
                  <a:cubicBezTo>
                    <a:pt x="1269" y="234"/>
                    <a:pt x="1247" y="117"/>
                    <a:pt x="1161" y="59"/>
                  </a:cubicBezTo>
                  <a:cubicBezTo>
                    <a:pt x="1076" y="0"/>
                    <a:pt x="959" y="22"/>
                    <a:pt x="901" y="108"/>
                  </a:cubicBezTo>
                  <a:cubicBezTo>
                    <a:pt x="532" y="648"/>
                    <a:pt x="532" y="648"/>
                    <a:pt x="532" y="648"/>
                  </a:cubicBezTo>
                  <a:cubicBezTo>
                    <a:pt x="361" y="421"/>
                    <a:pt x="361" y="421"/>
                    <a:pt x="361" y="421"/>
                  </a:cubicBezTo>
                  <a:cubicBezTo>
                    <a:pt x="299" y="338"/>
                    <a:pt x="182" y="322"/>
                    <a:pt x="99" y="384"/>
                  </a:cubicBezTo>
                  <a:cubicBezTo>
                    <a:pt x="16" y="446"/>
                    <a:pt x="0" y="563"/>
                    <a:pt x="62" y="646"/>
                  </a:cubicBezTo>
                  <a:cubicBezTo>
                    <a:pt x="389" y="1082"/>
                    <a:pt x="389" y="1082"/>
                    <a:pt x="389" y="1082"/>
                  </a:cubicBezTo>
                  <a:cubicBezTo>
                    <a:pt x="389" y="1083"/>
                    <a:pt x="390" y="1083"/>
                    <a:pt x="390" y="1083"/>
                  </a:cubicBezTo>
                  <a:cubicBezTo>
                    <a:pt x="390" y="1083"/>
                    <a:pt x="390" y="1083"/>
                    <a:pt x="390" y="1083"/>
                  </a:cubicBezTo>
                  <a:cubicBezTo>
                    <a:pt x="399" y="1095"/>
                    <a:pt x="408" y="1105"/>
                    <a:pt x="419" y="1114"/>
                  </a:cubicBezTo>
                  <a:cubicBezTo>
                    <a:pt x="419" y="1114"/>
                    <a:pt x="419" y="1114"/>
                    <a:pt x="419" y="1114"/>
                  </a:cubicBezTo>
                  <a:cubicBezTo>
                    <a:pt x="726" y="1422"/>
                    <a:pt x="726" y="1422"/>
                    <a:pt x="726" y="1422"/>
                  </a:cubicBezTo>
                  <a:cubicBezTo>
                    <a:pt x="1034" y="1339"/>
                    <a:pt x="1260" y="1059"/>
                    <a:pt x="1260" y="726"/>
                  </a:cubicBezTo>
                  <a:cubicBezTo>
                    <a:pt x="1260" y="600"/>
                    <a:pt x="1227" y="481"/>
                    <a:pt x="1170" y="37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sp>
          <p:nvSpPr>
            <p:cNvPr id="47" name="Freeform 31">
              <a:extLst>
                <a:ext uri="{FF2B5EF4-FFF2-40B4-BE49-F238E27FC236}">
                  <a16:creationId xmlns:a16="http://schemas.microsoft.com/office/drawing/2014/main" id="{B90316A7-BAFC-4B5E-87D2-D12C3AD55639}"/>
                </a:ext>
              </a:extLst>
            </p:cNvPr>
            <p:cNvSpPr>
              <a:spLocks/>
            </p:cNvSpPr>
            <p:nvPr/>
          </p:nvSpPr>
          <p:spPr bwMode="auto">
            <a:xfrm>
              <a:off x="2210" y="624"/>
              <a:ext cx="2246" cy="2050"/>
            </a:xfrm>
            <a:custGeom>
              <a:avLst/>
              <a:gdLst>
                <a:gd name="T0" fmla="*/ 35443 w 1271"/>
                <a:gd name="T1" fmla="*/ 1799 h 1159"/>
                <a:gd name="T2" fmla="*/ 27498 w 1271"/>
                <a:gd name="T3" fmla="*/ 3309 h 1159"/>
                <a:gd name="T4" fmla="*/ 16234 w 1271"/>
                <a:gd name="T5" fmla="*/ 19876 h 1159"/>
                <a:gd name="T6" fmla="*/ 11048 w 1271"/>
                <a:gd name="T7" fmla="*/ 12912 h 1159"/>
                <a:gd name="T8" fmla="*/ 3050 w 1271"/>
                <a:gd name="T9" fmla="*/ 11753 h 1159"/>
                <a:gd name="T10" fmla="*/ 1893 w 1271"/>
                <a:gd name="T11" fmla="*/ 19801 h 1159"/>
                <a:gd name="T12" fmla="*/ 11875 w 1271"/>
                <a:gd name="T13" fmla="*/ 33191 h 1159"/>
                <a:gd name="T14" fmla="*/ 11907 w 1271"/>
                <a:gd name="T15" fmla="*/ 33219 h 1159"/>
                <a:gd name="T16" fmla="*/ 11907 w 1271"/>
                <a:gd name="T17" fmla="*/ 33219 h 1159"/>
                <a:gd name="T18" fmla="*/ 16438 w 1271"/>
                <a:gd name="T19" fmla="*/ 35494 h 1159"/>
                <a:gd name="T20" fmla="*/ 21228 w 1271"/>
                <a:gd name="T21" fmla="*/ 32897 h 1159"/>
                <a:gd name="T22" fmla="*/ 36950 w 1271"/>
                <a:gd name="T23" fmla="*/ 9799 h 1159"/>
                <a:gd name="T24" fmla="*/ 35443 w 1271"/>
                <a:gd name="T25" fmla="*/ 1799 h 11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71" h="1159">
                  <a:moveTo>
                    <a:pt x="1164" y="59"/>
                  </a:moveTo>
                  <a:cubicBezTo>
                    <a:pt x="1078" y="0"/>
                    <a:pt x="961" y="22"/>
                    <a:pt x="903" y="108"/>
                  </a:cubicBezTo>
                  <a:cubicBezTo>
                    <a:pt x="533" y="649"/>
                    <a:pt x="533" y="649"/>
                    <a:pt x="533" y="649"/>
                  </a:cubicBezTo>
                  <a:cubicBezTo>
                    <a:pt x="363" y="422"/>
                    <a:pt x="363" y="422"/>
                    <a:pt x="363" y="422"/>
                  </a:cubicBezTo>
                  <a:cubicBezTo>
                    <a:pt x="300" y="339"/>
                    <a:pt x="183" y="322"/>
                    <a:pt x="100" y="384"/>
                  </a:cubicBezTo>
                  <a:cubicBezTo>
                    <a:pt x="17" y="447"/>
                    <a:pt x="0" y="564"/>
                    <a:pt x="62" y="647"/>
                  </a:cubicBezTo>
                  <a:cubicBezTo>
                    <a:pt x="390" y="1084"/>
                    <a:pt x="390" y="1084"/>
                    <a:pt x="390" y="1084"/>
                  </a:cubicBezTo>
                  <a:cubicBezTo>
                    <a:pt x="391" y="1084"/>
                    <a:pt x="391" y="1085"/>
                    <a:pt x="391" y="1085"/>
                  </a:cubicBezTo>
                  <a:cubicBezTo>
                    <a:pt x="391" y="1085"/>
                    <a:pt x="391" y="1085"/>
                    <a:pt x="391" y="1085"/>
                  </a:cubicBezTo>
                  <a:cubicBezTo>
                    <a:pt x="426" y="1130"/>
                    <a:pt x="480" y="1159"/>
                    <a:pt x="540" y="1159"/>
                  </a:cubicBezTo>
                  <a:cubicBezTo>
                    <a:pt x="606" y="1159"/>
                    <a:pt x="664" y="1125"/>
                    <a:pt x="697" y="1074"/>
                  </a:cubicBezTo>
                  <a:cubicBezTo>
                    <a:pt x="1213" y="320"/>
                    <a:pt x="1213" y="320"/>
                    <a:pt x="1213" y="320"/>
                  </a:cubicBezTo>
                  <a:cubicBezTo>
                    <a:pt x="1271" y="234"/>
                    <a:pt x="1249" y="117"/>
                    <a:pt x="1164" y="5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sp>
          <p:nvSpPr>
            <p:cNvPr id="48" name="Freeform 32">
              <a:extLst>
                <a:ext uri="{FF2B5EF4-FFF2-40B4-BE49-F238E27FC236}">
                  <a16:creationId xmlns:a16="http://schemas.microsoft.com/office/drawing/2014/main" id="{1CF1C141-2ECD-4924-B508-3EF02F08D8F2}"/>
                </a:ext>
              </a:extLst>
            </p:cNvPr>
            <p:cNvSpPr>
              <a:spLocks/>
            </p:cNvSpPr>
            <p:nvPr/>
          </p:nvSpPr>
          <p:spPr bwMode="auto">
            <a:xfrm>
              <a:off x="2832" y="1772"/>
              <a:ext cx="665" cy="902"/>
            </a:xfrm>
            <a:custGeom>
              <a:avLst/>
              <a:gdLst>
                <a:gd name="T0" fmla="*/ 1035 w 376"/>
                <a:gd name="T1" fmla="*/ 6578 h 510"/>
                <a:gd name="T2" fmla="*/ 0 w 376"/>
                <a:gd name="T3" fmla="*/ 9841 h 510"/>
                <a:gd name="T4" fmla="*/ 5766 w 376"/>
                <a:gd name="T5" fmla="*/ 15606 h 510"/>
                <a:gd name="T6" fmla="*/ 11508 w 376"/>
                <a:gd name="T7" fmla="*/ 9841 h 510"/>
                <a:gd name="T8" fmla="*/ 10507 w 376"/>
                <a:gd name="T9" fmla="*/ 6578 h 510"/>
                <a:gd name="T10" fmla="*/ 5536 w 376"/>
                <a:gd name="T11" fmla="*/ 0 h 510"/>
                <a:gd name="T12" fmla="*/ 1035 w 376"/>
                <a:gd name="T13" fmla="*/ 6578 h 5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6" h="510">
                  <a:moveTo>
                    <a:pt x="34" y="215"/>
                  </a:moveTo>
                  <a:cubicBezTo>
                    <a:pt x="13" y="246"/>
                    <a:pt x="0" y="282"/>
                    <a:pt x="0" y="322"/>
                  </a:cubicBezTo>
                  <a:cubicBezTo>
                    <a:pt x="0" y="426"/>
                    <a:pt x="85" y="510"/>
                    <a:pt x="188" y="510"/>
                  </a:cubicBezTo>
                  <a:cubicBezTo>
                    <a:pt x="292" y="510"/>
                    <a:pt x="376" y="426"/>
                    <a:pt x="376" y="322"/>
                  </a:cubicBezTo>
                  <a:cubicBezTo>
                    <a:pt x="376" y="282"/>
                    <a:pt x="364" y="246"/>
                    <a:pt x="343" y="215"/>
                  </a:cubicBezTo>
                  <a:cubicBezTo>
                    <a:pt x="181" y="0"/>
                    <a:pt x="181" y="0"/>
                    <a:pt x="181" y="0"/>
                  </a:cubicBezTo>
                  <a:lnTo>
                    <a:pt x="34" y="215"/>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grpSp>
      <p:sp>
        <p:nvSpPr>
          <p:cNvPr id="44" name="Title 3">
            <a:extLst>
              <a:ext uri="{FF2B5EF4-FFF2-40B4-BE49-F238E27FC236}">
                <a16:creationId xmlns:a16="http://schemas.microsoft.com/office/drawing/2014/main" id="{C3D8B7AA-F63B-6C4B-844D-9908F2EA32CC}"/>
              </a:ext>
            </a:extLst>
          </p:cNvPr>
          <p:cNvSpPr txBox="1">
            <a:spLocks/>
          </p:cNvSpPr>
          <p:nvPr/>
        </p:nvSpPr>
        <p:spPr>
          <a:xfrm>
            <a:off x="228600" y="314161"/>
            <a:ext cx="8915400"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Tree>
    <p:extLst>
      <p:ext uri="{BB962C8B-B14F-4D97-AF65-F5344CB8AC3E}">
        <p14:creationId xmlns:p14="http://schemas.microsoft.com/office/powerpoint/2010/main" val="337613857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9D9A9D1-30B7-46D5-B3C2-9A23A66BB3C0}"/>
              </a:ext>
            </a:extLst>
          </p:cNvPr>
          <p:cNvSpPr>
            <a:spLocks noGrp="1"/>
          </p:cNvSpPr>
          <p:nvPr>
            <p:ph type="sldNum" sz="quarter" idx="4294967295"/>
          </p:nvPr>
        </p:nvSpPr>
        <p:spPr>
          <a:xfrm>
            <a:off x="8458200" y="239713"/>
            <a:ext cx="685800" cy="239712"/>
          </a:xfrm>
          <a:prstGeom prst="rect">
            <a:avLst/>
          </a:prstGeom>
        </p:spPr>
        <p:txBody>
          <a:bodyPr vert="horz" lIns="68580" tIns="34290" rIns="68580" bIns="34290" rtlCol="0" anchor="ctr"/>
          <a:lstStyle>
            <a:defPPr>
              <a:defRPr lang="en-US"/>
            </a:defPPr>
            <a:lvl1pPr marL="0" algn="r" defTabSz="342900" rtl="0" eaLnBrk="1" latinLnBrk="0" hangingPunct="1">
              <a:defRPr sz="750" kern="1200">
                <a:solidFill>
                  <a:schemeClr val="tx1">
                    <a:tint val="75000"/>
                  </a:schemeClr>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r" defTabSz="685578" rtl="0" eaLnBrk="1" fontAlgn="auto" latinLnBrk="0" hangingPunct="1">
              <a:lnSpc>
                <a:spcPct val="100000"/>
              </a:lnSpc>
              <a:spcBef>
                <a:spcPts val="0"/>
              </a:spcBef>
              <a:spcAft>
                <a:spcPts val="0"/>
              </a:spcAft>
              <a:buClrTx/>
              <a:buSzTx/>
              <a:buFontTx/>
              <a:buNone/>
              <a:tabLst/>
              <a:defRPr/>
            </a:pPr>
            <a:fld id="{8D9F6C40-14AF-764E-BE80-DFD0C767A593}" type="slidenum">
              <a:rPr kumimoji="0" lang="en-US" sz="75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685578" rtl="0" eaLnBrk="1" fontAlgn="auto" latinLnBrk="0" hangingPunct="1">
                <a:lnSpc>
                  <a:spcPct val="100000"/>
                </a:lnSpc>
                <a:spcBef>
                  <a:spcPts val="0"/>
                </a:spcBef>
                <a:spcAft>
                  <a:spcPts val="0"/>
                </a:spcAft>
                <a:buClrTx/>
                <a:buSzTx/>
                <a:buFontTx/>
                <a:buNone/>
                <a:tabLst/>
                <a:defRPr/>
              </a:pPr>
              <a:t>28</a:t>
            </a:fld>
            <a:endParaRPr kumimoji="0" lang="en-US" sz="750" b="0" i="0" u="none" strike="noStrike" kern="1200" cap="none" spc="0" normalizeH="0" baseline="0" noProof="0">
              <a:ln>
                <a:noFill/>
              </a:ln>
              <a:solidFill>
                <a:srgbClr val="E7E6E6">
                  <a:lumMod val="50000"/>
                </a:srgbClr>
              </a:solidFill>
              <a:effectLst/>
              <a:uLnTx/>
              <a:uFillTx/>
              <a:latin typeface="Calibri" panose="020F0502020204030204"/>
              <a:ea typeface="+mn-ea"/>
              <a:cs typeface="+mn-cs"/>
            </a:endParaRPr>
          </a:p>
        </p:txBody>
      </p:sp>
      <p:cxnSp>
        <p:nvCxnSpPr>
          <p:cNvPr id="26" name="Straight Connector 25">
            <a:extLst>
              <a:ext uri="{FF2B5EF4-FFF2-40B4-BE49-F238E27FC236}">
                <a16:creationId xmlns:a16="http://schemas.microsoft.com/office/drawing/2014/main" id="{2EF8263B-615C-4425-B072-8C711242181D}"/>
              </a:ext>
            </a:extLst>
          </p:cNvPr>
          <p:cNvCxnSpPr>
            <a:cxnSpLocks/>
          </p:cNvCxnSpPr>
          <p:nvPr/>
        </p:nvCxnSpPr>
        <p:spPr>
          <a:xfrm flipV="1">
            <a:off x="3423557" y="1134512"/>
            <a:ext cx="0" cy="3870792"/>
          </a:xfrm>
          <a:prstGeom prst="line">
            <a:avLst/>
          </a:prstGeom>
          <a:noFill/>
          <a:ln w="12700" cap="flat" cmpd="sng" algn="ctr">
            <a:gradFill>
              <a:gsLst>
                <a:gs pos="0">
                  <a:sysClr val="window" lastClr="FFFFFF">
                    <a:lumMod val="95000"/>
                  </a:sysClr>
                </a:gs>
                <a:gs pos="25000">
                  <a:srgbClr val="9F9F9F"/>
                </a:gs>
                <a:gs pos="75000">
                  <a:sysClr val="window" lastClr="FFFFFF">
                    <a:lumMod val="75000"/>
                  </a:sysClr>
                </a:gs>
                <a:gs pos="50000">
                  <a:sysClr val="windowText" lastClr="000000">
                    <a:lumMod val="73000"/>
                    <a:lumOff val="27000"/>
                  </a:sysClr>
                </a:gs>
                <a:gs pos="100000">
                  <a:sysClr val="window" lastClr="FFFFFF">
                    <a:lumMod val="95000"/>
                  </a:sysClr>
                </a:gs>
              </a:gsLst>
              <a:lin ang="5400000" scaled="1"/>
            </a:gradFill>
            <a:prstDash val="solid"/>
          </a:ln>
          <a:effectLst/>
        </p:spPr>
      </p:cxnSp>
      <p:sp>
        <p:nvSpPr>
          <p:cNvPr id="29" name="Text Placeholder 4">
            <a:extLst>
              <a:ext uri="{FF2B5EF4-FFF2-40B4-BE49-F238E27FC236}">
                <a16:creationId xmlns:a16="http://schemas.microsoft.com/office/drawing/2014/main" id="{AF33A566-6A30-40E6-9B37-86EA04F837A3}"/>
              </a:ext>
            </a:extLst>
          </p:cNvPr>
          <p:cNvSpPr txBox="1">
            <a:spLocks/>
          </p:cNvSpPr>
          <p:nvPr/>
        </p:nvSpPr>
        <p:spPr bwMode="gray">
          <a:xfrm>
            <a:off x="228600" y="676047"/>
            <a:ext cx="8746228" cy="300082"/>
          </a:xfrm>
          <a:prstGeom prst="rect">
            <a:avLst/>
          </a:prstGeom>
        </p:spPr>
        <p:txBody>
          <a:bodyPr vert="horz" wrap="square" lIns="91521" tIns="45761" rIns="91521" bIns="45761" rtlCol="0" anchor="t">
            <a:noAutofit/>
          </a:bodyPr>
          <a:lstStyle>
            <a:lvl1pPr marL="0" indent="0" algn="l" defTabSz="686412" rtl="0" eaLnBrk="1" latinLnBrk="0" hangingPunct="1">
              <a:lnSpc>
                <a:spcPct val="95000"/>
              </a:lnSpc>
              <a:spcBef>
                <a:spcPts val="0"/>
              </a:spcBef>
              <a:spcAft>
                <a:spcPts val="0"/>
              </a:spcAft>
              <a:buClr>
                <a:schemeClr val="accent1"/>
              </a:buClr>
              <a:buFont typeface="Wingdings" panose="05000000000000000000" pitchFamily="2" charset="2"/>
              <a:buNone/>
              <a:defRPr sz="1350" b="0" kern="1200">
                <a:solidFill>
                  <a:schemeClr val="accent1"/>
                </a:solidFill>
                <a:latin typeface="+mn-lt"/>
                <a:ea typeface="+mn-ea"/>
                <a:cs typeface="+mn-cs"/>
              </a:defRPr>
            </a:lvl1pPr>
            <a:lvl2pPr marL="343206" indent="0" algn="l" defTabSz="686412" rtl="0" eaLnBrk="1" latinLnBrk="0" hangingPunct="1">
              <a:lnSpc>
                <a:spcPct val="90000"/>
              </a:lnSpc>
              <a:spcBef>
                <a:spcPts val="150"/>
              </a:spcBef>
              <a:spcAft>
                <a:spcPts val="300"/>
              </a:spcAft>
              <a:buClr>
                <a:schemeClr val="tx1">
                  <a:lumMod val="65000"/>
                  <a:lumOff val="35000"/>
                </a:schemeClr>
              </a:buClr>
              <a:buFont typeface="Wingdings" panose="05000000000000000000" pitchFamily="2" charset="2"/>
              <a:buNone/>
              <a:defRPr sz="1500" b="1" kern="1200">
                <a:solidFill>
                  <a:schemeClr val="tx1"/>
                </a:solidFill>
                <a:latin typeface="+mn-lt"/>
                <a:ea typeface="+mn-ea"/>
                <a:cs typeface="+mn-cs"/>
              </a:defRPr>
            </a:lvl2pPr>
            <a:lvl3pPr marL="686412"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425" b="1" kern="1200">
                <a:solidFill>
                  <a:schemeClr val="tx1"/>
                </a:solidFill>
                <a:latin typeface="+mn-lt"/>
                <a:ea typeface="+mn-ea"/>
                <a:cs typeface="+mn-cs"/>
              </a:defRPr>
            </a:lvl3pPr>
            <a:lvl4pPr marL="1029617" indent="0" algn="l" defTabSz="686412" rtl="0" eaLnBrk="1" latinLnBrk="0" hangingPunct="1">
              <a:lnSpc>
                <a:spcPct val="85000"/>
              </a:lnSpc>
              <a:spcBef>
                <a:spcPts val="150"/>
              </a:spcBef>
              <a:spcAft>
                <a:spcPts val="300"/>
              </a:spcAft>
              <a:buClr>
                <a:schemeClr val="tx1">
                  <a:lumMod val="65000"/>
                  <a:lumOff val="35000"/>
                </a:schemeClr>
              </a:buClr>
              <a:buFont typeface="Wingdings" panose="05000000000000000000" pitchFamily="2" charset="2"/>
              <a:buNone/>
              <a:defRPr sz="1200" b="1" kern="1200">
                <a:solidFill>
                  <a:schemeClr val="tx1"/>
                </a:solidFill>
                <a:latin typeface="+mn-lt"/>
                <a:ea typeface="+mn-ea"/>
                <a:cs typeface="+mn-cs"/>
              </a:defRPr>
            </a:lvl4pPr>
            <a:lvl5pPr marL="1372823" marR="0" indent="0" algn="l" defTabSz="686412" rtl="0" eaLnBrk="1" fontAlgn="auto" latinLnBrk="0" hangingPunct="1">
              <a:lnSpc>
                <a:spcPct val="85000"/>
              </a:lnSpc>
              <a:spcBef>
                <a:spcPts val="150"/>
              </a:spcBef>
              <a:spcAft>
                <a:spcPts val="300"/>
              </a:spcAft>
              <a:buClr>
                <a:schemeClr val="tx1">
                  <a:lumMod val="65000"/>
                  <a:lumOff val="35000"/>
                </a:schemeClr>
              </a:buClr>
              <a:buSzTx/>
              <a:buFont typeface="Wingdings" panose="05000000000000000000" pitchFamily="2" charset="2"/>
              <a:buNone/>
              <a:tabLst/>
              <a:defRPr lang="en-US" sz="1200" b="1" kern="1200">
                <a:solidFill>
                  <a:schemeClr val="tx1"/>
                </a:solidFill>
                <a:latin typeface="+mn-lt"/>
                <a:ea typeface="+mn-ea"/>
                <a:cs typeface="+mn-cs"/>
              </a:defRPr>
            </a:lvl5pPr>
            <a:lvl6pPr marL="1716029"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6pPr>
            <a:lvl7pPr marL="2059235"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7pPr>
            <a:lvl8pPr marL="2402440"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8pPr>
            <a:lvl9pPr marL="2745646" indent="0" algn="l" defTabSz="686412" rtl="0" eaLnBrk="1" latinLnBrk="0" hangingPunct="1">
              <a:spcBef>
                <a:spcPct val="20000"/>
              </a:spcBef>
              <a:buFont typeface="Arial" panose="020B0604020202020204" pitchFamily="34" charset="0"/>
              <a:buNone/>
              <a:defRPr sz="1200" b="1" kern="1200">
                <a:solidFill>
                  <a:schemeClr val="tx1"/>
                </a:solidFill>
                <a:latin typeface="+mn-lt"/>
                <a:ea typeface="+mn-ea"/>
                <a:cs typeface="+mn-cs"/>
              </a:defRPr>
            </a:lvl9pPr>
          </a:lstStyle>
          <a:p>
            <a:pPr marL="0" marR="0" lvl="0" indent="0" algn="l" defTabSz="686412" rtl="0" eaLnBrk="1" fontAlgn="auto" latinLnBrk="0" hangingPunct="1">
              <a:lnSpc>
                <a:spcPct val="95000"/>
              </a:lnSpc>
              <a:spcBef>
                <a:spcPts val="0"/>
              </a:spcBef>
              <a:spcAft>
                <a:spcPts val="0"/>
              </a:spcAft>
              <a:buClr>
                <a:srgbClr val="0067C5"/>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95918F"/>
                </a:solidFill>
                <a:effectLst/>
                <a:uLnTx/>
                <a:uFillTx/>
                <a:latin typeface="Arial"/>
                <a:ea typeface="+mn-ea"/>
                <a:cs typeface="+mn-cs"/>
              </a:rPr>
              <a:t>Same FlexPod Benefits: Cloud-connected, Multi-protocol, Efficient, Reliable, One Call Support, Easy Setup</a:t>
            </a:r>
          </a:p>
        </p:txBody>
      </p:sp>
      <p:grpSp>
        <p:nvGrpSpPr>
          <p:cNvPr id="27" name="Group 26">
            <a:extLst>
              <a:ext uri="{FF2B5EF4-FFF2-40B4-BE49-F238E27FC236}">
                <a16:creationId xmlns:a16="http://schemas.microsoft.com/office/drawing/2014/main" id="{9AC77A95-2E38-4C31-BF41-6672BAE7F919}"/>
              </a:ext>
            </a:extLst>
          </p:cNvPr>
          <p:cNvGrpSpPr/>
          <p:nvPr/>
        </p:nvGrpSpPr>
        <p:grpSpPr>
          <a:xfrm>
            <a:off x="732023" y="1918046"/>
            <a:ext cx="2596737" cy="858602"/>
            <a:chOff x="7994027" y="4914845"/>
            <a:chExt cx="3462316" cy="1144802"/>
          </a:xfrm>
        </p:grpSpPr>
        <p:sp>
          <p:nvSpPr>
            <p:cNvPr id="28" name="Rectangle 27">
              <a:extLst>
                <a:ext uri="{FF2B5EF4-FFF2-40B4-BE49-F238E27FC236}">
                  <a16:creationId xmlns:a16="http://schemas.microsoft.com/office/drawing/2014/main" id="{F64D2C6D-CB68-4CDB-BDEC-44185F1AA4F9}"/>
                </a:ext>
              </a:extLst>
            </p:cNvPr>
            <p:cNvSpPr/>
            <p:nvPr/>
          </p:nvSpPr>
          <p:spPr>
            <a:xfrm>
              <a:off x="7994027" y="5649278"/>
              <a:ext cx="3462316"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roxima-nova"/>
                  <a:ea typeface="+mn-ea"/>
                  <a:cs typeface="+mn-cs"/>
                </a:rPr>
                <a:t>NetApp AFF C190 All-Flash Array</a:t>
              </a:r>
            </a:p>
          </p:txBody>
        </p:sp>
        <p:sp>
          <p:nvSpPr>
            <p:cNvPr id="30" name="Rectangle 29">
              <a:extLst>
                <a:ext uri="{FF2B5EF4-FFF2-40B4-BE49-F238E27FC236}">
                  <a16:creationId xmlns:a16="http://schemas.microsoft.com/office/drawing/2014/main" id="{C858669A-C73C-4649-8513-3D735B9C1B8A}"/>
                </a:ext>
              </a:extLst>
            </p:cNvPr>
            <p:cNvSpPr/>
            <p:nvPr/>
          </p:nvSpPr>
          <p:spPr>
            <a:xfrm>
              <a:off x="7994027" y="5250727"/>
              <a:ext cx="2414679"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roxima-nova"/>
                  <a:ea typeface="+mn-ea"/>
                  <a:cs typeface="+mn-cs"/>
                </a:rPr>
                <a:t>Cisco Nexus 3K switch</a:t>
              </a:r>
            </a:p>
          </p:txBody>
        </p:sp>
        <p:sp>
          <p:nvSpPr>
            <p:cNvPr id="31" name="Rectangle 30">
              <a:extLst>
                <a:ext uri="{FF2B5EF4-FFF2-40B4-BE49-F238E27FC236}">
                  <a16:creationId xmlns:a16="http://schemas.microsoft.com/office/drawing/2014/main" id="{8BBECCCD-667C-483B-B7E9-F3F2F937B6BC}"/>
                </a:ext>
              </a:extLst>
            </p:cNvPr>
            <p:cNvSpPr/>
            <p:nvPr/>
          </p:nvSpPr>
          <p:spPr>
            <a:xfrm>
              <a:off x="7994027" y="4914845"/>
              <a:ext cx="2861040" cy="410369"/>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proxima-nova"/>
                  <a:ea typeface="+mn-ea"/>
                  <a:cs typeface="+mn-cs"/>
                </a:rPr>
                <a:t>Cisco UCS C220 M5 server </a:t>
              </a:r>
            </a:p>
          </p:txBody>
        </p:sp>
      </p:grpSp>
      <p:pic>
        <p:nvPicPr>
          <p:cNvPr id="32" name="Picture 31">
            <a:extLst>
              <a:ext uri="{FF2B5EF4-FFF2-40B4-BE49-F238E27FC236}">
                <a16:creationId xmlns:a16="http://schemas.microsoft.com/office/drawing/2014/main" id="{B4938889-B493-4A37-9FCB-9B857BD965F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35739" y="3487620"/>
            <a:ext cx="2297844" cy="223942"/>
          </a:xfrm>
          <a:prstGeom prst="rect">
            <a:avLst/>
          </a:prstGeom>
        </p:spPr>
      </p:pic>
      <p:pic>
        <p:nvPicPr>
          <p:cNvPr id="33" name="Picture 2" descr="image002">
            <a:extLst>
              <a:ext uri="{FF2B5EF4-FFF2-40B4-BE49-F238E27FC236}">
                <a16:creationId xmlns:a16="http://schemas.microsoft.com/office/drawing/2014/main" id="{DCAAF0BA-66A8-4142-AAE6-2474DA62C67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35739" y="3805117"/>
            <a:ext cx="2297843" cy="408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6849DDBF-0D7B-4F13-AB28-8B6042F0BF9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35739" y="3166771"/>
            <a:ext cx="2318721" cy="225978"/>
          </a:xfrm>
          <a:prstGeom prst="rect">
            <a:avLst/>
          </a:prstGeom>
        </p:spPr>
      </p:pic>
      <p:grpSp>
        <p:nvGrpSpPr>
          <p:cNvPr id="48" name="Group 47">
            <a:extLst>
              <a:ext uri="{FF2B5EF4-FFF2-40B4-BE49-F238E27FC236}">
                <a16:creationId xmlns:a16="http://schemas.microsoft.com/office/drawing/2014/main" id="{FD2C1F6D-F4E5-466B-8B37-5B94A2082393}"/>
              </a:ext>
            </a:extLst>
          </p:cNvPr>
          <p:cNvGrpSpPr/>
          <p:nvPr/>
        </p:nvGrpSpPr>
        <p:grpSpPr>
          <a:xfrm>
            <a:off x="6208060" y="1734108"/>
            <a:ext cx="2477079" cy="848415"/>
            <a:chOff x="4231245" y="3884809"/>
            <a:chExt cx="3302771" cy="1131219"/>
          </a:xfrm>
        </p:grpSpPr>
        <p:sp>
          <p:nvSpPr>
            <p:cNvPr id="49" name="Content Placeholder 2">
              <a:extLst>
                <a:ext uri="{FF2B5EF4-FFF2-40B4-BE49-F238E27FC236}">
                  <a16:creationId xmlns:a16="http://schemas.microsoft.com/office/drawing/2014/main" id="{5C3D10C0-CCF4-4D0F-AC3D-4F1CA268E70D}"/>
                </a:ext>
              </a:extLst>
            </p:cNvPr>
            <p:cNvSpPr txBox="1">
              <a:spLocks/>
            </p:cNvSpPr>
            <p:nvPr/>
          </p:nvSpPr>
          <p:spPr>
            <a:xfrm>
              <a:off x="5233379" y="3888059"/>
              <a:ext cx="2300637" cy="1127969"/>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base" latinLnBrk="0" hangingPunct="1">
                <a:lnSpc>
                  <a:spcPct val="95000"/>
                </a:lnSpc>
                <a:spcBef>
                  <a:spcPts val="450"/>
                </a:spcBef>
                <a:spcAft>
                  <a:spcPct val="0"/>
                </a:spcAft>
                <a:buClr>
                  <a:srgbClr val="000000"/>
                </a:buClr>
                <a:buSzPct val="80000"/>
                <a:buFont typeface="Arial"/>
                <a:buNone/>
                <a:tabLst/>
                <a:defRPr/>
              </a:pPr>
              <a:r>
                <a:rPr kumimoji="0" lang="en-US" sz="105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Accelerate applications by 10x with the same $/GB as SAS 10K HDD</a:t>
              </a:r>
            </a:p>
          </p:txBody>
        </p:sp>
        <p:pic>
          <p:nvPicPr>
            <p:cNvPr id="50" name="Graphic 49" descr="Upward trend">
              <a:extLst>
                <a:ext uri="{FF2B5EF4-FFF2-40B4-BE49-F238E27FC236}">
                  <a16:creationId xmlns:a16="http://schemas.microsoft.com/office/drawing/2014/main" id="{94C0AA42-8380-4FBF-8713-8B9A5AB0A2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1245" y="3884809"/>
              <a:ext cx="836112" cy="836112"/>
            </a:xfrm>
            <a:prstGeom prst="rect">
              <a:avLst/>
            </a:prstGeom>
          </p:spPr>
        </p:pic>
      </p:grpSp>
      <p:grpSp>
        <p:nvGrpSpPr>
          <p:cNvPr id="51" name="Group 50">
            <a:extLst>
              <a:ext uri="{FF2B5EF4-FFF2-40B4-BE49-F238E27FC236}">
                <a16:creationId xmlns:a16="http://schemas.microsoft.com/office/drawing/2014/main" id="{FAD200D2-9C45-4E2F-A552-15E06D9FA9B8}"/>
              </a:ext>
            </a:extLst>
          </p:cNvPr>
          <p:cNvGrpSpPr/>
          <p:nvPr/>
        </p:nvGrpSpPr>
        <p:grpSpPr>
          <a:xfrm>
            <a:off x="6187039" y="2500106"/>
            <a:ext cx="2676543" cy="751601"/>
            <a:chOff x="7916977" y="3793239"/>
            <a:chExt cx="3568724" cy="1002134"/>
          </a:xfrm>
        </p:grpSpPr>
        <p:sp>
          <p:nvSpPr>
            <p:cNvPr id="52" name="Content Placeholder 2">
              <a:extLst>
                <a:ext uri="{FF2B5EF4-FFF2-40B4-BE49-F238E27FC236}">
                  <a16:creationId xmlns:a16="http://schemas.microsoft.com/office/drawing/2014/main" id="{34D41CBF-50E0-41DE-81E3-D39599CB1963}"/>
                </a:ext>
              </a:extLst>
            </p:cNvPr>
            <p:cNvSpPr txBox="1">
              <a:spLocks/>
            </p:cNvSpPr>
            <p:nvPr/>
          </p:nvSpPr>
          <p:spPr>
            <a:xfrm>
              <a:off x="8965402" y="3925617"/>
              <a:ext cx="2520299" cy="783322"/>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base" latinLnBrk="0" hangingPunct="1">
                <a:lnSpc>
                  <a:spcPct val="95000"/>
                </a:lnSpc>
                <a:spcBef>
                  <a:spcPts val="450"/>
                </a:spcBef>
                <a:spcAft>
                  <a:spcPct val="0"/>
                </a:spcAft>
                <a:buClr>
                  <a:srgbClr val="000000"/>
                </a:buClr>
                <a:buSzPct val="80000"/>
                <a:buFont typeface="Arial"/>
                <a:buNone/>
                <a:tabLst/>
                <a:defRPr/>
              </a:pPr>
              <a:r>
                <a:rPr kumimoji="0" lang="en-US" sz="105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Use one set of tools to manage and protect data, wherever the data is</a:t>
              </a:r>
            </a:p>
          </p:txBody>
        </p:sp>
        <p:pic>
          <p:nvPicPr>
            <p:cNvPr id="53" name="Graphic 52" descr="Single gear">
              <a:extLst>
                <a:ext uri="{FF2B5EF4-FFF2-40B4-BE49-F238E27FC236}">
                  <a16:creationId xmlns:a16="http://schemas.microsoft.com/office/drawing/2014/main" id="{84CF13A9-1227-4E54-A752-F3DBD6C4DB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16977" y="3793239"/>
              <a:ext cx="1002134" cy="1002134"/>
            </a:xfrm>
            <a:prstGeom prst="rect">
              <a:avLst/>
            </a:prstGeom>
          </p:spPr>
        </p:pic>
      </p:grpSp>
      <p:grpSp>
        <p:nvGrpSpPr>
          <p:cNvPr id="54" name="Group 53">
            <a:extLst>
              <a:ext uri="{FF2B5EF4-FFF2-40B4-BE49-F238E27FC236}">
                <a16:creationId xmlns:a16="http://schemas.microsoft.com/office/drawing/2014/main" id="{572F9F3F-1FBD-4970-B1FD-679BBD44EAF0}"/>
              </a:ext>
            </a:extLst>
          </p:cNvPr>
          <p:cNvGrpSpPr/>
          <p:nvPr/>
        </p:nvGrpSpPr>
        <p:grpSpPr>
          <a:xfrm>
            <a:off x="3694801" y="1730734"/>
            <a:ext cx="2346918" cy="904340"/>
            <a:chOff x="599706" y="3753665"/>
            <a:chExt cx="3129224" cy="1205786"/>
          </a:xfrm>
        </p:grpSpPr>
        <p:sp>
          <p:nvSpPr>
            <p:cNvPr id="55" name="Content Placeholder 2">
              <a:extLst>
                <a:ext uri="{FF2B5EF4-FFF2-40B4-BE49-F238E27FC236}">
                  <a16:creationId xmlns:a16="http://schemas.microsoft.com/office/drawing/2014/main" id="{66264157-FE72-4457-BB3C-2297DD201426}"/>
                </a:ext>
              </a:extLst>
            </p:cNvPr>
            <p:cNvSpPr txBox="1">
              <a:spLocks/>
            </p:cNvSpPr>
            <p:nvPr/>
          </p:nvSpPr>
          <p:spPr>
            <a:xfrm>
              <a:off x="1500567" y="3831467"/>
              <a:ext cx="2228363" cy="1127984"/>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3160" rtl="0" eaLnBrk="1" fontAlgn="base" latinLnBrk="0" hangingPunct="1">
                <a:lnSpc>
                  <a:spcPct val="95000"/>
                </a:lnSpc>
                <a:spcBef>
                  <a:spcPts val="826"/>
                </a:spcBef>
                <a:spcAft>
                  <a:spcPct val="0"/>
                </a:spcAft>
                <a:buClr>
                  <a:srgbClr val="000000"/>
                </a:buClr>
                <a:buSzPct val="80000"/>
                <a:buFont typeface="Arial"/>
                <a:buNone/>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odernize your Infrastructure with AFF at affordable price</a:t>
              </a:r>
            </a:p>
          </p:txBody>
        </p:sp>
        <p:pic>
          <p:nvPicPr>
            <p:cNvPr id="56" name="Graphic 55" descr="Dollar">
              <a:extLst>
                <a:ext uri="{FF2B5EF4-FFF2-40B4-BE49-F238E27FC236}">
                  <a16:creationId xmlns:a16="http://schemas.microsoft.com/office/drawing/2014/main" id="{30E5A937-B550-4468-8EB6-DD92CF62E3E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9706" y="3753665"/>
              <a:ext cx="914400" cy="914400"/>
            </a:xfrm>
            <a:prstGeom prst="rect">
              <a:avLst/>
            </a:prstGeom>
          </p:spPr>
        </p:pic>
      </p:grpSp>
      <p:grpSp>
        <p:nvGrpSpPr>
          <p:cNvPr id="57" name="Group 56">
            <a:extLst>
              <a:ext uri="{FF2B5EF4-FFF2-40B4-BE49-F238E27FC236}">
                <a16:creationId xmlns:a16="http://schemas.microsoft.com/office/drawing/2014/main" id="{444080DC-EAC5-441B-9AC6-C9AFE77DBDBA}"/>
              </a:ext>
            </a:extLst>
          </p:cNvPr>
          <p:cNvGrpSpPr/>
          <p:nvPr/>
        </p:nvGrpSpPr>
        <p:grpSpPr>
          <a:xfrm>
            <a:off x="3656985" y="2589725"/>
            <a:ext cx="2414648" cy="721920"/>
            <a:chOff x="579143" y="5334362"/>
            <a:chExt cx="3219531" cy="962560"/>
          </a:xfrm>
        </p:grpSpPr>
        <p:sp>
          <p:nvSpPr>
            <p:cNvPr id="58" name="Content Placeholder 2">
              <a:extLst>
                <a:ext uri="{FF2B5EF4-FFF2-40B4-BE49-F238E27FC236}">
                  <a16:creationId xmlns:a16="http://schemas.microsoft.com/office/drawing/2014/main" id="{718C3392-1D0B-4FFF-A570-19FBD39917EA}"/>
                </a:ext>
              </a:extLst>
            </p:cNvPr>
            <p:cNvSpPr txBox="1">
              <a:spLocks/>
            </p:cNvSpPr>
            <p:nvPr/>
          </p:nvSpPr>
          <p:spPr>
            <a:xfrm>
              <a:off x="1517503" y="5441911"/>
              <a:ext cx="2281171" cy="753947"/>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base" latinLnBrk="0" hangingPunct="1">
                <a:lnSpc>
                  <a:spcPct val="95000"/>
                </a:lnSpc>
                <a:spcBef>
                  <a:spcPts val="450"/>
                </a:spcBef>
                <a:spcAft>
                  <a:spcPct val="0"/>
                </a:spcAft>
                <a:buClr>
                  <a:srgbClr val="000000"/>
                </a:buClr>
                <a:buSzPct val="80000"/>
                <a:buFont typeface="Arial"/>
                <a:buNone/>
                <a:tabLst/>
                <a:defRPr/>
              </a:pPr>
              <a:r>
                <a:rPr kumimoji="0" lang="en-US" sz="105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Solution for your transition to a hybrid cloud environment</a:t>
              </a:r>
            </a:p>
          </p:txBody>
        </p:sp>
        <p:pic>
          <p:nvPicPr>
            <p:cNvPr id="59" name="Graphic 58" descr="Cloud">
              <a:extLst>
                <a:ext uri="{FF2B5EF4-FFF2-40B4-BE49-F238E27FC236}">
                  <a16:creationId xmlns:a16="http://schemas.microsoft.com/office/drawing/2014/main" id="{B594CFBB-7DDD-48B7-8458-EC7603B4138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9143" y="5334362"/>
              <a:ext cx="962560" cy="962560"/>
            </a:xfrm>
            <a:prstGeom prst="rect">
              <a:avLst/>
            </a:prstGeom>
          </p:spPr>
        </p:pic>
      </p:grpSp>
      <p:grpSp>
        <p:nvGrpSpPr>
          <p:cNvPr id="60" name="Group 59">
            <a:extLst>
              <a:ext uri="{FF2B5EF4-FFF2-40B4-BE49-F238E27FC236}">
                <a16:creationId xmlns:a16="http://schemas.microsoft.com/office/drawing/2014/main" id="{902805FB-D600-4D56-B6D1-A6E2BE9D9B31}"/>
              </a:ext>
            </a:extLst>
          </p:cNvPr>
          <p:cNvGrpSpPr/>
          <p:nvPr/>
        </p:nvGrpSpPr>
        <p:grpSpPr>
          <a:xfrm>
            <a:off x="3662952" y="3334167"/>
            <a:ext cx="2624418" cy="709984"/>
            <a:chOff x="4285084" y="5275165"/>
            <a:chExt cx="3499224" cy="946645"/>
          </a:xfrm>
        </p:grpSpPr>
        <p:sp>
          <p:nvSpPr>
            <p:cNvPr id="61" name="Content Placeholder 2">
              <a:extLst>
                <a:ext uri="{FF2B5EF4-FFF2-40B4-BE49-F238E27FC236}">
                  <a16:creationId xmlns:a16="http://schemas.microsoft.com/office/drawing/2014/main" id="{67401FF3-5C38-4A69-B137-D9A568A5E993}"/>
                </a:ext>
              </a:extLst>
            </p:cNvPr>
            <p:cNvSpPr txBox="1">
              <a:spLocks/>
            </p:cNvSpPr>
            <p:nvPr/>
          </p:nvSpPr>
          <p:spPr>
            <a:xfrm>
              <a:off x="5233380" y="5409497"/>
              <a:ext cx="2550928" cy="734946"/>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800" rtl="0" eaLnBrk="1" fontAlgn="base" latinLnBrk="0" hangingPunct="1">
                <a:lnSpc>
                  <a:spcPct val="95000"/>
                </a:lnSpc>
                <a:spcBef>
                  <a:spcPts val="450"/>
                </a:spcBef>
                <a:spcAft>
                  <a:spcPct val="0"/>
                </a:spcAft>
                <a:buClr>
                  <a:srgbClr val="000000"/>
                </a:buClr>
                <a:buSzPct val="80000"/>
                <a:buFont typeface="Arial"/>
                <a:buNone/>
                <a:tabLst/>
                <a:defRPr/>
              </a:pPr>
              <a:r>
                <a:rPr kumimoji="0" lang="en-US" sz="105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Run optimally on a single system for both file and block application</a:t>
              </a:r>
            </a:p>
          </p:txBody>
        </p:sp>
        <p:pic>
          <p:nvPicPr>
            <p:cNvPr id="62" name="Graphic 61" descr="Target">
              <a:extLst>
                <a:ext uri="{FF2B5EF4-FFF2-40B4-BE49-F238E27FC236}">
                  <a16:creationId xmlns:a16="http://schemas.microsoft.com/office/drawing/2014/main" id="{18ACBE5D-8ECE-402E-A19B-B1B5E08D9B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285084" y="5275165"/>
              <a:ext cx="946645" cy="946645"/>
            </a:xfrm>
            <a:prstGeom prst="rect">
              <a:avLst/>
            </a:prstGeom>
          </p:spPr>
        </p:pic>
      </p:grpSp>
      <p:grpSp>
        <p:nvGrpSpPr>
          <p:cNvPr id="63" name="Group 62">
            <a:extLst>
              <a:ext uri="{FF2B5EF4-FFF2-40B4-BE49-F238E27FC236}">
                <a16:creationId xmlns:a16="http://schemas.microsoft.com/office/drawing/2014/main" id="{F5CC99A1-097B-4AC8-A930-4BBA84CE3418}"/>
              </a:ext>
            </a:extLst>
          </p:cNvPr>
          <p:cNvGrpSpPr/>
          <p:nvPr/>
        </p:nvGrpSpPr>
        <p:grpSpPr>
          <a:xfrm>
            <a:off x="6228433" y="3334503"/>
            <a:ext cx="2716008" cy="709984"/>
            <a:chOff x="8005084" y="5312399"/>
            <a:chExt cx="3621345" cy="946646"/>
          </a:xfrm>
        </p:grpSpPr>
        <p:sp>
          <p:nvSpPr>
            <p:cNvPr id="64" name="Content Placeholder 2">
              <a:extLst>
                <a:ext uri="{FF2B5EF4-FFF2-40B4-BE49-F238E27FC236}">
                  <a16:creationId xmlns:a16="http://schemas.microsoft.com/office/drawing/2014/main" id="{90DAF3CD-77ED-49B0-98A1-4D797969BF37}"/>
                </a:ext>
              </a:extLst>
            </p:cNvPr>
            <p:cNvSpPr txBox="1">
              <a:spLocks/>
            </p:cNvSpPr>
            <p:nvPr/>
          </p:nvSpPr>
          <p:spPr>
            <a:xfrm>
              <a:off x="8965402" y="5526797"/>
              <a:ext cx="2661027" cy="470507"/>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4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513160" rtl="0" eaLnBrk="1" fontAlgn="base" latinLnBrk="0" hangingPunct="1">
                <a:lnSpc>
                  <a:spcPct val="95000"/>
                </a:lnSpc>
                <a:spcBef>
                  <a:spcPts val="826"/>
                </a:spcBef>
                <a:spcAft>
                  <a:spcPct val="0"/>
                </a:spcAft>
                <a:buClr>
                  <a:srgbClr val="000000"/>
                </a:buClr>
                <a:buSzPct val="80000"/>
                <a:buFont typeface="Arial"/>
                <a:buNone/>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mart system with built-in efficiency</a:t>
              </a:r>
            </a:p>
          </p:txBody>
        </p:sp>
        <p:pic>
          <p:nvPicPr>
            <p:cNvPr id="65" name="Graphic 64" descr="Atom">
              <a:extLst>
                <a:ext uri="{FF2B5EF4-FFF2-40B4-BE49-F238E27FC236}">
                  <a16:creationId xmlns:a16="http://schemas.microsoft.com/office/drawing/2014/main" id="{7BC59D00-7561-4355-92AD-E65D15CDBAD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05084" y="5312399"/>
              <a:ext cx="946646" cy="946646"/>
            </a:xfrm>
            <a:prstGeom prst="rect">
              <a:avLst/>
            </a:prstGeom>
          </p:spPr>
        </p:pic>
      </p:grpSp>
      <p:sp>
        <p:nvSpPr>
          <p:cNvPr id="35" name="Title 3">
            <a:extLst>
              <a:ext uri="{FF2B5EF4-FFF2-40B4-BE49-F238E27FC236}">
                <a16:creationId xmlns:a16="http://schemas.microsoft.com/office/drawing/2014/main" id="{E3C2E7CD-F2A4-A14E-BEDE-405597571486}"/>
              </a:ext>
            </a:extLst>
          </p:cNvPr>
          <p:cNvSpPr txBox="1">
            <a:spLocks/>
          </p:cNvSpPr>
          <p:nvPr/>
        </p:nvSpPr>
        <p:spPr>
          <a:xfrm>
            <a:off x="228600" y="276678"/>
            <a:ext cx="8915400"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300" b="1" i="0" u="none" strike="noStrike" kern="0" cap="none" spc="0" normalizeH="0" baseline="0" noProof="0" dirty="0">
                <a:ln>
                  <a:noFill/>
                </a:ln>
                <a:solidFill>
                  <a:srgbClr val="000000"/>
                </a:solidFill>
                <a:effectLst/>
                <a:uLnTx/>
                <a:uFillTx/>
                <a:latin typeface="Arial"/>
                <a:ea typeface="+mj-ea"/>
                <a:cs typeface="+mj-cs"/>
              </a:rPr>
              <a:t>FlexPod with vSphere – AFF C190 and UCS C220</a:t>
            </a:r>
          </a:p>
        </p:txBody>
      </p:sp>
    </p:spTree>
    <p:extLst>
      <p:ext uri="{BB962C8B-B14F-4D97-AF65-F5344CB8AC3E}">
        <p14:creationId xmlns:p14="http://schemas.microsoft.com/office/powerpoint/2010/main" val="333539319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9D9A9D1-30B7-46D5-B3C2-9A23A66BB3C0}"/>
              </a:ext>
            </a:extLst>
          </p:cNvPr>
          <p:cNvSpPr>
            <a:spLocks noGrp="1"/>
          </p:cNvSpPr>
          <p:nvPr>
            <p:ph type="sldNum" sz="quarter" idx="4294967295"/>
          </p:nvPr>
        </p:nvSpPr>
        <p:spPr>
          <a:xfrm>
            <a:off x="8458200" y="239713"/>
            <a:ext cx="685800" cy="239712"/>
          </a:xfrm>
          <a:prstGeom prst="rect">
            <a:avLst/>
          </a:prstGeom>
        </p:spPr>
        <p:txBody>
          <a:bodyPr vert="horz" lIns="68580" tIns="34290" rIns="68580" bIns="34290" rtlCol="0" anchor="ctr"/>
          <a:lstStyle>
            <a:defPPr>
              <a:defRPr lang="en-US"/>
            </a:defPPr>
            <a:lvl1pPr marL="0" algn="r" defTabSz="342900" rtl="0" eaLnBrk="1" latinLnBrk="0" hangingPunct="1">
              <a:defRPr sz="750" kern="1200">
                <a:solidFill>
                  <a:schemeClr val="tx1">
                    <a:tint val="75000"/>
                  </a:schemeClr>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r" defTabSz="685578" rtl="0" eaLnBrk="1" fontAlgn="base" latinLnBrk="0" hangingPunct="1">
              <a:lnSpc>
                <a:spcPct val="100000"/>
              </a:lnSpc>
              <a:spcBef>
                <a:spcPct val="0"/>
              </a:spcBef>
              <a:spcAft>
                <a:spcPct val="0"/>
              </a:spcAft>
              <a:buClrTx/>
              <a:buSzTx/>
              <a:buFontTx/>
              <a:buNone/>
              <a:tabLst/>
              <a:defRPr/>
            </a:pPr>
            <a:fld id="{8D9F6C40-14AF-764E-BE80-DFD0C767A593}" type="slidenum">
              <a:rPr kumimoji="0" lang="en-US" sz="75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685578" rtl="0" eaLnBrk="1" fontAlgn="base" latinLnBrk="0" hangingPunct="1">
                <a:lnSpc>
                  <a:spcPct val="100000"/>
                </a:lnSpc>
                <a:spcBef>
                  <a:spcPct val="0"/>
                </a:spcBef>
                <a:spcAft>
                  <a:spcPct val="0"/>
                </a:spcAft>
                <a:buClrTx/>
                <a:buSzTx/>
                <a:buFontTx/>
                <a:buNone/>
                <a:tabLst/>
                <a:defRPr/>
              </a:pPr>
              <a:t>29</a:t>
            </a:fld>
            <a:endParaRPr kumimoji="0" lang="en-US" sz="750" b="0" i="0" u="none" strike="noStrike" kern="1200" cap="none" spc="0" normalizeH="0" baseline="0" noProof="0">
              <a:ln>
                <a:noFill/>
              </a:ln>
              <a:solidFill>
                <a:srgbClr val="E7E6E6">
                  <a:lumMod val="50000"/>
                </a:srgbClr>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2CF229DC-3E32-3D40-94AD-AE506106331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45920" y="4547063"/>
            <a:ext cx="1097280" cy="401836"/>
          </a:xfrm>
          <a:prstGeom prst="rect">
            <a:avLst/>
          </a:prstGeom>
        </p:spPr>
      </p:pic>
      <p:sp>
        <p:nvSpPr>
          <p:cNvPr id="23" name="Content Placeholder 7">
            <a:extLst>
              <a:ext uri="{FF2B5EF4-FFF2-40B4-BE49-F238E27FC236}">
                <a16:creationId xmlns:a16="http://schemas.microsoft.com/office/drawing/2014/main" id="{DC1D97DA-D5E3-2D4A-9925-A0CE6D53F2EE}"/>
              </a:ext>
            </a:extLst>
          </p:cNvPr>
          <p:cNvSpPr txBox="1">
            <a:spLocks/>
          </p:cNvSpPr>
          <p:nvPr/>
        </p:nvSpPr>
        <p:spPr>
          <a:xfrm>
            <a:off x="3486004" y="1309259"/>
            <a:ext cx="5394658" cy="3304321"/>
          </a:xfrm>
          <a:prstGeom prst="rect">
            <a:avLst/>
          </a:prstGeom>
        </p:spPr>
        <p:txBody>
          <a:bodyPr vert="horz" wrap="square" lIns="68641" tIns="34321" rIns="68641" bIns="34321" rtlCol="0">
            <a:noAutofit/>
          </a:bodyPr>
          <a:lstStyle>
            <a:lvl1pPr marL="235159" indent="-235159" algn="l" defTabSz="915216" rtl="0" eaLnBrk="1" latinLnBrk="0" hangingPunct="1">
              <a:lnSpc>
                <a:spcPct val="95000"/>
              </a:lnSpc>
              <a:spcBef>
                <a:spcPts val="1200"/>
              </a:spcBef>
              <a:spcAft>
                <a:spcPts val="400"/>
              </a:spcAft>
              <a:buClr>
                <a:schemeClr val="accent1"/>
              </a:buClr>
              <a:buFont typeface="Wingdings" panose="05000000000000000000" pitchFamily="2" charset="2"/>
              <a:buChar char="§"/>
              <a:defRPr sz="2200" kern="1200">
                <a:solidFill>
                  <a:schemeClr val="tx1"/>
                </a:solidFill>
                <a:latin typeface="+mn-lt"/>
                <a:ea typeface="+mn-ea"/>
                <a:cs typeface="+mn-cs"/>
              </a:defRPr>
            </a:lvl1pPr>
            <a:lvl2pPr marL="457608" indent="-228804"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Char char="§"/>
              <a:defRPr sz="1800" kern="1200">
                <a:solidFill>
                  <a:schemeClr val="tx1"/>
                </a:solidFill>
                <a:latin typeface="+mn-lt"/>
                <a:ea typeface="+mn-ea"/>
                <a:cs typeface="+mn-cs"/>
              </a:defRPr>
            </a:lvl2pPr>
            <a:lvl3pPr marL="686412"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600" kern="1200">
                <a:solidFill>
                  <a:schemeClr val="tx1"/>
                </a:solidFill>
                <a:latin typeface="+mn-lt"/>
                <a:ea typeface="+mn-ea"/>
                <a:cs typeface="+mn-cs"/>
              </a:defRPr>
            </a:lvl3pPr>
            <a:lvl4pPr marL="915216"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400" kern="1200">
                <a:solidFill>
                  <a:schemeClr val="tx1"/>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Char char="§"/>
              <a:tabLst/>
              <a:defRPr lang="en-US" sz="1200" kern="1200" dirty="0">
                <a:solidFill>
                  <a:schemeClr val="tx1"/>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6369" marR="0" lvl="0" indent="-176369" algn="l" defTabSz="686412" rtl="0" eaLnBrk="1" fontAlgn="auto" latinLnBrk="0" hangingPunct="1">
              <a:lnSpc>
                <a:spcPct val="95000"/>
              </a:lnSpc>
              <a:spcBef>
                <a:spcPts val="900"/>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a:ln>
                  <a:noFill/>
                </a:ln>
                <a:solidFill>
                  <a:sysClr val="windowText" lastClr="000000"/>
                </a:solidFill>
                <a:effectLst/>
                <a:uLnTx/>
                <a:uFillTx/>
                <a:latin typeface="Arial"/>
                <a:ea typeface="+mn-ea"/>
                <a:cs typeface="+mn-cs"/>
              </a:rPr>
              <a:t>Reduce primary flash storage needs by &gt;50%</a:t>
            </a:r>
          </a:p>
          <a:p>
            <a:pPr marL="343206" marR="0" lvl="1" indent="-171603" algn="l" defTabSz="686412" rtl="0" eaLnBrk="1" fontAlgn="auto" latinLnBrk="0" hangingPunct="1">
              <a:lnSpc>
                <a:spcPct val="90000"/>
              </a:lnSpc>
              <a:spcBef>
                <a:spcPts val="150"/>
              </a:spcBef>
              <a:spcAft>
                <a:spcPts val="300"/>
              </a:spcAft>
              <a:buClr>
                <a:sysClr val="windowText" lastClr="000000">
                  <a:lumMod val="65000"/>
                  <a:lumOff val="35000"/>
                </a:sysClr>
              </a:buClr>
              <a:buSzTx/>
              <a:buFont typeface="Wingdings" panose="05000000000000000000" pitchFamily="2" charset="2"/>
              <a:buChar char="§"/>
              <a:tabLst/>
              <a:defRPr/>
            </a:pPr>
            <a:r>
              <a:rPr kumimoji="0" lang="en-US" sz="1350" b="0" i="0" u="none" strike="noStrike" kern="1200" cap="none" spc="0" normalizeH="0" baseline="0" noProof="0">
                <a:ln>
                  <a:noFill/>
                </a:ln>
                <a:solidFill>
                  <a:sysClr val="windowText" lastClr="000000"/>
                </a:solidFill>
                <a:effectLst/>
                <a:uLnTx/>
                <a:uFillTx/>
                <a:latin typeface="Arial"/>
                <a:ea typeface="+mn-ea"/>
                <a:cs typeface="+mn-cs"/>
              </a:rPr>
              <a:t>Decrease the size of new system configurations</a:t>
            </a:r>
          </a:p>
          <a:p>
            <a:pPr marL="343206" marR="0" lvl="1" indent="-171603" algn="l" defTabSz="686412" rtl="0" eaLnBrk="1" fontAlgn="auto" latinLnBrk="0" hangingPunct="1">
              <a:lnSpc>
                <a:spcPct val="90000"/>
              </a:lnSpc>
              <a:spcBef>
                <a:spcPts val="150"/>
              </a:spcBef>
              <a:spcAft>
                <a:spcPts val="300"/>
              </a:spcAft>
              <a:buClr>
                <a:sysClr val="windowText" lastClr="000000">
                  <a:lumMod val="65000"/>
                  <a:lumOff val="35000"/>
                </a:sysClr>
              </a:buClr>
              <a:buSzTx/>
              <a:buFont typeface="Wingdings" panose="05000000000000000000" pitchFamily="2" charset="2"/>
              <a:buChar char="§"/>
              <a:tabLst/>
              <a:defRPr/>
            </a:pPr>
            <a:r>
              <a:rPr kumimoji="0" lang="en-US" sz="1350" b="0" i="0" u="none" strike="noStrike" kern="1200" cap="none" spc="0" normalizeH="0" baseline="0" noProof="0">
                <a:ln>
                  <a:noFill/>
                </a:ln>
                <a:solidFill>
                  <a:sysClr val="windowText" lastClr="000000"/>
                </a:solidFill>
                <a:effectLst/>
                <a:uLnTx/>
                <a:uFillTx/>
                <a:latin typeface="Arial"/>
                <a:ea typeface="+mn-ea"/>
                <a:cs typeface="+mn-cs"/>
              </a:rPr>
              <a:t>Reclaim capacity and consolidate more workloads on existing systems </a:t>
            </a:r>
          </a:p>
          <a:p>
            <a:pPr marL="176369" marR="0" lvl="0" indent="-176369" algn="l" defTabSz="686412" rtl="0" eaLnBrk="1" fontAlgn="auto" latinLnBrk="0" hangingPunct="1">
              <a:lnSpc>
                <a:spcPct val="95000"/>
              </a:lnSpc>
              <a:spcBef>
                <a:spcPts val="900"/>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a:ln>
                  <a:noFill/>
                </a:ln>
                <a:solidFill>
                  <a:sysClr val="windowText" lastClr="000000"/>
                </a:solidFill>
                <a:effectLst/>
                <a:uLnTx/>
                <a:uFillTx/>
                <a:latin typeface="Arial"/>
                <a:ea typeface="+mn-ea"/>
                <a:cs typeface="+mn-cs"/>
              </a:rPr>
              <a:t>Simple setup and automated management</a:t>
            </a:r>
          </a:p>
          <a:p>
            <a:pPr marL="343053" marR="0" lvl="2" indent="-171450" algn="l" defTabSz="686412" rtl="0" eaLnBrk="1" fontAlgn="auto" latinLnBrk="0" hangingPunct="1">
              <a:lnSpc>
                <a:spcPct val="100000"/>
              </a:lnSpc>
              <a:spcBef>
                <a:spcPts val="150"/>
              </a:spcBef>
              <a:spcAft>
                <a:spcPts val="150"/>
              </a:spcAft>
              <a:buClr>
                <a:srgbClr val="0067C5"/>
              </a:buClr>
              <a:buSzTx/>
              <a:buFont typeface="Wingdings" panose="05000000000000000000" pitchFamily="2" charset="2"/>
              <a:buChar char="§"/>
              <a:tabLst/>
              <a:defRPr/>
            </a:pPr>
            <a:r>
              <a:rPr kumimoji="0" lang="en-US" sz="1199" b="0" i="0" u="none" strike="noStrike" kern="1200" cap="none" spc="0" normalizeH="0" baseline="0" noProof="0">
                <a:ln>
                  <a:noFill/>
                </a:ln>
                <a:solidFill>
                  <a:sysClr val="windowText" lastClr="000000"/>
                </a:solidFill>
                <a:effectLst/>
                <a:uLnTx/>
                <a:uFillTx/>
                <a:latin typeface="Arial"/>
                <a:ea typeface="+mn-ea"/>
                <a:cs typeface="+mn-cs"/>
              </a:rPr>
              <a:t>Get end-to-end security and encryption</a:t>
            </a:r>
          </a:p>
          <a:p>
            <a:pPr marL="343053" marR="0" lvl="2" indent="-171450" algn="l" defTabSz="686412" rtl="0" eaLnBrk="1" fontAlgn="auto" latinLnBrk="0" hangingPunct="1">
              <a:lnSpc>
                <a:spcPct val="100000"/>
              </a:lnSpc>
              <a:spcBef>
                <a:spcPts val="150"/>
              </a:spcBef>
              <a:spcAft>
                <a:spcPts val="150"/>
              </a:spcAft>
              <a:buClr>
                <a:srgbClr val="0067C5"/>
              </a:buClr>
              <a:buSzTx/>
              <a:buFont typeface="Wingdings" panose="05000000000000000000" pitchFamily="2" charset="2"/>
              <a:buChar char="§"/>
              <a:tabLst/>
              <a:defRPr/>
            </a:pPr>
            <a:r>
              <a:rPr kumimoji="0" lang="en-US" sz="1199" b="0" i="0" u="none" strike="noStrike" kern="1200" cap="none" spc="0" normalizeH="0" baseline="0" noProof="0">
                <a:ln>
                  <a:noFill/>
                </a:ln>
                <a:solidFill>
                  <a:sysClr val="windowText" lastClr="000000"/>
                </a:solidFill>
                <a:effectLst/>
                <a:uLnTx/>
                <a:uFillTx/>
                <a:latin typeface="Arial"/>
                <a:ea typeface="+mn-ea"/>
                <a:cs typeface="+mn-cs"/>
              </a:rPr>
              <a:t>Get reporting on inactive data</a:t>
            </a:r>
            <a:endParaRPr kumimoji="0" lang="en-US" sz="1200" b="0" i="0" u="none" strike="noStrike" kern="1200" cap="none" spc="0" normalizeH="0" baseline="0" noProof="0">
              <a:ln>
                <a:noFill/>
              </a:ln>
              <a:solidFill>
                <a:sysClr val="windowText" lastClr="000000"/>
              </a:solidFill>
              <a:effectLst/>
              <a:uLnTx/>
              <a:uFillTx/>
              <a:latin typeface="Arial"/>
              <a:ea typeface="+mn-ea"/>
              <a:cs typeface="+mn-cs"/>
            </a:endParaRPr>
          </a:p>
          <a:p>
            <a:pPr marL="176369" marR="0" lvl="0" indent="-176369" algn="l" defTabSz="686412" rtl="0" eaLnBrk="1" fontAlgn="auto" latinLnBrk="0" hangingPunct="1">
              <a:lnSpc>
                <a:spcPct val="95000"/>
              </a:lnSpc>
              <a:spcBef>
                <a:spcPts val="900"/>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a:ln>
                  <a:noFill/>
                </a:ln>
                <a:solidFill>
                  <a:sysClr val="windowText" lastClr="000000"/>
                </a:solidFill>
                <a:effectLst/>
                <a:uLnTx/>
                <a:uFillTx/>
                <a:latin typeface="Arial"/>
                <a:ea typeface="+mn-ea"/>
                <a:cs typeface="+mn-cs"/>
              </a:rPr>
              <a:t>Many tiering options</a:t>
            </a:r>
          </a:p>
          <a:p>
            <a:pPr marL="514809" marR="0" lvl="2" indent="-171603" algn="l" defTabSz="686412" rtl="0" eaLnBrk="1" fontAlgn="auto" latinLnBrk="0" hangingPunct="1">
              <a:lnSpc>
                <a:spcPct val="85000"/>
              </a:lnSpc>
              <a:spcBef>
                <a:spcPts val="150"/>
              </a:spcBef>
              <a:spcAft>
                <a:spcPts val="300"/>
              </a:spcAft>
              <a:buClr>
                <a:sysClr val="windowText" lastClr="000000">
                  <a:lumMod val="65000"/>
                  <a:lumOff val="35000"/>
                </a:sysClr>
              </a:buClr>
              <a:buSzTx/>
              <a:buFont typeface="Wingdings" panose="05000000000000000000" pitchFamily="2" charset="2"/>
              <a:buChar char="§"/>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Cloud: Amazon, Microsoft, Google, IBM, Alibaba</a:t>
            </a:r>
          </a:p>
          <a:p>
            <a:pPr marL="514809" marR="0" lvl="2" indent="-171603" algn="l" defTabSz="686412" rtl="0" eaLnBrk="1" fontAlgn="auto" latinLnBrk="0" hangingPunct="1">
              <a:lnSpc>
                <a:spcPct val="85000"/>
              </a:lnSpc>
              <a:spcBef>
                <a:spcPts val="150"/>
              </a:spcBef>
              <a:spcAft>
                <a:spcPts val="300"/>
              </a:spcAft>
              <a:buClr>
                <a:sysClr val="windowText" lastClr="000000">
                  <a:lumMod val="65000"/>
                  <a:lumOff val="35000"/>
                </a:sysClr>
              </a:buClr>
              <a:buSzTx/>
              <a:buFont typeface="Wingdings" panose="05000000000000000000" pitchFamily="2" charset="2"/>
              <a:buChar char="§"/>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On-Premises: NetApp </a:t>
            </a:r>
            <a:r>
              <a:rPr kumimoji="0" lang="en-US" sz="1200" b="0" i="0" u="none" strike="noStrike" kern="1200" cap="none" spc="0" normalizeH="0" baseline="0" noProof="0" err="1">
                <a:ln>
                  <a:noFill/>
                </a:ln>
                <a:solidFill>
                  <a:sysClr val="windowText" lastClr="000000"/>
                </a:solidFill>
                <a:effectLst/>
                <a:uLnTx/>
                <a:uFillTx/>
                <a:latin typeface="Arial"/>
                <a:ea typeface="+mn-ea"/>
                <a:cs typeface="+mn-cs"/>
              </a:rPr>
              <a:t>StorageGRID</a:t>
            </a:r>
            <a:r>
              <a:rPr kumimoji="0" lang="en-US" sz="1200" b="0" i="0" u="none" strike="noStrike" kern="1200" cap="none" spc="0" normalizeH="0" baseline="0" noProof="0">
                <a:ln>
                  <a:noFill/>
                </a:ln>
                <a:solidFill>
                  <a:sysClr val="windowText" lastClr="000000"/>
                </a:solidFill>
                <a:effectLst/>
                <a:uLnTx/>
                <a:uFillTx/>
                <a:latin typeface="Arial"/>
                <a:ea typeface="+mn-ea"/>
                <a:cs typeface="+mn-cs"/>
              </a:rPr>
              <a:t>, IBM (</a:t>
            </a:r>
            <a:r>
              <a:rPr kumimoji="0" lang="en-US" sz="1200" b="0" i="0" u="none" strike="noStrike" kern="1200" cap="none" spc="0" normalizeH="0" baseline="0" noProof="0" err="1">
                <a:ln>
                  <a:noFill/>
                </a:ln>
                <a:solidFill>
                  <a:sysClr val="windowText" lastClr="000000"/>
                </a:solidFill>
                <a:effectLst/>
                <a:uLnTx/>
                <a:uFillTx/>
                <a:latin typeface="Arial"/>
                <a:ea typeface="+mn-ea"/>
                <a:cs typeface="+mn-cs"/>
              </a:rPr>
              <a:t>Cleversafe</a:t>
            </a:r>
            <a:r>
              <a:rPr kumimoji="0" lang="en-US" sz="1200" b="0" i="0" u="none" strike="noStrike" kern="1200" cap="none" spc="0" normalizeH="0" baseline="0" noProof="0">
                <a:ln>
                  <a:noFill/>
                </a:ln>
                <a:solidFill>
                  <a:sysClr val="windowText" lastClr="000000"/>
                </a:solidFill>
                <a:effectLst/>
                <a:uLnTx/>
                <a:uFillTx/>
                <a:latin typeface="Arial"/>
                <a:ea typeface="+mn-ea"/>
                <a:cs typeface="+mn-cs"/>
              </a:rPr>
              <a:t>)</a:t>
            </a:r>
          </a:p>
          <a:p>
            <a:pPr marL="176369" marR="0" lvl="0" indent="-176369" algn="l" defTabSz="686412" rtl="0" eaLnBrk="1" fontAlgn="auto" latinLnBrk="0" hangingPunct="1">
              <a:lnSpc>
                <a:spcPct val="95000"/>
              </a:lnSpc>
              <a:spcBef>
                <a:spcPts val="900"/>
              </a:spcBef>
              <a:spcAft>
                <a:spcPts val="300"/>
              </a:spcAft>
              <a:buClr>
                <a:srgbClr val="0067C5"/>
              </a:buClr>
              <a:buSzTx/>
              <a:buFont typeface="Wingdings" panose="05000000000000000000" pitchFamily="2" charset="2"/>
              <a:buChar char="§"/>
              <a:tabLst/>
              <a:defRPr/>
            </a:pPr>
            <a:r>
              <a:rPr kumimoji="0" lang="en-US" sz="1650" b="0" i="0" u="none" strike="noStrike" kern="1200" cap="none" spc="0" normalizeH="0" baseline="0" noProof="0">
                <a:ln>
                  <a:noFill/>
                </a:ln>
                <a:solidFill>
                  <a:sysClr val="windowText" lastClr="000000"/>
                </a:solidFill>
                <a:effectLst/>
                <a:uLnTx/>
                <a:uFillTx/>
                <a:latin typeface="Arial"/>
                <a:ea typeface="+mn-ea"/>
                <a:cs typeface="+mn-cs"/>
              </a:rPr>
              <a:t>Promotion: </a:t>
            </a:r>
            <a:r>
              <a:rPr kumimoji="0" lang="en-US" sz="1650" b="0" i="1" u="none" strike="noStrike" kern="1200" cap="none" spc="0" normalizeH="0" baseline="0" noProof="0">
                <a:ln>
                  <a:noFill/>
                </a:ln>
                <a:solidFill>
                  <a:sysClr val="windowText" lastClr="000000"/>
                </a:solidFill>
                <a:effectLst/>
                <a:uLnTx/>
                <a:uFillTx/>
                <a:latin typeface="Arial"/>
                <a:ea typeface="+mn-ea"/>
                <a:cs typeface="+mn-cs"/>
              </a:rPr>
              <a:t>First 10TB FabricPool term license at no cost</a:t>
            </a:r>
          </a:p>
        </p:txBody>
      </p:sp>
      <p:cxnSp>
        <p:nvCxnSpPr>
          <p:cNvPr id="24" name="Straight Connector 23">
            <a:extLst>
              <a:ext uri="{FF2B5EF4-FFF2-40B4-BE49-F238E27FC236}">
                <a16:creationId xmlns:a16="http://schemas.microsoft.com/office/drawing/2014/main" id="{6CFA970D-3CAA-EF4F-A4EA-839F0C1BDF13}"/>
              </a:ext>
            </a:extLst>
          </p:cNvPr>
          <p:cNvCxnSpPr>
            <a:cxnSpLocks/>
          </p:cNvCxnSpPr>
          <p:nvPr/>
        </p:nvCxnSpPr>
        <p:spPr>
          <a:xfrm flipV="1">
            <a:off x="3213347" y="1320231"/>
            <a:ext cx="0" cy="3503909"/>
          </a:xfrm>
          <a:prstGeom prst="line">
            <a:avLst/>
          </a:prstGeom>
          <a:noFill/>
          <a:ln w="12700" cap="flat" cmpd="sng" algn="ctr">
            <a:gradFill>
              <a:gsLst>
                <a:gs pos="0">
                  <a:sysClr val="window" lastClr="FFFFFF">
                    <a:lumMod val="95000"/>
                  </a:sysClr>
                </a:gs>
                <a:gs pos="25000">
                  <a:srgbClr val="9F9F9F"/>
                </a:gs>
                <a:gs pos="75000">
                  <a:sysClr val="window" lastClr="FFFFFF">
                    <a:lumMod val="75000"/>
                  </a:sysClr>
                </a:gs>
                <a:gs pos="50000">
                  <a:sysClr val="windowText" lastClr="000000">
                    <a:lumMod val="73000"/>
                    <a:lumOff val="27000"/>
                  </a:sysClr>
                </a:gs>
                <a:gs pos="100000">
                  <a:sysClr val="window" lastClr="FFFFFF">
                    <a:lumMod val="95000"/>
                  </a:sysClr>
                </a:gs>
              </a:gsLst>
              <a:lin ang="5400000" scaled="1"/>
            </a:gradFill>
            <a:prstDash val="solid"/>
          </a:ln>
          <a:effectLst/>
        </p:spPr>
      </p:cxnSp>
      <p:sp>
        <p:nvSpPr>
          <p:cNvPr id="25" name="Freeform 51">
            <a:extLst>
              <a:ext uri="{FF2B5EF4-FFF2-40B4-BE49-F238E27FC236}">
                <a16:creationId xmlns:a16="http://schemas.microsoft.com/office/drawing/2014/main" id="{6976845E-E15F-814C-ABF4-AD72F14D936A}"/>
              </a:ext>
            </a:extLst>
          </p:cNvPr>
          <p:cNvSpPr>
            <a:spLocks noChangeAspect="1" noEditPoints="1"/>
          </p:cNvSpPr>
          <p:nvPr/>
        </p:nvSpPr>
        <p:spPr bwMode="auto">
          <a:xfrm>
            <a:off x="839483" y="2878247"/>
            <a:ext cx="756488" cy="495132"/>
          </a:xfrm>
          <a:custGeom>
            <a:avLst/>
            <a:gdLst>
              <a:gd name="T0" fmla="*/ 1659 w 3439"/>
              <a:gd name="T1" fmla="*/ 823 h 2259"/>
              <a:gd name="T2" fmla="*/ 1550 w 3439"/>
              <a:gd name="T3" fmla="*/ 932 h 2259"/>
              <a:gd name="T4" fmla="*/ 1516 w 3439"/>
              <a:gd name="T5" fmla="*/ 1087 h 2259"/>
              <a:gd name="T6" fmla="*/ 1569 w 3439"/>
              <a:gd name="T7" fmla="*/ 1229 h 2259"/>
              <a:gd name="T8" fmla="*/ 1639 w 3439"/>
              <a:gd name="T9" fmla="*/ 1307 h 2259"/>
              <a:gd name="T10" fmla="*/ 1653 w 3439"/>
              <a:gd name="T11" fmla="*/ 1771 h 2259"/>
              <a:gd name="T12" fmla="*/ 1728 w 3439"/>
              <a:gd name="T13" fmla="*/ 1856 h 2259"/>
              <a:gd name="T14" fmla="*/ 1845 w 3439"/>
              <a:gd name="T15" fmla="*/ 1861 h 2259"/>
              <a:gd name="T16" fmla="*/ 1930 w 3439"/>
              <a:gd name="T17" fmla="*/ 1780 h 2259"/>
              <a:gd name="T18" fmla="*/ 1946 w 3439"/>
              <a:gd name="T19" fmla="*/ 1307 h 2259"/>
              <a:gd name="T20" fmla="*/ 2013 w 3439"/>
              <a:gd name="T21" fmla="*/ 1233 h 2259"/>
              <a:gd name="T22" fmla="*/ 2066 w 3439"/>
              <a:gd name="T23" fmla="*/ 1103 h 2259"/>
              <a:gd name="T24" fmla="*/ 2041 w 3439"/>
              <a:gd name="T25" fmla="*/ 946 h 2259"/>
              <a:gd name="T26" fmla="*/ 1935 w 3439"/>
              <a:gd name="T27" fmla="*/ 830 h 2259"/>
              <a:gd name="T28" fmla="*/ 1777 w 3439"/>
              <a:gd name="T29" fmla="*/ 790 h 2259"/>
              <a:gd name="T30" fmla="*/ 2287 w 3439"/>
              <a:gd name="T31" fmla="*/ 28 h 2259"/>
              <a:gd name="T32" fmla="*/ 2535 w 3439"/>
              <a:gd name="T33" fmla="*/ 143 h 2259"/>
              <a:gd name="T34" fmla="*/ 2730 w 3439"/>
              <a:gd name="T35" fmla="*/ 331 h 2259"/>
              <a:gd name="T36" fmla="*/ 2857 w 3439"/>
              <a:gd name="T37" fmla="*/ 571 h 2259"/>
              <a:gd name="T38" fmla="*/ 2900 w 3439"/>
              <a:gd name="T39" fmla="*/ 844 h 2259"/>
              <a:gd name="T40" fmla="*/ 2911 w 3439"/>
              <a:gd name="T41" fmla="*/ 917 h 2259"/>
              <a:gd name="T42" fmla="*/ 2971 w 3439"/>
              <a:gd name="T43" fmla="*/ 927 h 2259"/>
              <a:gd name="T44" fmla="*/ 3062 w 3439"/>
              <a:gd name="T45" fmla="*/ 953 h 2259"/>
              <a:gd name="T46" fmla="*/ 3168 w 3439"/>
              <a:gd name="T47" fmla="*/ 1005 h 2259"/>
              <a:gd name="T48" fmla="*/ 3274 w 3439"/>
              <a:gd name="T49" fmla="*/ 1092 h 2259"/>
              <a:gd name="T50" fmla="*/ 3365 w 3439"/>
              <a:gd name="T51" fmla="*/ 1223 h 2259"/>
              <a:gd name="T52" fmla="*/ 3425 w 3439"/>
              <a:gd name="T53" fmla="*/ 1406 h 2259"/>
              <a:gd name="T54" fmla="*/ 3436 w 3439"/>
              <a:gd name="T55" fmla="*/ 1649 h 2259"/>
              <a:gd name="T56" fmla="*/ 3368 w 3439"/>
              <a:gd name="T57" fmla="*/ 1889 h 2259"/>
              <a:gd name="T58" fmla="*/ 3224 w 3439"/>
              <a:gd name="T59" fmla="*/ 2083 h 2259"/>
              <a:gd name="T60" fmla="*/ 3019 w 3439"/>
              <a:gd name="T61" fmla="*/ 2212 h 2259"/>
              <a:gd name="T62" fmla="*/ 2774 w 3439"/>
              <a:gd name="T63" fmla="*/ 2259 h 2259"/>
              <a:gd name="T64" fmla="*/ 502 w 3439"/>
              <a:gd name="T65" fmla="*/ 2234 h 2259"/>
              <a:gd name="T66" fmla="*/ 284 w 3439"/>
              <a:gd name="T67" fmla="*/ 2130 h 2259"/>
              <a:gd name="T68" fmla="*/ 115 w 3439"/>
              <a:gd name="T69" fmla="*/ 1960 h 2259"/>
              <a:gd name="T70" fmla="*/ 17 w 3439"/>
              <a:gd name="T71" fmla="*/ 1739 h 2259"/>
              <a:gd name="T72" fmla="*/ 6 w 3439"/>
              <a:gd name="T73" fmla="*/ 1487 h 2259"/>
              <a:gd name="T74" fmla="*/ 84 w 3439"/>
              <a:gd name="T75" fmla="*/ 1256 h 2259"/>
              <a:gd name="T76" fmla="*/ 234 w 3439"/>
              <a:gd name="T77" fmla="*/ 1073 h 2259"/>
              <a:gd name="T78" fmla="*/ 438 w 3439"/>
              <a:gd name="T79" fmla="*/ 952 h 2259"/>
              <a:gd name="T80" fmla="*/ 550 w 3439"/>
              <a:gd name="T81" fmla="*/ 884 h 2259"/>
              <a:gd name="T82" fmla="*/ 562 w 3439"/>
              <a:gd name="T83" fmla="*/ 727 h 2259"/>
              <a:gd name="T84" fmla="*/ 656 w 3439"/>
              <a:gd name="T85" fmla="*/ 552 h 2259"/>
              <a:gd name="T86" fmla="*/ 813 w 3439"/>
              <a:gd name="T87" fmla="*/ 437 h 2259"/>
              <a:gd name="T88" fmla="*/ 1006 w 3439"/>
              <a:gd name="T89" fmla="*/ 405 h 2259"/>
              <a:gd name="T90" fmla="*/ 1185 w 3439"/>
              <a:gd name="T91" fmla="*/ 461 h 2259"/>
              <a:gd name="T92" fmla="*/ 1291 w 3439"/>
              <a:gd name="T93" fmla="*/ 547 h 2259"/>
              <a:gd name="T94" fmla="*/ 1423 w 3439"/>
              <a:gd name="T95" fmla="*/ 312 h 2259"/>
              <a:gd name="T96" fmla="*/ 1620 w 3439"/>
              <a:gd name="T97" fmla="*/ 133 h 2259"/>
              <a:gd name="T98" fmla="*/ 1865 w 3439"/>
              <a:gd name="T99" fmla="*/ 25 h 2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39" h="2259">
                <a:moveTo>
                  <a:pt x="1777" y="790"/>
                </a:moveTo>
                <a:lnTo>
                  <a:pt x="1733" y="796"/>
                </a:lnTo>
                <a:lnTo>
                  <a:pt x="1695" y="807"/>
                </a:lnTo>
                <a:lnTo>
                  <a:pt x="1659" y="823"/>
                </a:lnTo>
                <a:lnTo>
                  <a:pt x="1626" y="844"/>
                </a:lnTo>
                <a:lnTo>
                  <a:pt x="1597" y="869"/>
                </a:lnTo>
                <a:lnTo>
                  <a:pt x="1571" y="899"/>
                </a:lnTo>
                <a:lnTo>
                  <a:pt x="1550" y="932"/>
                </a:lnTo>
                <a:lnTo>
                  <a:pt x="1533" y="968"/>
                </a:lnTo>
                <a:lnTo>
                  <a:pt x="1523" y="1006"/>
                </a:lnTo>
                <a:lnTo>
                  <a:pt x="1516" y="1048"/>
                </a:lnTo>
                <a:lnTo>
                  <a:pt x="1516" y="1087"/>
                </a:lnTo>
                <a:lnTo>
                  <a:pt x="1523" y="1126"/>
                </a:lnTo>
                <a:lnTo>
                  <a:pt x="1533" y="1163"/>
                </a:lnTo>
                <a:lnTo>
                  <a:pt x="1549" y="1197"/>
                </a:lnTo>
                <a:lnTo>
                  <a:pt x="1569" y="1229"/>
                </a:lnTo>
                <a:lnTo>
                  <a:pt x="1593" y="1257"/>
                </a:lnTo>
                <a:lnTo>
                  <a:pt x="1621" y="1282"/>
                </a:lnTo>
                <a:lnTo>
                  <a:pt x="1632" y="1294"/>
                </a:lnTo>
                <a:lnTo>
                  <a:pt x="1639" y="1307"/>
                </a:lnTo>
                <a:lnTo>
                  <a:pt x="1642" y="1323"/>
                </a:lnTo>
                <a:lnTo>
                  <a:pt x="1642" y="1712"/>
                </a:lnTo>
                <a:lnTo>
                  <a:pt x="1644" y="1741"/>
                </a:lnTo>
                <a:lnTo>
                  <a:pt x="1653" y="1771"/>
                </a:lnTo>
                <a:lnTo>
                  <a:pt x="1665" y="1797"/>
                </a:lnTo>
                <a:lnTo>
                  <a:pt x="1682" y="1820"/>
                </a:lnTo>
                <a:lnTo>
                  <a:pt x="1703" y="1840"/>
                </a:lnTo>
                <a:lnTo>
                  <a:pt x="1728" y="1856"/>
                </a:lnTo>
                <a:lnTo>
                  <a:pt x="1755" y="1866"/>
                </a:lnTo>
                <a:lnTo>
                  <a:pt x="1785" y="1870"/>
                </a:lnTo>
                <a:lnTo>
                  <a:pt x="1816" y="1869"/>
                </a:lnTo>
                <a:lnTo>
                  <a:pt x="1845" y="1861"/>
                </a:lnTo>
                <a:lnTo>
                  <a:pt x="1873" y="1848"/>
                </a:lnTo>
                <a:lnTo>
                  <a:pt x="1897" y="1829"/>
                </a:lnTo>
                <a:lnTo>
                  <a:pt x="1916" y="1806"/>
                </a:lnTo>
                <a:lnTo>
                  <a:pt x="1930" y="1780"/>
                </a:lnTo>
                <a:lnTo>
                  <a:pt x="1940" y="1752"/>
                </a:lnTo>
                <a:lnTo>
                  <a:pt x="1943" y="1720"/>
                </a:lnTo>
                <a:lnTo>
                  <a:pt x="1943" y="1323"/>
                </a:lnTo>
                <a:lnTo>
                  <a:pt x="1946" y="1307"/>
                </a:lnTo>
                <a:lnTo>
                  <a:pt x="1953" y="1294"/>
                </a:lnTo>
                <a:lnTo>
                  <a:pt x="1964" y="1282"/>
                </a:lnTo>
                <a:lnTo>
                  <a:pt x="1990" y="1259"/>
                </a:lnTo>
                <a:lnTo>
                  <a:pt x="2013" y="1233"/>
                </a:lnTo>
                <a:lnTo>
                  <a:pt x="2032" y="1204"/>
                </a:lnTo>
                <a:lnTo>
                  <a:pt x="2047" y="1172"/>
                </a:lnTo>
                <a:lnTo>
                  <a:pt x="2059" y="1139"/>
                </a:lnTo>
                <a:lnTo>
                  <a:pt x="2066" y="1103"/>
                </a:lnTo>
                <a:lnTo>
                  <a:pt x="2068" y="1066"/>
                </a:lnTo>
                <a:lnTo>
                  <a:pt x="2065" y="1023"/>
                </a:lnTo>
                <a:lnTo>
                  <a:pt x="2056" y="984"/>
                </a:lnTo>
                <a:lnTo>
                  <a:pt x="2041" y="946"/>
                </a:lnTo>
                <a:lnTo>
                  <a:pt x="2021" y="911"/>
                </a:lnTo>
                <a:lnTo>
                  <a:pt x="1997" y="880"/>
                </a:lnTo>
                <a:lnTo>
                  <a:pt x="1968" y="853"/>
                </a:lnTo>
                <a:lnTo>
                  <a:pt x="1935" y="830"/>
                </a:lnTo>
                <a:lnTo>
                  <a:pt x="1900" y="811"/>
                </a:lnTo>
                <a:lnTo>
                  <a:pt x="1861" y="798"/>
                </a:lnTo>
                <a:lnTo>
                  <a:pt x="1820" y="791"/>
                </a:lnTo>
                <a:lnTo>
                  <a:pt x="1777" y="790"/>
                </a:lnTo>
                <a:close/>
                <a:moveTo>
                  <a:pt x="2074" y="0"/>
                </a:moveTo>
                <a:lnTo>
                  <a:pt x="2146" y="3"/>
                </a:lnTo>
                <a:lnTo>
                  <a:pt x="2219" y="13"/>
                </a:lnTo>
                <a:lnTo>
                  <a:pt x="2287" y="28"/>
                </a:lnTo>
                <a:lnTo>
                  <a:pt x="2354" y="49"/>
                </a:lnTo>
                <a:lnTo>
                  <a:pt x="2417" y="76"/>
                </a:lnTo>
                <a:lnTo>
                  <a:pt x="2478" y="108"/>
                </a:lnTo>
                <a:lnTo>
                  <a:pt x="2535" y="143"/>
                </a:lnTo>
                <a:lnTo>
                  <a:pt x="2590" y="184"/>
                </a:lnTo>
                <a:lnTo>
                  <a:pt x="2640" y="229"/>
                </a:lnTo>
                <a:lnTo>
                  <a:pt x="2687" y="278"/>
                </a:lnTo>
                <a:lnTo>
                  <a:pt x="2730" y="331"/>
                </a:lnTo>
                <a:lnTo>
                  <a:pt x="2769" y="386"/>
                </a:lnTo>
                <a:lnTo>
                  <a:pt x="2803" y="445"/>
                </a:lnTo>
                <a:lnTo>
                  <a:pt x="2832" y="507"/>
                </a:lnTo>
                <a:lnTo>
                  <a:pt x="2857" y="571"/>
                </a:lnTo>
                <a:lnTo>
                  <a:pt x="2876" y="637"/>
                </a:lnTo>
                <a:lnTo>
                  <a:pt x="2889" y="705"/>
                </a:lnTo>
                <a:lnTo>
                  <a:pt x="2898" y="774"/>
                </a:lnTo>
                <a:lnTo>
                  <a:pt x="2900" y="844"/>
                </a:lnTo>
                <a:lnTo>
                  <a:pt x="2897" y="916"/>
                </a:lnTo>
                <a:lnTo>
                  <a:pt x="2898" y="916"/>
                </a:lnTo>
                <a:lnTo>
                  <a:pt x="2903" y="917"/>
                </a:lnTo>
                <a:lnTo>
                  <a:pt x="2911" y="917"/>
                </a:lnTo>
                <a:lnTo>
                  <a:pt x="2923" y="919"/>
                </a:lnTo>
                <a:lnTo>
                  <a:pt x="2937" y="921"/>
                </a:lnTo>
                <a:lnTo>
                  <a:pt x="2952" y="923"/>
                </a:lnTo>
                <a:lnTo>
                  <a:pt x="2971" y="927"/>
                </a:lnTo>
                <a:lnTo>
                  <a:pt x="2991" y="931"/>
                </a:lnTo>
                <a:lnTo>
                  <a:pt x="3014" y="937"/>
                </a:lnTo>
                <a:lnTo>
                  <a:pt x="3037" y="944"/>
                </a:lnTo>
                <a:lnTo>
                  <a:pt x="3062" y="953"/>
                </a:lnTo>
                <a:lnTo>
                  <a:pt x="3087" y="963"/>
                </a:lnTo>
                <a:lnTo>
                  <a:pt x="3114" y="975"/>
                </a:lnTo>
                <a:lnTo>
                  <a:pt x="3141" y="989"/>
                </a:lnTo>
                <a:lnTo>
                  <a:pt x="3168" y="1005"/>
                </a:lnTo>
                <a:lnTo>
                  <a:pt x="3195" y="1023"/>
                </a:lnTo>
                <a:lnTo>
                  <a:pt x="3221" y="1043"/>
                </a:lnTo>
                <a:lnTo>
                  <a:pt x="3249" y="1066"/>
                </a:lnTo>
                <a:lnTo>
                  <a:pt x="3274" y="1092"/>
                </a:lnTo>
                <a:lnTo>
                  <a:pt x="3299" y="1120"/>
                </a:lnTo>
                <a:lnTo>
                  <a:pt x="3322" y="1151"/>
                </a:lnTo>
                <a:lnTo>
                  <a:pt x="3344" y="1185"/>
                </a:lnTo>
                <a:lnTo>
                  <a:pt x="3365" y="1223"/>
                </a:lnTo>
                <a:lnTo>
                  <a:pt x="3383" y="1263"/>
                </a:lnTo>
                <a:lnTo>
                  <a:pt x="3399" y="1307"/>
                </a:lnTo>
                <a:lnTo>
                  <a:pt x="3413" y="1355"/>
                </a:lnTo>
                <a:lnTo>
                  <a:pt x="3425" y="1406"/>
                </a:lnTo>
                <a:lnTo>
                  <a:pt x="3433" y="1462"/>
                </a:lnTo>
                <a:lnTo>
                  <a:pt x="3438" y="1521"/>
                </a:lnTo>
                <a:lnTo>
                  <a:pt x="3439" y="1584"/>
                </a:lnTo>
                <a:lnTo>
                  <a:pt x="3436" y="1649"/>
                </a:lnTo>
                <a:lnTo>
                  <a:pt x="3428" y="1713"/>
                </a:lnTo>
                <a:lnTo>
                  <a:pt x="3413" y="1774"/>
                </a:lnTo>
                <a:lnTo>
                  <a:pt x="3393" y="1832"/>
                </a:lnTo>
                <a:lnTo>
                  <a:pt x="3368" y="1889"/>
                </a:lnTo>
                <a:lnTo>
                  <a:pt x="3339" y="1943"/>
                </a:lnTo>
                <a:lnTo>
                  <a:pt x="3304" y="1993"/>
                </a:lnTo>
                <a:lnTo>
                  <a:pt x="3265" y="2040"/>
                </a:lnTo>
                <a:lnTo>
                  <a:pt x="3224" y="2083"/>
                </a:lnTo>
                <a:lnTo>
                  <a:pt x="3177" y="2122"/>
                </a:lnTo>
                <a:lnTo>
                  <a:pt x="3127" y="2156"/>
                </a:lnTo>
                <a:lnTo>
                  <a:pt x="3075" y="2187"/>
                </a:lnTo>
                <a:lnTo>
                  <a:pt x="3019" y="2212"/>
                </a:lnTo>
                <a:lnTo>
                  <a:pt x="2962" y="2233"/>
                </a:lnTo>
                <a:lnTo>
                  <a:pt x="2901" y="2247"/>
                </a:lnTo>
                <a:lnTo>
                  <a:pt x="2839" y="2256"/>
                </a:lnTo>
                <a:lnTo>
                  <a:pt x="2774" y="2259"/>
                </a:lnTo>
                <a:lnTo>
                  <a:pt x="686" y="2259"/>
                </a:lnTo>
                <a:lnTo>
                  <a:pt x="623" y="2257"/>
                </a:lnTo>
                <a:lnTo>
                  <a:pt x="561" y="2249"/>
                </a:lnTo>
                <a:lnTo>
                  <a:pt x="502" y="2234"/>
                </a:lnTo>
                <a:lnTo>
                  <a:pt x="444" y="2215"/>
                </a:lnTo>
                <a:lnTo>
                  <a:pt x="388" y="2192"/>
                </a:lnTo>
                <a:lnTo>
                  <a:pt x="334" y="2164"/>
                </a:lnTo>
                <a:lnTo>
                  <a:pt x="284" y="2130"/>
                </a:lnTo>
                <a:lnTo>
                  <a:pt x="237" y="2093"/>
                </a:lnTo>
                <a:lnTo>
                  <a:pt x="193" y="2053"/>
                </a:lnTo>
                <a:lnTo>
                  <a:pt x="152" y="2009"/>
                </a:lnTo>
                <a:lnTo>
                  <a:pt x="115" y="1960"/>
                </a:lnTo>
                <a:lnTo>
                  <a:pt x="84" y="1909"/>
                </a:lnTo>
                <a:lnTo>
                  <a:pt x="57" y="1856"/>
                </a:lnTo>
                <a:lnTo>
                  <a:pt x="34" y="1798"/>
                </a:lnTo>
                <a:lnTo>
                  <a:pt x="17" y="1739"/>
                </a:lnTo>
                <a:lnTo>
                  <a:pt x="5" y="1677"/>
                </a:lnTo>
                <a:lnTo>
                  <a:pt x="0" y="1615"/>
                </a:lnTo>
                <a:lnTo>
                  <a:pt x="0" y="1550"/>
                </a:lnTo>
                <a:lnTo>
                  <a:pt x="6" y="1487"/>
                </a:lnTo>
                <a:lnTo>
                  <a:pt x="18" y="1426"/>
                </a:lnTo>
                <a:lnTo>
                  <a:pt x="35" y="1367"/>
                </a:lnTo>
                <a:lnTo>
                  <a:pt x="57" y="1311"/>
                </a:lnTo>
                <a:lnTo>
                  <a:pt x="84" y="1256"/>
                </a:lnTo>
                <a:lnTo>
                  <a:pt x="115" y="1206"/>
                </a:lnTo>
                <a:lnTo>
                  <a:pt x="151" y="1158"/>
                </a:lnTo>
                <a:lnTo>
                  <a:pt x="190" y="1114"/>
                </a:lnTo>
                <a:lnTo>
                  <a:pt x="234" y="1073"/>
                </a:lnTo>
                <a:lnTo>
                  <a:pt x="280" y="1036"/>
                </a:lnTo>
                <a:lnTo>
                  <a:pt x="330" y="1004"/>
                </a:lnTo>
                <a:lnTo>
                  <a:pt x="382" y="975"/>
                </a:lnTo>
                <a:lnTo>
                  <a:pt x="438" y="952"/>
                </a:lnTo>
                <a:lnTo>
                  <a:pt x="495" y="934"/>
                </a:lnTo>
                <a:lnTo>
                  <a:pt x="555" y="921"/>
                </a:lnTo>
                <a:lnTo>
                  <a:pt x="556" y="921"/>
                </a:lnTo>
                <a:lnTo>
                  <a:pt x="550" y="884"/>
                </a:lnTo>
                <a:lnTo>
                  <a:pt x="548" y="846"/>
                </a:lnTo>
                <a:lnTo>
                  <a:pt x="549" y="808"/>
                </a:lnTo>
                <a:lnTo>
                  <a:pt x="553" y="768"/>
                </a:lnTo>
                <a:lnTo>
                  <a:pt x="562" y="727"/>
                </a:lnTo>
                <a:lnTo>
                  <a:pt x="578" y="680"/>
                </a:lnTo>
                <a:lnTo>
                  <a:pt x="599" y="634"/>
                </a:lnTo>
                <a:lnTo>
                  <a:pt x="625" y="592"/>
                </a:lnTo>
                <a:lnTo>
                  <a:pt x="656" y="552"/>
                </a:lnTo>
                <a:lnTo>
                  <a:pt x="689" y="517"/>
                </a:lnTo>
                <a:lnTo>
                  <a:pt x="727" y="486"/>
                </a:lnTo>
                <a:lnTo>
                  <a:pt x="769" y="459"/>
                </a:lnTo>
                <a:lnTo>
                  <a:pt x="813" y="437"/>
                </a:lnTo>
                <a:lnTo>
                  <a:pt x="859" y="421"/>
                </a:lnTo>
                <a:lnTo>
                  <a:pt x="907" y="409"/>
                </a:lnTo>
                <a:lnTo>
                  <a:pt x="957" y="404"/>
                </a:lnTo>
                <a:lnTo>
                  <a:pt x="1006" y="405"/>
                </a:lnTo>
                <a:lnTo>
                  <a:pt x="1054" y="412"/>
                </a:lnTo>
                <a:lnTo>
                  <a:pt x="1100" y="423"/>
                </a:lnTo>
                <a:lnTo>
                  <a:pt x="1143" y="440"/>
                </a:lnTo>
                <a:lnTo>
                  <a:pt x="1185" y="461"/>
                </a:lnTo>
                <a:lnTo>
                  <a:pt x="1222" y="485"/>
                </a:lnTo>
                <a:lnTo>
                  <a:pt x="1258" y="514"/>
                </a:lnTo>
                <a:lnTo>
                  <a:pt x="1290" y="547"/>
                </a:lnTo>
                <a:lnTo>
                  <a:pt x="1291" y="547"/>
                </a:lnTo>
                <a:lnTo>
                  <a:pt x="1318" y="484"/>
                </a:lnTo>
                <a:lnTo>
                  <a:pt x="1348" y="423"/>
                </a:lnTo>
                <a:lnTo>
                  <a:pt x="1383" y="366"/>
                </a:lnTo>
                <a:lnTo>
                  <a:pt x="1423" y="312"/>
                </a:lnTo>
                <a:lnTo>
                  <a:pt x="1467" y="262"/>
                </a:lnTo>
                <a:lnTo>
                  <a:pt x="1514" y="214"/>
                </a:lnTo>
                <a:lnTo>
                  <a:pt x="1566" y="172"/>
                </a:lnTo>
                <a:lnTo>
                  <a:pt x="1620" y="133"/>
                </a:lnTo>
                <a:lnTo>
                  <a:pt x="1678" y="98"/>
                </a:lnTo>
                <a:lnTo>
                  <a:pt x="1737" y="69"/>
                </a:lnTo>
                <a:lnTo>
                  <a:pt x="1800" y="45"/>
                </a:lnTo>
                <a:lnTo>
                  <a:pt x="1865" y="25"/>
                </a:lnTo>
                <a:lnTo>
                  <a:pt x="1933" y="10"/>
                </a:lnTo>
                <a:lnTo>
                  <a:pt x="2002" y="2"/>
                </a:lnTo>
                <a:lnTo>
                  <a:pt x="2074" y="0"/>
                </a:lnTo>
                <a:close/>
              </a:path>
            </a:pathLst>
          </a:custGeom>
          <a:solidFill>
            <a:srgbClr val="0067C5">
              <a:lumMod val="20000"/>
              <a:lumOff val="80000"/>
            </a:srgbClr>
          </a:solidFill>
          <a:ln w="0">
            <a:solidFill>
              <a:srgbClr val="0067C5">
                <a:lumMod val="75000"/>
              </a:srgbClr>
            </a:solidFill>
            <a:prstDash val="solid"/>
            <a:round/>
            <a:headEnd/>
            <a:tailEnd/>
          </a:ln>
        </p:spPr>
        <p:txBody>
          <a:bodyPr vert="horz" wrap="square" lIns="68580" tIns="34290" rIns="68580" bIns="34290" numCol="1" anchor="b" anchorCtr="0" compatLnSpc="1">
            <a:prstTxWarp prst="textNoShape">
              <a:avLst/>
            </a:prstTxWarp>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pitchFamily="34" charset="0"/>
                <a:ea typeface="+mn-ea"/>
                <a:cs typeface="+mn-cs"/>
              </a:rPr>
              <a:t>Private Cloud</a:t>
            </a:r>
          </a:p>
        </p:txBody>
      </p:sp>
      <p:sp>
        <p:nvSpPr>
          <p:cNvPr id="26" name="Freeform 40">
            <a:extLst>
              <a:ext uri="{FF2B5EF4-FFF2-40B4-BE49-F238E27FC236}">
                <a16:creationId xmlns:a16="http://schemas.microsoft.com/office/drawing/2014/main" id="{261DDB62-6E71-6D40-8349-364252CC41AF}"/>
              </a:ext>
            </a:extLst>
          </p:cNvPr>
          <p:cNvSpPr>
            <a:spLocks noChangeAspect="1"/>
          </p:cNvSpPr>
          <p:nvPr/>
        </p:nvSpPr>
        <p:spPr bwMode="auto">
          <a:xfrm>
            <a:off x="1793233" y="2878247"/>
            <a:ext cx="756488" cy="495132"/>
          </a:xfrm>
          <a:custGeom>
            <a:avLst/>
            <a:gdLst>
              <a:gd name="T0" fmla="*/ 2229 w 3455"/>
              <a:gd name="T1" fmla="*/ 14 h 2261"/>
              <a:gd name="T2" fmla="*/ 2429 w 3455"/>
              <a:gd name="T3" fmla="*/ 77 h 2261"/>
              <a:gd name="T4" fmla="*/ 2601 w 3455"/>
              <a:gd name="T5" fmla="*/ 186 h 2261"/>
              <a:gd name="T6" fmla="*/ 2743 w 3455"/>
              <a:gd name="T7" fmla="*/ 332 h 2261"/>
              <a:gd name="T8" fmla="*/ 2844 w 3455"/>
              <a:gd name="T9" fmla="*/ 508 h 2261"/>
              <a:gd name="T10" fmla="*/ 2902 w 3455"/>
              <a:gd name="T11" fmla="*/ 706 h 2261"/>
              <a:gd name="T12" fmla="*/ 2909 w 3455"/>
              <a:gd name="T13" fmla="*/ 917 h 2261"/>
              <a:gd name="T14" fmla="*/ 2924 w 3455"/>
              <a:gd name="T15" fmla="*/ 918 h 2261"/>
              <a:gd name="T16" fmla="*/ 2966 w 3455"/>
              <a:gd name="T17" fmla="*/ 924 h 2261"/>
              <a:gd name="T18" fmla="*/ 3027 w 3455"/>
              <a:gd name="T19" fmla="*/ 939 h 2261"/>
              <a:gd name="T20" fmla="*/ 3101 w 3455"/>
              <a:gd name="T21" fmla="*/ 964 h 2261"/>
              <a:gd name="T22" fmla="*/ 3182 w 3455"/>
              <a:gd name="T23" fmla="*/ 1006 h 2261"/>
              <a:gd name="T24" fmla="*/ 3263 w 3455"/>
              <a:gd name="T25" fmla="*/ 1068 h 2261"/>
              <a:gd name="T26" fmla="*/ 3337 w 3455"/>
              <a:gd name="T27" fmla="*/ 1153 h 2261"/>
              <a:gd name="T28" fmla="*/ 3398 w 3455"/>
              <a:gd name="T29" fmla="*/ 1265 h 2261"/>
              <a:gd name="T30" fmla="*/ 3439 w 3455"/>
              <a:gd name="T31" fmla="*/ 1408 h 2261"/>
              <a:gd name="T32" fmla="*/ 3455 w 3455"/>
              <a:gd name="T33" fmla="*/ 1586 h 2261"/>
              <a:gd name="T34" fmla="*/ 3429 w 3455"/>
              <a:gd name="T35" fmla="*/ 1776 h 2261"/>
              <a:gd name="T36" fmla="*/ 3353 w 3455"/>
              <a:gd name="T37" fmla="*/ 1945 h 2261"/>
              <a:gd name="T38" fmla="*/ 3237 w 3455"/>
              <a:gd name="T39" fmla="*/ 2084 h 2261"/>
              <a:gd name="T40" fmla="*/ 3088 w 3455"/>
              <a:gd name="T41" fmla="*/ 2189 h 2261"/>
              <a:gd name="T42" fmla="*/ 2914 w 3455"/>
              <a:gd name="T43" fmla="*/ 2248 h 2261"/>
              <a:gd name="T44" fmla="*/ 689 w 3455"/>
              <a:gd name="T45" fmla="*/ 2261 h 2261"/>
              <a:gd name="T46" fmla="*/ 504 w 3455"/>
              <a:gd name="T47" fmla="*/ 2236 h 2261"/>
              <a:gd name="T48" fmla="*/ 336 w 3455"/>
              <a:gd name="T49" fmla="*/ 2165 h 2261"/>
              <a:gd name="T50" fmla="*/ 193 w 3455"/>
              <a:gd name="T51" fmla="*/ 2055 h 2261"/>
              <a:gd name="T52" fmla="*/ 84 w 3455"/>
              <a:gd name="T53" fmla="*/ 1910 h 2261"/>
              <a:gd name="T54" fmla="*/ 17 w 3455"/>
              <a:gd name="T55" fmla="*/ 1740 h 2261"/>
              <a:gd name="T56" fmla="*/ 0 w 3455"/>
              <a:gd name="T57" fmla="*/ 1551 h 2261"/>
              <a:gd name="T58" fmla="*/ 35 w 3455"/>
              <a:gd name="T59" fmla="*/ 1368 h 2261"/>
              <a:gd name="T60" fmla="*/ 115 w 3455"/>
              <a:gd name="T61" fmla="*/ 1207 h 2261"/>
              <a:gd name="T62" fmla="*/ 235 w 3455"/>
              <a:gd name="T63" fmla="*/ 1074 h 2261"/>
              <a:gd name="T64" fmla="*/ 384 w 3455"/>
              <a:gd name="T65" fmla="*/ 977 h 2261"/>
              <a:gd name="T66" fmla="*/ 558 w 3455"/>
              <a:gd name="T67" fmla="*/ 922 h 2261"/>
              <a:gd name="T68" fmla="*/ 550 w 3455"/>
              <a:gd name="T69" fmla="*/ 848 h 2261"/>
              <a:gd name="T70" fmla="*/ 565 w 3455"/>
              <a:gd name="T71" fmla="*/ 728 h 2261"/>
              <a:gd name="T72" fmla="*/ 628 w 3455"/>
              <a:gd name="T73" fmla="*/ 593 h 2261"/>
              <a:gd name="T74" fmla="*/ 731 w 3455"/>
              <a:gd name="T75" fmla="*/ 487 h 2261"/>
              <a:gd name="T76" fmla="*/ 863 w 3455"/>
              <a:gd name="T77" fmla="*/ 421 h 2261"/>
              <a:gd name="T78" fmla="*/ 1011 w 3455"/>
              <a:gd name="T79" fmla="*/ 407 h 2261"/>
              <a:gd name="T80" fmla="*/ 1148 w 3455"/>
              <a:gd name="T81" fmla="*/ 440 h 2261"/>
              <a:gd name="T82" fmla="*/ 1264 w 3455"/>
              <a:gd name="T83" fmla="*/ 516 h 2261"/>
              <a:gd name="T84" fmla="*/ 1323 w 3455"/>
              <a:gd name="T85" fmla="*/ 485 h 2261"/>
              <a:gd name="T86" fmla="*/ 1430 w 3455"/>
              <a:gd name="T87" fmla="*/ 314 h 2261"/>
              <a:gd name="T88" fmla="*/ 1573 w 3455"/>
              <a:gd name="T89" fmla="*/ 173 h 2261"/>
              <a:gd name="T90" fmla="*/ 1746 w 3455"/>
              <a:gd name="T91" fmla="*/ 71 h 2261"/>
              <a:gd name="T92" fmla="*/ 1942 w 3455"/>
              <a:gd name="T93" fmla="*/ 12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5" h="2261">
                <a:moveTo>
                  <a:pt x="2082" y="0"/>
                </a:moveTo>
                <a:lnTo>
                  <a:pt x="2155" y="5"/>
                </a:lnTo>
                <a:lnTo>
                  <a:pt x="2229" y="14"/>
                </a:lnTo>
                <a:lnTo>
                  <a:pt x="2298" y="30"/>
                </a:lnTo>
                <a:lnTo>
                  <a:pt x="2365" y="51"/>
                </a:lnTo>
                <a:lnTo>
                  <a:pt x="2429" y="77"/>
                </a:lnTo>
                <a:lnTo>
                  <a:pt x="2489" y="108"/>
                </a:lnTo>
                <a:lnTo>
                  <a:pt x="2547" y="145"/>
                </a:lnTo>
                <a:lnTo>
                  <a:pt x="2601" y="186"/>
                </a:lnTo>
                <a:lnTo>
                  <a:pt x="2653" y="231"/>
                </a:lnTo>
                <a:lnTo>
                  <a:pt x="2700" y="280"/>
                </a:lnTo>
                <a:lnTo>
                  <a:pt x="2743" y="332"/>
                </a:lnTo>
                <a:lnTo>
                  <a:pt x="2782" y="388"/>
                </a:lnTo>
                <a:lnTo>
                  <a:pt x="2815" y="447"/>
                </a:lnTo>
                <a:lnTo>
                  <a:pt x="2844" y="508"/>
                </a:lnTo>
                <a:lnTo>
                  <a:pt x="2870" y="572"/>
                </a:lnTo>
                <a:lnTo>
                  <a:pt x="2888" y="638"/>
                </a:lnTo>
                <a:lnTo>
                  <a:pt x="2902" y="706"/>
                </a:lnTo>
                <a:lnTo>
                  <a:pt x="2910" y="776"/>
                </a:lnTo>
                <a:lnTo>
                  <a:pt x="2914" y="846"/>
                </a:lnTo>
                <a:lnTo>
                  <a:pt x="2909" y="917"/>
                </a:lnTo>
                <a:lnTo>
                  <a:pt x="2911" y="917"/>
                </a:lnTo>
                <a:lnTo>
                  <a:pt x="2917" y="918"/>
                </a:lnTo>
                <a:lnTo>
                  <a:pt x="2924" y="918"/>
                </a:lnTo>
                <a:lnTo>
                  <a:pt x="2936" y="920"/>
                </a:lnTo>
                <a:lnTo>
                  <a:pt x="2949" y="922"/>
                </a:lnTo>
                <a:lnTo>
                  <a:pt x="2966" y="924"/>
                </a:lnTo>
                <a:lnTo>
                  <a:pt x="2985" y="928"/>
                </a:lnTo>
                <a:lnTo>
                  <a:pt x="3005" y="933"/>
                </a:lnTo>
                <a:lnTo>
                  <a:pt x="3027" y="939"/>
                </a:lnTo>
                <a:lnTo>
                  <a:pt x="3051" y="945"/>
                </a:lnTo>
                <a:lnTo>
                  <a:pt x="3076" y="955"/>
                </a:lnTo>
                <a:lnTo>
                  <a:pt x="3101" y="964"/>
                </a:lnTo>
                <a:lnTo>
                  <a:pt x="3128" y="977"/>
                </a:lnTo>
                <a:lnTo>
                  <a:pt x="3154" y="990"/>
                </a:lnTo>
                <a:lnTo>
                  <a:pt x="3182" y="1006"/>
                </a:lnTo>
                <a:lnTo>
                  <a:pt x="3209" y="1025"/>
                </a:lnTo>
                <a:lnTo>
                  <a:pt x="3236" y="1045"/>
                </a:lnTo>
                <a:lnTo>
                  <a:pt x="3263" y="1068"/>
                </a:lnTo>
                <a:lnTo>
                  <a:pt x="3288" y="1093"/>
                </a:lnTo>
                <a:lnTo>
                  <a:pt x="3314" y="1121"/>
                </a:lnTo>
                <a:lnTo>
                  <a:pt x="3337" y="1153"/>
                </a:lnTo>
                <a:lnTo>
                  <a:pt x="3360" y="1187"/>
                </a:lnTo>
                <a:lnTo>
                  <a:pt x="3380" y="1224"/>
                </a:lnTo>
                <a:lnTo>
                  <a:pt x="3398" y="1265"/>
                </a:lnTo>
                <a:lnTo>
                  <a:pt x="3414" y="1309"/>
                </a:lnTo>
                <a:lnTo>
                  <a:pt x="3429" y="1357"/>
                </a:lnTo>
                <a:lnTo>
                  <a:pt x="3439" y="1408"/>
                </a:lnTo>
                <a:lnTo>
                  <a:pt x="3448" y="1463"/>
                </a:lnTo>
                <a:lnTo>
                  <a:pt x="3453" y="1522"/>
                </a:lnTo>
                <a:lnTo>
                  <a:pt x="3455" y="1586"/>
                </a:lnTo>
                <a:lnTo>
                  <a:pt x="3452" y="1651"/>
                </a:lnTo>
                <a:lnTo>
                  <a:pt x="3443" y="1714"/>
                </a:lnTo>
                <a:lnTo>
                  <a:pt x="3429" y="1776"/>
                </a:lnTo>
                <a:lnTo>
                  <a:pt x="3408" y="1835"/>
                </a:lnTo>
                <a:lnTo>
                  <a:pt x="3383" y="1891"/>
                </a:lnTo>
                <a:lnTo>
                  <a:pt x="3353" y="1945"/>
                </a:lnTo>
                <a:lnTo>
                  <a:pt x="3319" y="1995"/>
                </a:lnTo>
                <a:lnTo>
                  <a:pt x="3280" y="2041"/>
                </a:lnTo>
                <a:lnTo>
                  <a:pt x="3237" y="2084"/>
                </a:lnTo>
                <a:lnTo>
                  <a:pt x="3191" y="2124"/>
                </a:lnTo>
                <a:lnTo>
                  <a:pt x="3142" y="2158"/>
                </a:lnTo>
                <a:lnTo>
                  <a:pt x="3088" y="2189"/>
                </a:lnTo>
                <a:lnTo>
                  <a:pt x="3033" y="2214"/>
                </a:lnTo>
                <a:lnTo>
                  <a:pt x="2974" y="2234"/>
                </a:lnTo>
                <a:lnTo>
                  <a:pt x="2914" y="2248"/>
                </a:lnTo>
                <a:lnTo>
                  <a:pt x="2852" y="2258"/>
                </a:lnTo>
                <a:lnTo>
                  <a:pt x="2787" y="2261"/>
                </a:lnTo>
                <a:lnTo>
                  <a:pt x="689" y="2261"/>
                </a:lnTo>
                <a:lnTo>
                  <a:pt x="626" y="2258"/>
                </a:lnTo>
                <a:lnTo>
                  <a:pt x="565" y="2249"/>
                </a:lnTo>
                <a:lnTo>
                  <a:pt x="504" y="2236"/>
                </a:lnTo>
                <a:lnTo>
                  <a:pt x="446" y="2217"/>
                </a:lnTo>
                <a:lnTo>
                  <a:pt x="390" y="2193"/>
                </a:lnTo>
                <a:lnTo>
                  <a:pt x="336" y="2165"/>
                </a:lnTo>
                <a:lnTo>
                  <a:pt x="285" y="2132"/>
                </a:lnTo>
                <a:lnTo>
                  <a:pt x="238" y="2094"/>
                </a:lnTo>
                <a:lnTo>
                  <a:pt x="193" y="2055"/>
                </a:lnTo>
                <a:lnTo>
                  <a:pt x="153" y="2010"/>
                </a:lnTo>
                <a:lnTo>
                  <a:pt x="116" y="1961"/>
                </a:lnTo>
                <a:lnTo>
                  <a:pt x="84" y="1910"/>
                </a:lnTo>
                <a:lnTo>
                  <a:pt x="57" y="1857"/>
                </a:lnTo>
                <a:lnTo>
                  <a:pt x="35" y="1800"/>
                </a:lnTo>
                <a:lnTo>
                  <a:pt x="17" y="1740"/>
                </a:lnTo>
                <a:lnTo>
                  <a:pt x="5" y="1679"/>
                </a:lnTo>
                <a:lnTo>
                  <a:pt x="0" y="1616"/>
                </a:lnTo>
                <a:lnTo>
                  <a:pt x="0" y="1551"/>
                </a:lnTo>
                <a:lnTo>
                  <a:pt x="6" y="1488"/>
                </a:lnTo>
                <a:lnTo>
                  <a:pt x="18" y="1427"/>
                </a:lnTo>
                <a:lnTo>
                  <a:pt x="35" y="1368"/>
                </a:lnTo>
                <a:lnTo>
                  <a:pt x="57" y="1312"/>
                </a:lnTo>
                <a:lnTo>
                  <a:pt x="84" y="1257"/>
                </a:lnTo>
                <a:lnTo>
                  <a:pt x="115" y="1207"/>
                </a:lnTo>
                <a:lnTo>
                  <a:pt x="151" y="1159"/>
                </a:lnTo>
                <a:lnTo>
                  <a:pt x="191" y="1115"/>
                </a:lnTo>
                <a:lnTo>
                  <a:pt x="235" y="1074"/>
                </a:lnTo>
                <a:lnTo>
                  <a:pt x="281" y="1037"/>
                </a:lnTo>
                <a:lnTo>
                  <a:pt x="331" y="1005"/>
                </a:lnTo>
                <a:lnTo>
                  <a:pt x="384" y="977"/>
                </a:lnTo>
                <a:lnTo>
                  <a:pt x="440" y="954"/>
                </a:lnTo>
                <a:lnTo>
                  <a:pt x="498" y="936"/>
                </a:lnTo>
                <a:lnTo>
                  <a:pt x="558" y="922"/>
                </a:lnTo>
                <a:lnTo>
                  <a:pt x="558" y="922"/>
                </a:lnTo>
                <a:lnTo>
                  <a:pt x="552" y="886"/>
                </a:lnTo>
                <a:lnTo>
                  <a:pt x="550" y="848"/>
                </a:lnTo>
                <a:lnTo>
                  <a:pt x="551" y="809"/>
                </a:lnTo>
                <a:lnTo>
                  <a:pt x="556" y="769"/>
                </a:lnTo>
                <a:lnTo>
                  <a:pt x="565" y="728"/>
                </a:lnTo>
                <a:lnTo>
                  <a:pt x="581" y="680"/>
                </a:lnTo>
                <a:lnTo>
                  <a:pt x="602" y="635"/>
                </a:lnTo>
                <a:lnTo>
                  <a:pt x="628" y="593"/>
                </a:lnTo>
                <a:lnTo>
                  <a:pt x="659" y="553"/>
                </a:lnTo>
                <a:lnTo>
                  <a:pt x="692" y="518"/>
                </a:lnTo>
                <a:lnTo>
                  <a:pt x="731" y="487"/>
                </a:lnTo>
                <a:lnTo>
                  <a:pt x="772" y="460"/>
                </a:lnTo>
                <a:lnTo>
                  <a:pt x="816" y="438"/>
                </a:lnTo>
                <a:lnTo>
                  <a:pt x="863" y="421"/>
                </a:lnTo>
                <a:lnTo>
                  <a:pt x="911" y="411"/>
                </a:lnTo>
                <a:lnTo>
                  <a:pt x="961" y="406"/>
                </a:lnTo>
                <a:lnTo>
                  <a:pt x="1011" y="407"/>
                </a:lnTo>
                <a:lnTo>
                  <a:pt x="1059" y="413"/>
                </a:lnTo>
                <a:lnTo>
                  <a:pt x="1105" y="425"/>
                </a:lnTo>
                <a:lnTo>
                  <a:pt x="1148" y="440"/>
                </a:lnTo>
                <a:lnTo>
                  <a:pt x="1190" y="461"/>
                </a:lnTo>
                <a:lnTo>
                  <a:pt x="1228" y="486"/>
                </a:lnTo>
                <a:lnTo>
                  <a:pt x="1264" y="516"/>
                </a:lnTo>
                <a:lnTo>
                  <a:pt x="1297" y="548"/>
                </a:lnTo>
                <a:lnTo>
                  <a:pt x="1297" y="548"/>
                </a:lnTo>
                <a:lnTo>
                  <a:pt x="1323" y="485"/>
                </a:lnTo>
                <a:lnTo>
                  <a:pt x="1354" y="425"/>
                </a:lnTo>
                <a:lnTo>
                  <a:pt x="1390" y="368"/>
                </a:lnTo>
                <a:lnTo>
                  <a:pt x="1430" y="314"/>
                </a:lnTo>
                <a:lnTo>
                  <a:pt x="1474" y="263"/>
                </a:lnTo>
                <a:lnTo>
                  <a:pt x="1522" y="216"/>
                </a:lnTo>
                <a:lnTo>
                  <a:pt x="1573" y="173"/>
                </a:lnTo>
                <a:lnTo>
                  <a:pt x="1628" y="134"/>
                </a:lnTo>
                <a:lnTo>
                  <a:pt x="1685" y="100"/>
                </a:lnTo>
                <a:lnTo>
                  <a:pt x="1746" y="71"/>
                </a:lnTo>
                <a:lnTo>
                  <a:pt x="1809" y="45"/>
                </a:lnTo>
                <a:lnTo>
                  <a:pt x="1874" y="27"/>
                </a:lnTo>
                <a:lnTo>
                  <a:pt x="1942" y="12"/>
                </a:lnTo>
                <a:lnTo>
                  <a:pt x="2011" y="3"/>
                </a:lnTo>
                <a:lnTo>
                  <a:pt x="2082" y="0"/>
                </a:lnTo>
                <a:close/>
              </a:path>
            </a:pathLst>
          </a:custGeom>
          <a:solidFill>
            <a:srgbClr val="6DBEDC">
              <a:lumMod val="20000"/>
              <a:lumOff val="80000"/>
            </a:srgbClr>
          </a:solidFill>
          <a:ln w="0">
            <a:solidFill>
              <a:srgbClr val="0067C5">
                <a:lumMod val="75000"/>
              </a:srgbClr>
            </a:solidFill>
            <a:prstDash val="solid"/>
            <a:round/>
            <a:headEnd/>
            <a:tailEnd/>
          </a:ln>
        </p:spPr>
        <p:txBody>
          <a:bodyPr vert="horz" wrap="square" lIns="68580" tIns="34290" rIns="68580" bIns="34290" numCol="1" anchor="b" anchorCtr="0" compatLnSpc="1">
            <a:prstTxWarp prst="textNoShape">
              <a:avLst/>
            </a:prstTxWarp>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pitchFamily="34" charset="0"/>
                <a:ea typeface="+mn-ea"/>
                <a:cs typeface="+mn-cs"/>
              </a:rPr>
              <a:t>Public Cloud</a:t>
            </a:r>
          </a:p>
        </p:txBody>
      </p:sp>
      <p:sp>
        <p:nvSpPr>
          <p:cNvPr id="27" name="TextBox 26">
            <a:extLst>
              <a:ext uri="{FF2B5EF4-FFF2-40B4-BE49-F238E27FC236}">
                <a16:creationId xmlns:a16="http://schemas.microsoft.com/office/drawing/2014/main" id="{D70DA068-30BC-9C40-B00D-14F92BEE1DF9}"/>
              </a:ext>
            </a:extLst>
          </p:cNvPr>
          <p:cNvSpPr txBox="1"/>
          <p:nvPr/>
        </p:nvSpPr>
        <p:spPr>
          <a:xfrm>
            <a:off x="1177293" y="1697585"/>
            <a:ext cx="1591999" cy="215354"/>
          </a:xfrm>
          <a:prstGeom prst="rect">
            <a:avLst/>
          </a:prstGeom>
        </p:spPr>
        <p:txBody>
          <a:bodyPr vert="horz" wrap="none" lIns="68526" tIns="34263" rIns="68526" bIns="34263" rtlCol="0" anchor="ctr">
            <a:noAutofit/>
          </a:bodyPr>
          <a:lstStyle/>
          <a:p>
            <a:pPr marL="0" marR="0" lvl="0" indent="0" algn="ctr" defTabSz="685800" rtl="0" eaLnBrk="1" fontAlgn="auto" latinLnBrk="0" hangingPunct="1">
              <a:lnSpc>
                <a:spcPct val="95000"/>
              </a:lnSpc>
              <a:spcBef>
                <a:spcPts val="300"/>
              </a:spcBef>
              <a:spcAft>
                <a:spcPts val="15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ea typeface="+mn-ea"/>
                <a:cs typeface="+mn-cs"/>
              </a:rPr>
              <a:t>Primary Flash System </a:t>
            </a:r>
          </a:p>
        </p:txBody>
      </p:sp>
      <p:pic>
        <p:nvPicPr>
          <p:cNvPr id="28" name="Picture 27">
            <a:extLst>
              <a:ext uri="{FF2B5EF4-FFF2-40B4-BE49-F238E27FC236}">
                <a16:creationId xmlns:a16="http://schemas.microsoft.com/office/drawing/2014/main" id="{E6035BF7-B163-C343-B17F-0ED46AC9306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78817" y="3450642"/>
            <a:ext cx="907508" cy="328718"/>
          </a:xfrm>
          <a:prstGeom prst="rect">
            <a:avLst/>
          </a:prstGeom>
        </p:spPr>
      </p:pic>
      <p:sp>
        <p:nvSpPr>
          <p:cNvPr id="29" name="Rectangle 28">
            <a:extLst>
              <a:ext uri="{FF2B5EF4-FFF2-40B4-BE49-F238E27FC236}">
                <a16:creationId xmlns:a16="http://schemas.microsoft.com/office/drawing/2014/main" id="{EC4E9FBD-3D5A-A34B-9F49-6556665F8EEF}"/>
              </a:ext>
            </a:extLst>
          </p:cNvPr>
          <p:cNvSpPr/>
          <p:nvPr/>
        </p:nvSpPr>
        <p:spPr>
          <a:xfrm>
            <a:off x="297713" y="1768366"/>
            <a:ext cx="459615" cy="507744"/>
          </a:xfrm>
          <a:prstGeom prst="rect">
            <a:avLst/>
          </a:prstGeom>
          <a:solidFill>
            <a:srgbClr val="FF9E00"/>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Hot</a:t>
            </a:r>
          </a:p>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data</a:t>
            </a:r>
          </a:p>
        </p:txBody>
      </p:sp>
      <p:sp>
        <p:nvSpPr>
          <p:cNvPr id="30" name="Rectangle 29">
            <a:extLst>
              <a:ext uri="{FF2B5EF4-FFF2-40B4-BE49-F238E27FC236}">
                <a16:creationId xmlns:a16="http://schemas.microsoft.com/office/drawing/2014/main" id="{AC0B9C09-2B22-A74A-A47E-1181CA184E1B}"/>
              </a:ext>
            </a:extLst>
          </p:cNvPr>
          <p:cNvSpPr/>
          <p:nvPr/>
        </p:nvSpPr>
        <p:spPr>
          <a:xfrm>
            <a:off x="291303" y="2462182"/>
            <a:ext cx="460920" cy="965276"/>
          </a:xfrm>
          <a:prstGeom prst="rect">
            <a:avLst/>
          </a:prstGeom>
          <a:solidFill>
            <a:srgbClr val="6DBEDC"/>
          </a:solidFill>
          <a:ln w="12700" cap="flat" cmpd="sng" algn="ctr">
            <a:noFill/>
            <a:prstDash val="solid"/>
          </a:ln>
          <a:effectLst/>
        </p:spPr>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Cold data</a:t>
            </a:r>
          </a:p>
        </p:txBody>
      </p:sp>
      <p:pic>
        <p:nvPicPr>
          <p:cNvPr id="31" name="Picture 4" descr="Image result for Microsoft Azure Blob storage">
            <a:extLst>
              <a:ext uri="{FF2B5EF4-FFF2-40B4-BE49-F238E27FC236}">
                <a16:creationId xmlns:a16="http://schemas.microsoft.com/office/drawing/2014/main" id="{778EC83B-F589-404A-8904-B0A67467F62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678213" y="3756775"/>
            <a:ext cx="1240478" cy="30300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55694DCA-C105-0C4F-8C37-BF4E7825CF6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62980" y="3377293"/>
            <a:ext cx="709494" cy="475416"/>
          </a:xfrm>
          <a:prstGeom prst="rect">
            <a:avLst/>
          </a:prstGeom>
        </p:spPr>
      </p:pic>
      <p:pic>
        <p:nvPicPr>
          <p:cNvPr id="33" name="Picture 32">
            <a:extLst>
              <a:ext uri="{FF2B5EF4-FFF2-40B4-BE49-F238E27FC236}">
                <a16:creationId xmlns:a16="http://schemas.microsoft.com/office/drawing/2014/main" id="{0D8C86EC-AA0C-0948-A159-9D24EBE2491A}"/>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784816" y="3838638"/>
            <a:ext cx="865823" cy="313840"/>
          </a:xfrm>
          <a:prstGeom prst="rect">
            <a:avLst/>
          </a:prstGeom>
        </p:spPr>
      </p:pic>
      <p:sp>
        <p:nvSpPr>
          <p:cNvPr id="34" name="Arrow: Down 34">
            <a:extLst>
              <a:ext uri="{FF2B5EF4-FFF2-40B4-BE49-F238E27FC236}">
                <a16:creationId xmlns:a16="http://schemas.microsoft.com/office/drawing/2014/main" id="{0E7974B1-65DB-FB45-A0F4-74AAD559585A}"/>
              </a:ext>
            </a:extLst>
          </p:cNvPr>
          <p:cNvSpPr/>
          <p:nvPr/>
        </p:nvSpPr>
        <p:spPr>
          <a:xfrm>
            <a:off x="1035990" y="2293714"/>
            <a:ext cx="363474" cy="602924"/>
          </a:xfrm>
          <a:prstGeom prst="downArrow">
            <a:avLst/>
          </a:prstGeom>
          <a:solidFill>
            <a:srgbClr val="0067C5">
              <a:lumMod val="40000"/>
              <a:lumOff val="60000"/>
            </a:srgbClr>
          </a:soli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35" name="Arrow: Down 35">
            <a:extLst>
              <a:ext uri="{FF2B5EF4-FFF2-40B4-BE49-F238E27FC236}">
                <a16:creationId xmlns:a16="http://schemas.microsoft.com/office/drawing/2014/main" id="{79831CCF-279D-3C48-AAC5-976C9A17F91C}"/>
              </a:ext>
            </a:extLst>
          </p:cNvPr>
          <p:cNvSpPr/>
          <p:nvPr/>
        </p:nvSpPr>
        <p:spPr>
          <a:xfrm rot="19932857">
            <a:off x="1735043" y="2253919"/>
            <a:ext cx="363474" cy="711512"/>
          </a:xfrm>
          <a:prstGeom prst="downArrow">
            <a:avLst/>
          </a:prstGeom>
          <a:solidFill>
            <a:srgbClr val="6DBEDC">
              <a:lumMod val="40000"/>
              <a:lumOff val="60000"/>
            </a:srgbClr>
          </a:soli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pic>
        <p:nvPicPr>
          <p:cNvPr id="36" name="Picture 35">
            <a:extLst>
              <a:ext uri="{FF2B5EF4-FFF2-40B4-BE49-F238E27FC236}">
                <a16:creationId xmlns:a16="http://schemas.microsoft.com/office/drawing/2014/main" id="{1F701213-3561-3C44-AB32-E58CED7E9E43}"/>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1804488" y="4286363"/>
            <a:ext cx="865823" cy="313840"/>
          </a:xfrm>
          <a:prstGeom prst="rect">
            <a:avLst/>
          </a:prstGeom>
        </p:spPr>
      </p:pic>
      <p:pic>
        <p:nvPicPr>
          <p:cNvPr id="37" name="Graphic 36">
            <a:extLst>
              <a:ext uri="{FF2B5EF4-FFF2-40B4-BE49-F238E27FC236}">
                <a16:creationId xmlns:a16="http://schemas.microsoft.com/office/drawing/2014/main" id="{718B66F1-E06D-9646-ADE7-EF3C5443449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72474" y="4060859"/>
            <a:ext cx="1293019" cy="200025"/>
          </a:xfrm>
          <a:prstGeom prst="rect">
            <a:avLst/>
          </a:prstGeom>
        </p:spPr>
      </p:pic>
      <p:sp>
        <p:nvSpPr>
          <p:cNvPr id="3" name="Rectangle 2">
            <a:extLst>
              <a:ext uri="{FF2B5EF4-FFF2-40B4-BE49-F238E27FC236}">
                <a16:creationId xmlns:a16="http://schemas.microsoft.com/office/drawing/2014/main" id="{79A7189C-FDBC-704F-9914-6F4AFB33B0BE}"/>
              </a:ext>
            </a:extLst>
          </p:cNvPr>
          <p:cNvSpPr/>
          <p:nvPr/>
        </p:nvSpPr>
        <p:spPr>
          <a:xfrm>
            <a:off x="291303" y="754698"/>
            <a:ext cx="765590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95918F"/>
                </a:solidFill>
                <a:effectLst/>
                <a:uLnTx/>
                <a:uFillTx/>
                <a:latin typeface="Arial"/>
                <a:ea typeface="+mn-ea"/>
                <a:cs typeface="+mn-cs"/>
              </a:rPr>
              <a:t>Leverage </a:t>
            </a:r>
            <a:r>
              <a:rPr kumimoji="0" lang="en-US" sz="1800" b="0" i="0" u="none" strike="noStrike" kern="1200" cap="none" spc="0" normalizeH="0" baseline="0" noProof="0" dirty="0" err="1">
                <a:ln>
                  <a:noFill/>
                </a:ln>
                <a:solidFill>
                  <a:srgbClr val="95918F"/>
                </a:solidFill>
                <a:effectLst/>
                <a:uLnTx/>
                <a:uFillTx/>
                <a:latin typeface="Arial"/>
                <a:ea typeface="+mn-ea"/>
                <a:cs typeface="+mn-cs"/>
              </a:rPr>
              <a:t>FabricPool</a:t>
            </a:r>
            <a:r>
              <a:rPr kumimoji="0" lang="en-US" sz="1800" b="0" i="0" u="none" strike="noStrike" kern="1200" cap="none" spc="0" normalizeH="0" baseline="0" noProof="0" dirty="0">
                <a:ln>
                  <a:noFill/>
                </a:ln>
                <a:solidFill>
                  <a:srgbClr val="95918F"/>
                </a:solidFill>
                <a:effectLst/>
                <a:uLnTx/>
                <a:uFillTx/>
                <a:latin typeface="Arial"/>
                <a:ea typeface="+mn-ea"/>
                <a:cs typeface="+mn-cs"/>
              </a:rPr>
              <a:t>: Keep only hot data on your AFF C190 flash system</a:t>
            </a:r>
          </a:p>
        </p:txBody>
      </p:sp>
      <p:pic>
        <p:nvPicPr>
          <p:cNvPr id="39" name="Picture 38">
            <a:extLst>
              <a:ext uri="{FF2B5EF4-FFF2-40B4-BE49-F238E27FC236}">
                <a16:creationId xmlns:a16="http://schemas.microsoft.com/office/drawing/2014/main" id="{0582D87E-3C47-4B63-A5A8-05741536A4C0}"/>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98537" y="1506180"/>
            <a:ext cx="1845837" cy="179891"/>
          </a:xfrm>
          <a:prstGeom prst="rect">
            <a:avLst/>
          </a:prstGeom>
        </p:spPr>
      </p:pic>
      <p:pic>
        <p:nvPicPr>
          <p:cNvPr id="40" name="Picture 2" descr="image002">
            <a:extLst>
              <a:ext uri="{FF2B5EF4-FFF2-40B4-BE49-F238E27FC236}">
                <a16:creationId xmlns:a16="http://schemas.microsoft.com/office/drawing/2014/main" id="{91E932FB-0577-4379-AADB-9EB7BE29045B}"/>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1034222" y="1919073"/>
            <a:ext cx="1751684" cy="31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BFF5CBEB-2F9F-47D5-8FF2-1B3E49530DC4}"/>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98537" y="1310102"/>
            <a:ext cx="1845837" cy="179891"/>
          </a:xfrm>
          <a:prstGeom prst="rect">
            <a:avLst/>
          </a:prstGeom>
        </p:spPr>
      </p:pic>
      <p:sp>
        <p:nvSpPr>
          <p:cNvPr id="38" name="Title 3">
            <a:extLst>
              <a:ext uri="{FF2B5EF4-FFF2-40B4-BE49-F238E27FC236}">
                <a16:creationId xmlns:a16="http://schemas.microsoft.com/office/drawing/2014/main" id="{BBEF3E9F-C939-5245-90FB-0BC00B81EB2E}"/>
              </a:ext>
            </a:extLst>
          </p:cNvPr>
          <p:cNvSpPr txBox="1">
            <a:spLocks/>
          </p:cNvSpPr>
          <p:nvPr/>
        </p:nvSpPr>
        <p:spPr>
          <a:xfrm>
            <a:off x="228600" y="314004"/>
            <a:ext cx="8915400"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300" b="1" i="0" u="none" strike="noStrike" kern="0" cap="none" spc="0" normalizeH="0" baseline="0" noProof="0" dirty="0">
                <a:ln>
                  <a:noFill/>
                </a:ln>
                <a:solidFill>
                  <a:srgbClr val="000000"/>
                </a:solidFill>
                <a:effectLst/>
                <a:uLnTx/>
                <a:uFillTx/>
                <a:latin typeface="Arial"/>
                <a:ea typeface="+mj-ea"/>
                <a:cs typeface="+mj-cs"/>
              </a:rPr>
              <a:t>Storage Tiering FlexPod Cold Data to Public Cloud </a:t>
            </a:r>
          </a:p>
        </p:txBody>
      </p:sp>
    </p:spTree>
    <p:extLst>
      <p:ext uri="{BB962C8B-B14F-4D97-AF65-F5344CB8AC3E}">
        <p14:creationId xmlns:p14="http://schemas.microsoft.com/office/powerpoint/2010/main" val="223728383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pic>
        <p:nvPicPr>
          <p:cNvPr id="3" name="Picture 2">
            <a:extLst>
              <a:ext uri="{FF2B5EF4-FFF2-40B4-BE49-F238E27FC236}">
                <a16:creationId xmlns:a16="http://schemas.microsoft.com/office/drawing/2014/main" id="{26D219C1-E07A-428B-92FC-E22CE13DAC74}"/>
              </a:ext>
            </a:extLst>
          </p:cNvPr>
          <p:cNvPicPr>
            <a:picLocks noChangeAspect="1"/>
          </p:cNvPicPr>
          <p:nvPr/>
        </p:nvPicPr>
        <p:blipFill>
          <a:blip r:embed="rId3"/>
          <a:stretch>
            <a:fillRect/>
          </a:stretch>
        </p:blipFill>
        <p:spPr>
          <a:xfrm>
            <a:off x="369679" y="1030139"/>
            <a:ext cx="3604467" cy="3716581"/>
          </a:xfrm>
          <a:prstGeom prst="rect">
            <a:avLst/>
          </a:prstGeom>
        </p:spPr>
      </p:pic>
      <p:sp>
        <p:nvSpPr>
          <p:cNvPr id="156" name="Shape 156"/>
          <p:cNvSpPr txBox="1">
            <a:spLocks noGrp="1"/>
          </p:cNvSpPr>
          <p:nvPr>
            <p:ph sz="quarter" idx="4294967295"/>
          </p:nvPr>
        </p:nvSpPr>
        <p:spPr>
          <a:xfrm>
            <a:off x="4347275" y="1085850"/>
            <a:ext cx="4339525" cy="3760788"/>
          </a:xfrm>
          <a:prstGeom prst="rect">
            <a:avLst/>
          </a:prstGeom>
          <a:noFill/>
          <a:ln>
            <a:noFill/>
          </a:ln>
        </p:spPr>
        <p:txBody>
          <a:bodyPr vert="horz" wrap="square" lIns="91406" tIns="91406" rIns="91406" bIns="91406" numCol="1" rtlCol="0" anchor="t" anchorCtr="0" compatLnSpc="1">
            <a:prstTxWarp prst="textNoShape">
              <a:avLst/>
            </a:prstTxWarp>
            <a:noAutofit/>
          </a:bodyPr>
          <a:lstStyle/>
          <a:p>
            <a:pPr marL="0" indent="0">
              <a:lnSpc>
                <a:spcPct val="100000"/>
              </a:lnSpc>
              <a:spcBef>
                <a:spcPts val="0"/>
              </a:spcBef>
              <a:spcAft>
                <a:spcPts val="750"/>
              </a:spcAft>
              <a:buClr>
                <a:srgbClr val="646464"/>
              </a:buClr>
              <a:buSzPct val="25000"/>
              <a:buNone/>
            </a:pPr>
            <a:r>
              <a:rPr lang="en-US" sz="1500" b="1" i="1" dirty="0">
                <a:solidFill>
                  <a:srgbClr val="0067C5"/>
                </a:solidFill>
              </a:rPr>
              <a:t>NetApp</a:t>
            </a:r>
            <a:r>
              <a:rPr lang="en-US" sz="1500" b="1" i="1" dirty="0">
                <a:solidFill>
                  <a:srgbClr val="0067C5"/>
                </a:solidFill>
                <a:latin typeface="Arial"/>
                <a:ea typeface="Arial"/>
                <a:cs typeface="Arial"/>
                <a:sym typeface="Arial"/>
              </a:rPr>
              <a:t> </a:t>
            </a:r>
            <a:r>
              <a:rPr lang="en-US" sz="1500" b="1" i="1" dirty="0">
                <a:solidFill>
                  <a:srgbClr val="5B6770"/>
                </a:solidFill>
                <a:sym typeface="Arial"/>
              </a:rPr>
              <a:t>r</a:t>
            </a:r>
            <a:r>
              <a:rPr lang="en-US" sz="1500" b="1" i="1" dirty="0">
                <a:solidFill>
                  <a:srgbClr val="5B6770"/>
                </a:solidFill>
                <a:latin typeface="Arial"/>
                <a:ea typeface="Arial"/>
                <a:cs typeface="Arial"/>
                <a:sym typeface="Arial"/>
              </a:rPr>
              <a:t>ecognized as a </a:t>
            </a:r>
            <a:r>
              <a:rPr lang="en-US" sz="1500" b="1" i="1" dirty="0">
                <a:solidFill>
                  <a:srgbClr val="0067C5"/>
                </a:solidFill>
              </a:rPr>
              <a:t>Leader </a:t>
            </a:r>
            <a:r>
              <a:rPr lang="en-US" sz="1500" b="1" i="1" dirty="0">
                <a:solidFill>
                  <a:srgbClr val="5B6770"/>
                </a:solidFill>
              </a:rPr>
              <a:t>in 2019 Gartner Magic Quadrant for Primary Storage</a:t>
            </a:r>
          </a:p>
          <a:p>
            <a:pPr marL="0">
              <a:spcBef>
                <a:spcPts val="0"/>
              </a:spcBef>
              <a:spcAft>
                <a:spcPts val="0"/>
              </a:spcAft>
              <a:buClr>
                <a:schemeClr val="dk1"/>
              </a:buClr>
              <a:buSzPct val="61111"/>
              <a:buNone/>
            </a:pPr>
            <a:r>
              <a:rPr lang="en-US" sz="1350" dirty="0">
                <a:solidFill>
                  <a:schemeClr val="dk1"/>
                </a:solidFill>
              </a:rPr>
              <a:t>This Magic Quadrant was published as part of a larger research note and should be evaluated in the context of the entire report. The full report is available from NetApp </a:t>
            </a:r>
            <a:r>
              <a:rPr lang="en-US" sz="1350" dirty="0">
                <a:solidFill>
                  <a:schemeClr val="dk1"/>
                </a:solidFill>
                <a:hlinkClick r:id="rId4"/>
              </a:rPr>
              <a:t>here</a:t>
            </a:r>
            <a:r>
              <a:rPr lang="en-US" sz="1350" dirty="0">
                <a:solidFill>
                  <a:schemeClr val="dk1"/>
                </a:solidFill>
              </a:rPr>
              <a:t>.</a:t>
            </a:r>
          </a:p>
          <a:p>
            <a:pPr>
              <a:spcBef>
                <a:spcPts val="0"/>
              </a:spcBef>
              <a:spcAft>
                <a:spcPts val="0"/>
              </a:spcAft>
              <a:buClr>
                <a:schemeClr val="dk1"/>
              </a:buClr>
              <a:buSzPct val="110000"/>
              <a:buNone/>
            </a:pPr>
            <a:endParaRPr sz="750" b="1" i="1" dirty="0">
              <a:solidFill>
                <a:srgbClr val="646464"/>
              </a:solidFill>
            </a:endParaRPr>
          </a:p>
          <a:p>
            <a:pPr marL="0">
              <a:spcBef>
                <a:spcPts val="0"/>
              </a:spcBef>
              <a:spcAft>
                <a:spcPts val="0"/>
              </a:spcAft>
              <a:buClr>
                <a:schemeClr val="dk1"/>
              </a:buClr>
              <a:buSzPct val="110000"/>
              <a:buNone/>
            </a:pPr>
            <a:r>
              <a:rPr lang="en-US" sz="675" dirty="0">
                <a:solidFill>
                  <a:srgbClr val="9EA2A2"/>
                </a:solidFill>
              </a:rPr>
              <a:t>This graphic was published by Gartner, Inc. as part of a larger research document and should be evaluated in the context of the entire document. The Gartner document is available upon request from NetApp.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sz="675" dirty="0">
              <a:solidFill>
                <a:srgbClr val="9EA2A2"/>
              </a:solidFill>
            </a:endParaRPr>
          </a:p>
          <a:p>
            <a:pPr marL="104775" indent="0">
              <a:lnSpc>
                <a:spcPct val="100000"/>
              </a:lnSpc>
              <a:spcBef>
                <a:spcPts val="0"/>
              </a:spcBef>
              <a:spcAft>
                <a:spcPts val="0"/>
              </a:spcAft>
              <a:buClr>
                <a:srgbClr val="000000"/>
              </a:buClr>
              <a:buSzPct val="25000"/>
              <a:buNone/>
            </a:pPr>
            <a:endParaRPr sz="1200" dirty="0">
              <a:solidFill>
                <a:srgbClr val="000000"/>
              </a:solidFill>
              <a:latin typeface="Arial"/>
              <a:ea typeface="Arial"/>
              <a:cs typeface="Arial"/>
              <a:sym typeface="Arial"/>
            </a:endParaRPr>
          </a:p>
        </p:txBody>
      </p:sp>
      <p:sp>
        <p:nvSpPr>
          <p:cNvPr id="157" name="Shape 157"/>
          <p:cNvSpPr txBox="1"/>
          <p:nvPr/>
        </p:nvSpPr>
        <p:spPr>
          <a:xfrm>
            <a:off x="4583464" y="4017927"/>
            <a:ext cx="3563828" cy="728794"/>
          </a:xfrm>
          <a:prstGeom prst="rect">
            <a:avLst/>
          </a:prstGeom>
          <a:noFill/>
          <a:ln>
            <a:noFill/>
          </a:ln>
        </p:spPr>
        <p:txBody>
          <a:bodyPr lIns="68569" tIns="68569" rIns="68569" bIns="68569"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50" b="0" i="0" u="none" strike="noStrike" kern="1200" cap="none" spc="0" normalizeH="0" baseline="0" noProof="0" dirty="0">
              <a:ln>
                <a:noFill/>
              </a:ln>
              <a:solidFill>
                <a:srgbClr val="9EA2A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50" b="0" i="0" u="none" strike="noStrike" kern="1200" cap="none" spc="0" normalizeH="0" baseline="0" noProof="0" dirty="0">
              <a:ln>
                <a:noFill/>
              </a:ln>
              <a:solidFill>
                <a:srgbClr val="9EA2A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50" b="0" i="0" u="none" strike="noStrike" kern="1200" cap="none" spc="0" normalizeH="0" baseline="0" noProof="0" dirty="0">
              <a:ln>
                <a:noFill/>
              </a:ln>
              <a:solidFill>
                <a:srgbClr val="9EA2A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50" b="0" i="0" u="none" strike="noStrike" kern="1200" cap="none" spc="0" normalizeH="0" baseline="0" noProof="0" dirty="0">
              <a:ln>
                <a:noFill/>
              </a:ln>
              <a:solidFill>
                <a:srgbClr val="9EA2A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9EA2A2"/>
                </a:solidFill>
                <a:effectLst/>
                <a:uLnTx/>
                <a:uFillTx/>
                <a:latin typeface="Arial" charset="0"/>
                <a:ea typeface="+mn-ea"/>
                <a:cs typeface="+mn-cs"/>
              </a:rPr>
              <a:t>Source:  Gartner, Inc., 17 September 2019</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9EA2A2"/>
                </a:solidFill>
                <a:effectLst/>
                <a:uLnTx/>
                <a:uFillTx/>
                <a:latin typeface="Arial" charset="0"/>
                <a:ea typeface="+mn-ea"/>
                <a:cs typeface="+mn-cs"/>
              </a:rPr>
              <a:t>Santhosh Rao, John Monroe, Roger W. Cox, Joseph Unswort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1" u="none" strike="noStrike" kern="1200" cap="none" spc="0" normalizeH="0" baseline="0" noProof="0" dirty="0">
                <a:ln>
                  <a:noFill/>
                </a:ln>
                <a:solidFill>
                  <a:srgbClr val="9EA2A2"/>
                </a:solidFill>
                <a:effectLst/>
                <a:uLnTx/>
                <a:uFillTx/>
                <a:latin typeface="Arial" charset="0"/>
                <a:ea typeface="+mn-ea"/>
                <a:cs typeface="+mn-cs"/>
              </a:rPr>
              <a:t>GARTNER is a registered trademark and service mark of Gartner, Inc. and/or its affiliates in the U.S. and internationally, and is used herein with permission. All rights reserved</a:t>
            </a:r>
            <a:r>
              <a:rPr kumimoji="0" lang="en-US" sz="600" b="0" i="0" u="none" strike="noStrike" kern="1200" cap="none" spc="0" normalizeH="0" baseline="0" noProof="0" dirty="0">
                <a:ln>
                  <a:noFill/>
                </a:ln>
                <a:solidFill>
                  <a:srgbClr val="9EA2A2"/>
                </a:solidFill>
                <a:effectLst/>
                <a:uLnTx/>
                <a:uFillTx/>
                <a:latin typeface="Arial" charset="0"/>
                <a:ea typeface="+mn-ea"/>
                <a:cs typeface="+mn-cs"/>
              </a:rPr>
              <a:t>.</a:t>
            </a:r>
          </a:p>
        </p:txBody>
      </p:sp>
      <p:pic>
        <p:nvPicPr>
          <p:cNvPr id="12" name="Picture 11">
            <a:extLst>
              <a:ext uri="{FF2B5EF4-FFF2-40B4-BE49-F238E27FC236}">
                <a16:creationId xmlns:a16="http://schemas.microsoft.com/office/drawing/2014/main" id="{887590D2-126B-A843-BDAE-795ED8CFFA22}"/>
              </a:ext>
            </a:extLst>
          </p:cNvPr>
          <p:cNvPicPr>
            <a:picLocks noChangeAspect="1"/>
          </p:cNvPicPr>
          <p:nvPr/>
        </p:nvPicPr>
        <p:blipFill>
          <a:blip r:embed="rId5"/>
          <a:stretch>
            <a:fillRect/>
          </a:stretch>
        </p:blipFill>
        <p:spPr>
          <a:xfrm>
            <a:off x="4707292" y="4010307"/>
            <a:ext cx="864854" cy="197030"/>
          </a:xfrm>
          <a:prstGeom prst="rect">
            <a:avLst/>
          </a:prstGeom>
        </p:spPr>
      </p:pic>
      <p:sp>
        <p:nvSpPr>
          <p:cNvPr id="9" name="Title 3">
            <a:extLst>
              <a:ext uri="{FF2B5EF4-FFF2-40B4-BE49-F238E27FC236}">
                <a16:creationId xmlns:a16="http://schemas.microsoft.com/office/drawing/2014/main" id="{1F1295F9-6786-E94D-9886-89D763B7EAC4}"/>
              </a:ext>
            </a:extLst>
          </p:cNvPr>
          <p:cNvSpPr txBox="1">
            <a:spLocks/>
          </p:cNvSpPr>
          <p:nvPr/>
        </p:nvSpPr>
        <p:spPr>
          <a:xfrm>
            <a:off x="228600" y="476893"/>
            <a:ext cx="8534399"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a:ea typeface="+mj-ea"/>
                <a:cs typeface="+mj-cs"/>
              </a:rPr>
              <a:t>A Leader in Primary Storage</a:t>
            </a:r>
          </a:p>
        </p:txBody>
      </p:sp>
    </p:spTree>
    <p:extLst>
      <p:ext uri="{BB962C8B-B14F-4D97-AF65-F5344CB8AC3E}">
        <p14:creationId xmlns:p14="http://schemas.microsoft.com/office/powerpoint/2010/main" val="2180463291"/>
      </p:ext>
    </p:extLst>
  </p:cSld>
  <p:clrMapOvr>
    <a:masterClrMapping/>
  </p:clrMapOvr>
  <p:transition spd="slow">
    <p:circl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FF19DA-A7F7-7243-B1E3-09E2F63111A9}"/>
              </a:ext>
            </a:extLst>
          </p:cNvPr>
          <p:cNvSpPr>
            <a:spLocks noGrp="1"/>
          </p:cNvSpPr>
          <p:nvPr>
            <p:ph sz="quarter" idx="10"/>
          </p:nvPr>
        </p:nvSpPr>
        <p:spPr>
          <a:xfrm>
            <a:off x="228600" y="1622913"/>
            <a:ext cx="3429000" cy="2596564"/>
          </a:xfrm>
        </p:spPr>
        <p:txBody>
          <a:bodyPr/>
          <a:lstStyle/>
          <a:p>
            <a:pPr marL="343103" lvl="1" indent="-171551" defTabSz="686206" fontAlgn="auto">
              <a:lnSpc>
                <a:spcPts val="2310"/>
              </a:lnSpc>
              <a:spcBef>
                <a:spcPts val="150"/>
              </a:spcBef>
              <a:spcAft>
                <a:spcPts val="300"/>
              </a:spcAft>
              <a:buClr>
                <a:prstClr val="black">
                  <a:lumMod val="65000"/>
                  <a:lumOff val="35000"/>
                </a:prstClr>
              </a:buClr>
              <a:defRPr/>
            </a:pPr>
            <a:r>
              <a:rPr lang="en-US" sz="1650" kern="1200" dirty="0">
                <a:solidFill>
                  <a:sysClr val="windowText" lastClr="000000"/>
                </a:solidFill>
                <a:latin typeface="Arial"/>
                <a:ea typeface="+mn-ea"/>
                <a:cs typeface="+mn-cs"/>
              </a:rPr>
              <a:t>Quickly validate FlexPod configuration at deployment</a:t>
            </a:r>
          </a:p>
          <a:p>
            <a:pPr marL="343103" lvl="1" indent="-171551" defTabSz="686206" fontAlgn="auto">
              <a:lnSpc>
                <a:spcPts val="2310"/>
              </a:lnSpc>
              <a:spcBef>
                <a:spcPts val="150"/>
              </a:spcBef>
              <a:spcAft>
                <a:spcPts val="300"/>
              </a:spcAft>
              <a:buClr>
                <a:prstClr val="black">
                  <a:lumMod val="65000"/>
                  <a:lumOff val="35000"/>
                </a:prstClr>
              </a:buClr>
              <a:defRPr/>
            </a:pPr>
            <a:r>
              <a:rPr lang="en-US" sz="1650" kern="1200" dirty="0">
                <a:solidFill>
                  <a:sysClr val="windowText" lastClr="000000"/>
                </a:solidFill>
                <a:latin typeface="Arial"/>
                <a:ea typeface="+mn-ea"/>
                <a:cs typeface="+mn-cs"/>
              </a:rPr>
              <a:t>View customers’ FlexPod from a single-pane dashboard</a:t>
            </a:r>
          </a:p>
          <a:p>
            <a:pPr marL="343103" lvl="1" indent="-171551" defTabSz="686206" fontAlgn="auto">
              <a:lnSpc>
                <a:spcPts val="2310"/>
              </a:lnSpc>
              <a:spcBef>
                <a:spcPts val="150"/>
              </a:spcBef>
              <a:spcAft>
                <a:spcPts val="300"/>
              </a:spcAft>
              <a:buClr>
                <a:prstClr val="black">
                  <a:lumMod val="65000"/>
                  <a:lumOff val="35000"/>
                </a:prstClr>
              </a:buClr>
              <a:defRPr/>
            </a:pPr>
            <a:r>
              <a:rPr lang="en-US" sz="1650" kern="1200" dirty="0">
                <a:solidFill>
                  <a:sysClr val="windowText" lastClr="000000"/>
                </a:solidFill>
                <a:latin typeface="Arial"/>
                <a:ea typeface="+mn-ea"/>
                <a:cs typeface="+mn-cs"/>
              </a:rPr>
              <a:t>Report on inventory and configuration health</a:t>
            </a:r>
          </a:p>
          <a:p>
            <a:pPr marL="343103" lvl="1" indent="-171551" defTabSz="686206" fontAlgn="auto">
              <a:lnSpc>
                <a:spcPts val="2310"/>
              </a:lnSpc>
              <a:spcBef>
                <a:spcPts val="150"/>
              </a:spcBef>
              <a:spcAft>
                <a:spcPts val="300"/>
              </a:spcAft>
              <a:buClr>
                <a:prstClr val="black">
                  <a:lumMod val="65000"/>
                  <a:lumOff val="35000"/>
                </a:prstClr>
              </a:buClr>
              <a:defRPr/>
            </a:pPr>
            <a:r>
              <a:rPr lang="en-US" sz="1650" kern="1200" dirty="0">
                <a:solidFill>
                  <a:sysClr val="windowText" lastClr="000000"/>
                </a:solidFill>
                <a:latin typeface="Arial"/>
                <a:ea typeface="+mn-ea"/>
                <a:cs typeface="+mn-cs"/>
                <a:hlinkClick r:id="rId3"/>
              </a:rPr>
              <a:t>Learn more </a:t>
            </a:r>
            <a:r>
              <a:rPr lang="en-US" sz="1650" kern="1200" dirty="0">
                <a:solidFill>
                  <a:sysClr val="windowText" lastClr="000000"/>
                </a:solidFill>
                <a:latin typeface="Arial"/>
                <a:ea typeface="+mn-ea"/>
                <a:cs typeface="+mn-cs"/>
              </a:rPr>
              <a:t>about CSA including how to download the CSA Agent</a:t>
            </a:r>
          </a:p>
        </p:txBody>
      </p:sp>
      <p:sp>
        <p:nvSpPr>
          <p:cNvPr id="3" name="Text Placeholder 2">
            <a:extLst>
              <a:ext uri="{FF2B5EF4-FFF2-40B4-BE49-F238E27FC236}">
                <a16:creationId xmlns:a16="http://schemas.microsoft.com/office/drawing/2014/main" id="{050D3BE1-04A2-B641-B771-163E2AB7AD8C}"/>
              </a:ext>
            </a:extLst>
          </p:cNvPr>
          <p:cNvSpPr>
            <a:spLocks noGrp="1"/>
          </p:cNvSpPr>
          <p:nvPr>
            <p:ph type="body" idx="11"/>
          </p:nvPr>
        </p:nvSpPr>
        <p:spPr>
          <a:xfrm>
            <a:off x="190922" y="756102"/>
            <a:ext cx="8609754" cy="301756"/>
          </a:xfrm>
        </p:spPr>
        <p:txBody>
          <a:bodyPr/>
          <a:lstStyle/>
          <a:p>
            <a:r>
              <a:rPr lang="en-US" kern="1200" dirty="0"/>
              <a:t>Enabling Partners to improve lifecycle management of FlexPod deployments</a:t>
            </a:r>
          </a:p>
        </p:txBody>
      </p:sp>
      <p:sp>
        <p:nvSpPr>
          <p:cNvPr id="4" name="Title 3">
            <a:extLst>
              <a:ext uri="{FF2B5EF4-FFF2-40B4-BE49-F238E27FC236}">
                <a16:creationId xmlns:a16="http://schemas.microsoft.com/office/drawing/2014/main" id="{CFD295B1-70B7-CE48-80F3-0B3B7FCC6333}"/>
              </a:ext>
            </a:extLst>
          </p:cNvPr>
          <p:cNvSpPr>
            <a:spLocks noGrp="1"/>
          </p:cNvSpPr>
          <p:nvPr>
            <p:ph type="title"/>
          </p:nvPr>
        </p:nvSpPr>
        <p:spPr>
          <a:xfrm>
            <a:off x="228600" y="258780"/>
            <a:ext cx="8534399" cy="535781"/>
          </a:xfrm>
        </p:spPr>
        <p:txBody>
          <a:bodyPr/>
          <a:lstStyle/>
          <a:p>
            <a:r>
              <a:rPr lang="en-US" sz="2300" dirty="0"/>
              <a:t>Monitor with Converged Systems Advisor</a:t>
            </a:r>
          </a:p>
        </p:txBody>
      </p:sp>
      <p:pic>
        <p:nvPicPr>
          <p:cNvPr id="5" name="Picture 4">
            <a:extLst>
              <a:ext uri="{FF2B5EF4-FFF2-40B4-BE49-F238E27FC236}">
                <a16:creationId xmlns:a16="http://schemas.microsoft.com/office/drawing/2014/main" id="{D2E0F703-8E58-F042-A7F0-4D95E7FFA00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51939" y="1622912"/>
            <a:ext cx="4725717" cy="25965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4570250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311772" y="990462"/>
            <a:ext cx="4889707" cy="3674303"/>
          </a:xfrm>
        </p:spPr>
        <p:txBody>
          <a:bodyPr/>
          <a:lstStyle/>
          <a:p>
            <a:pPr marL="0" indent="0">
              <a:buFont typeface="Arial" panose="020B0604020202020204" pitchFamily="34" charset="0"/>
              <a:buNone/>
              <a:defRPr/>
            </a:pPr>
            <a:r>
              <a:rPr lang="en-US" sz="2000">
                <a:solidFill>
                  <a:srgbClr val="4EA2C8"/>
                </a:solidFill>
              </a:rPr>
              <a:t>Guides for high-quality, repeatable deployments</a:t>
            </a:r>
          </a:p>
          <a:p>
            <a:pPr>
              <a:buClr>
                <a:srgbClr val="0070C0"/>
              </a:buClr>
              <a:buFont typeface="Wingdings" pitchFamily="2" charset="2"/>
              <a:buChar char="§"/>
              <a:defRPr/>
            </a:pPr>
            <a:r>
              <a:rPr lang="en-US" sz="1650" kern="1200">
                <a:solidFill>
                  <a:sysClr val="windowText" lastClr="000000"/>
                </a:solidFill>
                <a:latin typeface="Arial"/>
              </a:rPr>
              <a:t>Design guides</a:t>
            </a:r>
          </a:p>
          <a:p>
            <a:pPr>
              <a:buClr>
                <a:srgbClr val="0070C0"/>
              </a:buClr>
              <a:buFont typeface="Wingdings" pitchFamily="2" charset="2"/>
              <a:buChar char="§"/>
              <a:defRPr/>
            </a:pPr>
            <a:r>
              <a:rPr lang="en-US" sz="1650" kern="1200">
                <a:solidFill>
                  <a:sysClr val="windowText" lastClr="000000"/>
                </a:solidFill>
                <a:latin typeface="Arial"/>
              </a:rPr>
              <a:t>Deployment guides</a:t>
            </a:r>
          </a:p>
          <a:p>
            <a:pPr>
              <a:buClr>
                <a:srgbClr val="0070C0"/>
              </a:buClr>
              <a:buFont typeface="Wingdings" pitchFamily="2" charset="2"/>
              <a:buChar char="§"/>
              <a:defRPr/>
            </a:pPr>
            <a:r>
              <a:rPr lang="en-US" sz="1650" kern="1200">
                <a:solidFill>
                  <a:sysClr val="windowText" lastClr="000000"/>
                </a:solidFill>
                <a:latin typeface="Arial"/>
              </a:rPr>
              <a:t>Technical specifications</a:t>
            </a:r>
          </a:p>
          <a:p>
            <a:pPr>
              <a:buClr>
                <a:srgbClr val="0070C0"/>
              </a:buClr>
              <a:buFont typeface="Wingdings" pitchFamily="2" charset="2"/>
              <a:buChar char="§"/>
              <a:defRPr/>
            </a:pPr>
            <a:r>
              <a:rPr lang="en-US" sz="1650" kern="1200">
                <a:solidFill>
                  <a:sysClr val="windowText" lastClr="000000"/>
                </a:solidFill>
                <a:latin typeface="Arial"/>
              </a:rPr>
              <a:t>Application workloads</a:t>
            </a:r>
          </a:p>
          <a:p>
            <a:pPr>
              <a:buClr>
                <a:srgbClr val="0070C0"/>
              </a:buClr>
              <a:buFont typeface="Wingdings" pitchFamily="2" charset="2"/>
              <a:buChar char="§"/>
              <a:defRPr/>
            </a:pPr>
            <a:r>
              <a:rPr lang="en-US" sz="1650" kern="1200">
                <a:solidFill>
                  <a:sysClr val="windowText" lastClr="000000"/>
                </a:solidFill>
                <a:latin typeface="Arial"/>
              </a:rPr>
              <a:t>Solution guides</a:t>
            </a:r>
          </a:p>
          <a:p>
            <a:pPr>
              <a:buClr>
                <a:srgbClr val="0070C0"/>
              </a:buClr>
              <a:buFont typeface="Wingdings" pitchFamily="2" charset="2"/>
              <a:buChar char="§"/>
              <a:defRPr/>
            </a:pPr>
            <a:r>
              <a:rPr lang="en-US" sz="1650" kern="1200">
                <a:solidFill>
                  <a:sysClr val="windowText" lastClr="000000"/>
                </a:solidFill>
                <a:latin typeface="Arial"/>
              </a:rPr>
              <a:t>Sizing guidance</a:t>
            </a:r>
          </a:p>
          <a:p>
            <a:pPr marL="0" indent="0">
              <a:buNone/>
              <a:defRPr/>
            </a:pPr>
            <a:r>
              <a:rPr lang="en-US" sz="2000">
                <a:solidFill>
                  <a:srgbClr val="4EA2C8"/>
                </a:solidFill>
              </a:rPr>
              <a:t>Collaborative support between Cisco and NetApp covered by Cisco Solution Support</a:t>
            </a:r>
          </a:p>
        </p:txBody>
      </p:sp>
      <p:pic>
        <p:nvPicPr>
          <p:cNvPr id="3" name="Picture 2">
            <a:hlinkClick r:id="rId3"/>
            <a:extLst>
              <a:ext uri="{FF2B5EF4-FFF2-40B4-BE49-F238E27FC236}">
                <a16:creationId xmlns:a16="http://schemas.microsoft.com/office/drawing/2014/main" id="{83BE3D8B-69A4-41DB-BC56-CF6776C59B36}"/>
              </a:ext>
            </a:extLst>
          </p:cNvPr>
          <p:cNvPicPr>
            <a:picLocks noChangeAspect="1"/>
          </p:cNvPicPr>
          <p:nvPr/>
        </p:nvPicPr>
        <p:blipFill>
          <a:blip r:embed="rId4"/>
          <a:stretch>
            <a:fillRect/>
          </a:stretch>
        </p:blipFill>
        <p:spPr>
          <a:xfrm>
            <a:off x="4801956" y="1032628"/>
            <a:ext cx="3999875" cy="2580057"/>
          </a:xfrm>
          <a:prstGeom prst="rect">
            <a:avLst/>
          </a:prstGeom>
        </p:spPr>
      </p:pic>
      <p:sp>
        <p:nvSpPr>
          <p:cNvPr id="5" name="Title 3">
            <a:extLst>
              <a:ext uri="{FF2B5EF4-FFF2-40B4-BE49-F238E27FC236}">
                <a16:creationId xmlns:a16="http://schemas.microsoft.com/office/drawing/2014/main" id="{DCB608A3-931D-BA48-B70E-A122BD979B9F}"/>
              </a:ext>
            </a:extLst>
          </p:cNvPr>
          <p:cNvSpPr txBox="1">
            <a:spLocks/>
          </p:cNvSpPr>
          <p:nvPr/>
        </p:nvSpPr>
        <p:spPr>
          <a:xfrm>
            <a:off x="228600" y="174660"/>
            <a:ext cx="8915400" cy="535781"/>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300" b="1" i="0" u="none" strike="noStrike" kern="0" cap="none" spc="0" normalizeH="0" baseline="0" noProof="0" dirty="0">
                <a:ln>
                  <a:noFill/>
                </a:ln>
                <a:solidFill>
                  <a:srgbClr val="000000"/>
                </a:solidFill>
                <a:effectLst/>
                <a:uLnTx/>
                <a:uFillTx/>
                <a:latin typeface="Arial"/>
                <a:ea typeface="+mj-ea"/>
                <a:cs typeface="+mj-cs"/>
              </a:rPr>
              <a:t>Reduce risk with latest SAP HANA Solution</a:t>
            </a:r>
          </a:p>
        </p:txBody>
      </p:sp>
    </p:spTree>
    <p:extLst>
      <p:ext uri="{BB962C8B-B14F-4D97-AF65-F5344CB8AC3E}">
        <p14:creationId xmlns:p14="http://schemas.microsoft.com/office/powerpoint/2010/main" val="3745696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D1D349-E97C-6440-9555-C2E3E907EC27}"/>
              </a:ext>
            </a:extLst>
          </p:cNvPr>
          <p:cNvSpPr/>
          <p:nvPr/>
        </p:nvSpPr>
        <p:spPr bwMode="auto">
          <a:xfrm>
            <a:off x="5594758" y="845344"/>
            <a:ext cx="3200899" cy="38361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F0DB12"/>
              </a:buClr>
              <a:buSzTx/>
              <a:buFont typeface="Wingdings 2" pitchFamily="18" charset="2"/>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sp>
        <p:nvSpPr>
          <p:cNvPr id="119811" name="Title 2">
            <a:extLst>
              <a:ext uri="{FF2B5EF4-FFF2-40B4-BE49-F238E27FC236}">
                <a16:creationId xmlns:a16="http://schemas.microsoft.com/office/drawing/2014/main" id="{87755C50-EC4B-44C3-8AB9-EF1DCEED8D16}"/>
              </a:ext>
            </a:extLst>
          </p:cNvPr>
          <p:cNvSpPr>
            <a:spLocks noGrp="1" noChangeArrowheads="1"/>
          </p:cNvSpPr>
          <p:nvPr>
            <p:ph type="title"/>
          </p:nvPr>
        </p:nvSpPr>
        <p:spPr>
          <a:xfrm>
            <a:off x="228754" y="290513"/>
            <a:ext cx="4992687" cy="1035050"/>
          </a:xfrm>
        </p:spPr>
        <p:txBody>
          <a:bodyPr/>
          <a:lstStyle/>
          <a:p>
            <a:pPr marL="7938"/>
            <a:r>
              <a:rPr lang="en-US" altLang="en-US" sz="2300"/>
              <a:t>Power Modern AI and SAP HANA with FlexPod</a:t>
            </a:r>
          </a:p>
        </p:txBody>
      </p:sp>
      <p:pic>
        <p:nvPicPr>
          <p:cNvPr id="25" name="Picture 13" descr="A close up of a sign&#10;&#10;Description generated with high confidence">
            <a:extLst>
              <a:ext uri="{FF2B5EF4-FFF2-40B4-BE49-F238E27FC236}">
                <a16:creationId xmlns:a16="http://schemas.microsoft.com/office/drawing/2014/main" id="{97CC78C5-85C6-43A9-B828-E0ACA2DE17D3}"/>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686584" y="2300956"/>
            <a:ext cx="1230244" cy="2473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40231408-02A0-46C8-AEDC-D90DEA974C09}"/>
              </a:ext>
            </a:extLst>
          </p:cNvPr>
          <p:cNvSpPr/>
          <p:nvPr/>
        </p:nvSpPr>
        <p:spPr>
          <a:xfrm>
            <a:off x="5773868" y="808037"/>
            <a:ext cx="3115609" cy="1114857"/>
          </a:xfrm>
          <a:prstGeom prst="rect">
            <a:avLst/>
          </a:prstGeom>
        </p:spPr>
        <p:txBody>
          <a:bodyPr wrap="square">
            <a:spAutoFit/>
          </a:bodyPr>
          <a:lstStyle/>
          <a:p>
            <a:pPr marL="0" marR="0" lvl="0" indent="0" algn="l" defTabSz="914400" rtl="0" eaLnBrk="1" fontAlgn="base" latinLnBrk="0" hangingPunct="1">
              <a:lnSpc>
                <a:spcPts val="2800"/>
              </a:lnSpc>
              <a:spcBef>
                <a:spcPts val="1200"/>
              </a:spcBef>
              <a:spcAft>
                <a:spcPts val="700"/>
              </a:spcAft>
              <a:buClrTx/>
              <a:buSzTx/>
              <a:buFontTx/>
              <a:buNone/>
              <a:tabLst/>
              <a:defRPr/>
            </a:pPr>
            <a:r>
              <a:rPr kumimoji="0" lang="en-US" sz="1200" b="1" i="0" u="none" strike="noStrike" kern="1200" cap="none" spc="0" normalizeH="0" baseline="0" noProof="0">
                <a:ln>
                  <a:noFill/>
                </a:ln>
                <a:solidFill>
                  <a:srgbClr val="444444"/>
                </a:solidFill>
                <a:effectLst/>
                <a:uLnTx/>
                <a:uFillTx/>
                <a:latin typeface="Arial"/>
                <a:ea typeface="+mn-ea"/>
                <a:cs typeface="+mn-cs"/>
              </a:rPr>
              <a:t>FlexPod Datacenter for SAP Solution with Cisco UCS Manager 4.0 and NetApp AFF A–Series Design Guide</a:t>
            </a:r>
          </a:p>
        </p:txBody>
      </p:sp>
      <p:sp>
        <p:nvSpPr>
          <p:cNvPr id="12" name="Isosceles Triangle 11">
            <a:extLst>
              <a:ext uri="{FF2B5EF4-FFF2-40B4-BE49-F238E27FC236}">
                <a16:creationId xmlns:a16="http://schemas.microsoft.com/office/drawing/2014/main" id="{E784EDB9-16C1-49D9-8C85-034C69F9D9B6}"/>
              </a:ext>
            </a:extLst>
          </p:cNvPr>
          <p:cNvSpPr/>
          <p:nvPr/>
        </p:nvSpPr>
        <p:spPr>
          <a:xfrm flipV="1">
            <a:off x="6049963" y="1947079"/>
            <a:ext cx="2503487" cy="522287"/>
          </a:xfrm>
          <a:prstGeom prst="triangle">
            <a:avLst/>
          </a:prstGeom>
          <a:gradFill>
            <a:gsLst>
              <a:gs pos="0">
                <a:srgbClr val="A5A5A5"/>
              </a:gs>
              <a:gs pos="65000">
                <a:srgbClr val="FFFFFF"/>
              </a:gs>
            </a:gsLst>
            <a:lin ang="16200000" scaled="0"/>
          </a:gradFill>
          <a:ln w="12700" cap="flat" cmpd="sng" algn="ctr">
            <a:noFill/>
            <a:prstDash val="solid"/>
          </a:ln>
          <a:effectLst/>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CFF22C98-88F3-7A4B-AC03-A700CA23FADB}"/>
              </a:ext>
            </a:extLst>
          </p:cNvPr>
          <p:cNvSpPr txBox="1"/>
          <p:nvPr/>
        </p:nvSpPr>
        <p:spPr>
          <a:xfrm>
            <a:off x="228754" y="1325563"/>
            <a:ext cx="4908492" cy="32932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
                <a:srgbClr val="83AC3E"/>
              </a:buClr>
              <a:buSzTx/>
              <a:buFontTx/>
              <a:buNone/>
              <a:tabLst/>
              <a:defRPr/>
            </a:pPr>
            <a:r>
              <a:rPr kumimoji="0" lang="en-US" sz="1800" b="1" i="0" u="none" strike="noStrike" kern="0" cap="none" spc="0" normalizeH="0" baseline="0" noProof="0" dirty="0">
                <a:ln>
                  <a:noFill/>
                </a:ln>
                <a:solidFill>
                  <a:srgbClr val="409BCC"/>
                </a:solidFill>
                <a:effectLst/>
                <a:uLnTx/>
                <a:uFillTx/>
                <a:latin typeface="Helvetica Neue"/>
                <a:ea typeface="+mn-ea"/>
                <a:cs typeface="+mn-cs"/>
              </a:rPr>
              <a:t>Optimize operations with ONTAP 9.6</a:t>
            </a:r>
          </a:p>
          <a:p>
            <a:pPr marL="0" marR="0" lvl="0" indent="0" algn="l" defTabSz="914400" rtl="0" eaLnBrk="1" fontAlgn="base" latinLnBrk="0" hangingPunct="1">
              <a:lnSpc>
                <a:spcPct val="100000"/>
              </a:lnSpc>
              <a:spcBef>
                <a:spcPct val="0"/>
              </a:spcBef>
              <a:spcAft>
                <a:spcPct val="0"/>
              </a:spcAft>
              <a:buClr>
                <a:srgbClr val="83AC3E"/>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with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SnapCenter</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SnapMirror</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LaMa</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integration for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asynch</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backup, recovery, and cloning of multiple databases and other application workloads</a:t>
            </a:r>
          </a:p>
          <a:p>
            <a:pPr marL="0" marR="0" lvl="0" indent="0" algn="l" defTabSz="914400" rtl="0" eaLnBrk="1" fontAlgn="base" latinLnBrk="0" hangingPunct="1">
              <a:lnSpc>
                <a:spcPct val="100000"/>
              </a:lnSpc>
              <a:spcBef>
                <a:spcPct val="0"/>
              </a:spcBef>
              <a:spcAft>
                <a:spcPct val="0"/>
              </a:spcAft>
              <a:buClr>
                <a:srgbClr val="83AC3E"/>
              </a:buClr>
              <a:buSzTx/>
              <a:buFontTx/>
              <a:buNone/>
              <a:tabLst/>
              <a:defRPr/>
            </a:pPr>
            <a:r>
              <a:rPr kumimoji="0" lang="en-US" sz="1800" b="1" i="0" u="none" strike="noStrike" kern="0" cap="none" spc="0" normalizeH="0" baseline="0" noProof="0" dirty="0">
                <a:ln>
                  <a:noFill/>
                </a:ln>
                <a:solidFill>
                  <a:srgbClr val="409BCC"/>
                </a:solidFill>
                <a:effectLst/>
                <a:uLnTx/>
                <a:uFillTx/>
                <a:latin typeface="Helvetica Neue"/>
                <a:ea typeface="+mn-ea"/>
                <a:cs typeface="+mn-cs"/>
              </a:rPr>
              <a:t>Enhance performance of enterprise apps </a:t>
            </a:r>
            <a:br>
              <a:rPr kumimoji="0" lang="en-US" sz="1800" b="1" i="0" u="none" strike="noStrike" kern="0" cap="none" spc="0" normalizeH="0" baseline="0" noProof="0" dirty="0">
                <a:ln>
                  <a:noFill/>
                </a:ln>
                <a:solidFill>
                  <a:srgbClr val="409BCC"/>
                </a:solidFill>
                <a:effectLst/>
                <a:uLnTx/>
                <a:uFillTx/>
                <a:latin typeface="Helvetica Neue"/>
                <a:ea typeface="+mn-ea"/>
                <a:cs typeface="+mn-cs"/>
              </a:rPr>
            </a:br>
            <a:r>
              <a:rPr kumimoji="0" lang="en-US" sz="1200" b="0" i="0" u="none" strike="noStrike" kern="1200" cap="none" spc="0" normalizeH="0" baseline="0" noProof="0" dirty="0">
                <a:ln>
                  <a:noFill/>
                </a:ln>
                <a:solidFill>
                  <a:srgbClr val="000000"/>
                </a:solidFill>
                <a:effectLst/>
                <a:uLnTx/>
                <a:uFillTx/>
                <a:latin typeface="Arial" charset="0"/>
                <a:ea typeface="+mn-ea"/>
                <a:cs typeface="+mn-cs"/>
              </a:rPr>
              <a:t>with AFF </a:t>
            </a:r>
            <a:r>
              <a:rPr lang="en-US" sz="1200" dirty="0">
                <a:solidFill>
                  <a:srgbClr val="000000"/>
                </a:solidFill>
                <a:latin typeface="Arial" charset="0"/>
              </a:rPr>
              <a:t>A-Series storage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with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NVMe</a:t>
            </a:r>
            <a:r>
              <a:rPr lang="en-US" sz="1200" dirty="0">
                <a:solidFill>
                  <a:srgbClr val="000000"/>
                </a:solidFill>
                <a:latin typeface="Arial" charset="0"/>
              </a:rPr>
              <a:t>;</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next-generation, UCS M5 with </a:t>
            </a:r>
            <a:r>
              <a:rPr kumimoji="0" lang="en-US" sz="1200" b="0" i="0" u="none" strike="noStrike" kern="1200" cap="none" spc="0" normalizeH="0" baseline="0" noProof="0" dirty="0" err="1">
                <a:ln>
                  <a:noFill/>
                </a:ln>
                <a:solidFill>
                  <a:srgbClr val="000000"/>
                </a:solidFill>
                <a:effectLst/>
                <a:uLnTx/>
                <a:uFillTx/>
                <a:latin typeface="Arial" charset="0"/>
                <a:ea typeface="+mn-ea"/>
                <a:cs typeface="+mn-cs"/>
              </a:rPr>
              <a:t>Optane</a:t>
            </a:r>
            <a:r>
              <a:rPr lang="en-US" sz="1200" dirty="0">
                <a:solidFill>
                  <a:srgbClr val="000000"/>
                </a:solidFill>
                <a:latin typeface="Arial" charset="0"/>
              </a:rPr>
              <a:t>;</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Nexus 40GbE switches. </a:t>
            </a:r>
          </a:p>
          <a:p>
            <a:pPr marL="0" marR="0" lvl="0" indent="0" algn="l" defTabSz="914400" rtl="0" eaLnBrk="1" fontAlgn="base" latinLnBrk="0" hangingPunct="1">
              <a:lnSpc>
                <a:spcPct val="100000"/>
              </a:lnSpc>
              <a:spcBef>
                <a:spcPts val="600"/>
              </a:spcBef>
              <a:spcAft>
                <a:spcPts val="600"/>
              </a:spcAft>
              <a:buClrTx/>
              <a:buSzTx/>
              <a:buFontTx/>
              <a:buNone/>
              <a:tabLst/>
              <a:defRPr/>
            </a:pPr>
            <a:r>
              <a:rPr kumimoji="0" lang="en-US" sz="1800" b="1" i="0" u="none" strike="noStrike" kern="0" cap="none" spc="0" normalizeH="0" baseline="0" noProof="0" dirty="0">
                <a:ln>
                  <a:noFill/>
                </a:ln>
                <a:solidFill>
                  <a:srgbClr val="409BCC"/>
                </a:solidFill>
                <a:effectLst/>
                <a:uLnTx/>
                <a:uFillTx/>
                <a:latin typeface="Helvetica Neue"/>
                <a:ea typeface="+mn-ea"/>
                <a:cs typeface="+mn-cs"/>
              </a:rPr>
              <a:t>Dramatically reduce data center costs </a:t>
            </a:r>
            <a:br>
              <a:rPr kumimoji="0" lang="en-US" sz="1800" b="1" i="1" u="none" strike="noStrike" kern="1200" cap="none" spc="0" normalizeH="0" baseline="0" noProof="0" dirty="0">
                <a:ln>
                  <a:noFill/>
                </a:ln>
                <a:solidFill>
                  <a:srgbClr val="4C4948"/>
                </a:solidFill>
                <a:effectLst/>
                <a:uLnTx/>
                <a:uFillTx/>
                <a:latin typeface="Arial" charset="0"/>
                <a:ea typeface="+mn-ea"/>
                <a:cs typeface="+mn-cs"/>
              </a:rPr>
            </a:br>
            <a:r>
              <a:rPr kumimoji="0" lang="en-US" sz="1200" b="0" i="0" u="none" strike="noStrike" kern="1200" cap="none" spc="0" normalizeH="0" baseline="0" noProof="0" dirty="0">
                <a:ln>
                  <a:noFill/>
                </a:ln>
                <a:solidFill>
                  <a:srgbClr val="4C4948"/>
                </a:solidFill>
                <a:effectLst/>
                <a:uLnTx/>
                <a:uFillTx/>
                <a:latin typeface="Arial" charset="0"/>
                <a:ea typeface="+mn-ea"/>
                <a:cs typeface="+mn-cs"/>
              </a:rPr>
              <a:t>with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industry leading data center efficiencies – capacity saving guaranteed</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
                <a:srgbClr val="83AC3E"/>
              </a:buClr>
              <a:buSzTx/>
              <a:buFontTx/>
              <a:buNone/>
              <a:tabLst/>
              <a:defRPr/>
            </a:pPr>
            <a:r>
              <a:rPr kumimoji="0" lang="en-US" altLang="en-US" sz="1800" b="1" i="0" u="none" strike="noStrike" kern="0" cap="none" spc="0" normalizeH="0" baseline="0" noProof="0" dirty="0">
                <a:ln>
                  <a:noFill/>
                </a:ln>
                <a:solidFill>
                  <a:srgbClr val="409BCC"/>
                </a:solidFill>
                <a:effectLst/>
                <a:uLnTx/>
                <a:uFillTx/>
                <a:latin typeface="Helvetica Neue"/>
                <a:ea typeface="+mn-ea"/>
                <a:cs typeface="+mn-cs"/>
              </a:rPr>
              <a:t>Operate with confidence on a platform and partnership trusted worldwide</a:t>
            </a:r>
            <a:br>
              <a:rPr kumimoji="0" lang="en-US" altLang="en-US" sz="2000" b="1" i="1" u="none" strike="noStrike" kern="1200" cap="none" spc="0" normalizeH="0" baseline="0" noProof="0" dirty="0">
                <a:ln>
                  <a:noFill/>
                </a:ln>
                <a:solidFill>
                  <a:srgbClr val="4C4948"/>
                </a:solidFill>
                <a:effectLst/>
                <a:uLnTx/>
                <a:uFillTx/>
                <a:latin typeface="Arial" charset="0"/>
                <a:ea typeface="+mn-ea"/>
                <a:cs typeface="+mn-cs"/>
              </a:rPr>
            </a:br>
            <a:r>
              <a:rPr lang="en-US" altLang="en-US" sz="1200" dirty="0">
                <a:solidFill>
                  <a:srgbClr val="000000"/>
                </a:solidFill>
                <a:latin typeface="Arial" charset="0"/>
              </a:rPr>
              <a:t>#1 converged infrastructure solution according to IT Central Station</a:t>
            </a:r>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
                <a:srgbClr val="83AC3E"/>
              </a:buClr>
              <a:buSzTx/>
              <a:buFontTx/>
              <a:buNone/>
              <a:tabLst/>
              <a:defRPr/>
            </a:pPr>
            <a:endParaRPr kumimoji="0" lang="en-US" sz="1200" b="0" i="0" u="none" strike="noStrike" kern="1200" cap="none" spc="0" normalizeH="0" baseline="0" noProof="0" dirty="0">
              <a:ln>
                <a:noFill/>
              </a:ln>
              <a:solidFill>
                <a:srgbClr val="4C4948"/>
              </a:solidFill>
              <a:effectLst/>
              <a:uLnTx/>
              <a:uFillTx/>
              <a:latin typeface="Arial" charset="0"/>
              <a:ea typeface="+mn-ea"/>
              <a:cs typeface="+mn-cs"/>
            </a:endParaRPr>
          </a:p>
        </p:txBody>
      </p:sp>
    </p:spTree>
    <p:extLst>
      <p:ext uri="{BB962C8B-B14F-4D97-AF65-F5344CB8AC3E}">
        <p14:creationId xmlns:p14="http://schemas.microsoft.com/office/powerpoint/2010/main" val="205765656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FlexPod_Angle1.png">
            <a:extLst>
              <a:ext uri="{FF2B5EF4-FFF2-40B4-BE49-F238E27FC236}">
                <a16:creationId xmlns:a16="http://schemas.microsoft.com/office/drawing/2014/main" id="{150BF007-D8CA-6C4A-B60B-2F83C4C85D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3107"/>
          <a:stretch/>
        </p:blipFill>
        <p:spPr>
          <a:xfrm>
            <a:off x="2823429" y="796554"/>
            <a:ext cx="6320571" cy="4346946"/>
          </a:xfrm>
          <a:prstGeom prst="rect">
            <a:avLst/>
          </a:prstGeom>
        </p:spPr>
      </p:pic>
      <p:sp>
        <p:nvSpPr>
          <p:cNvPr id="2" name="Content Placeholder 1">
            <a:extLst>
              <a:ext uri="{FF2B5EF4-FFF2-40B4-BE49-F238E27FC236}">
                <a16:creationId xmlns:a16="http://schemas.microsoft.com/office/drawing/2014/main" id="{185FD60E-B516-0D49-B0E1-2C3AB6A78205}"/>
              </a:ext>
            </a:extLst>
          </p:cNvPr>
          <p:cNvSpPr>
            <a:spLocks noGrp="1"/>
          </p:cNvSpPr>
          <p:nvPr>
            <p:ph sz="quarter" idx="10"/>
          </p:nvPr>
        </p:nvSpPr>
        <p:spPr>
          <a:xfrm>
            <a:off x="145731" y="796554"/>
            <a:ext cx="5025624" cy="3982915"/>
          </a:xfrm>
        </p:spPr>
        <p:txBody>
          <a:bodyPr/>
          <a:lstStyle/>
          <a:p>
            <a:pPr marL="0" indent="0">
              <a:spcBef>
                <a:spcPts val="0"/>
              </a:spcBef>
              <a:spcAft>
                <a:spcPts val="0"/>
              </a:spcAft>
              <a:buNone/>
            </a:pPr>
            <a:r>
              <a:rPr lang="en-US" sz="1200" dirty="0">
                <a:solidFill>
                  <a:srgbClr val="95918F"/>
                </a:solidFill>
              </a:rPr>
              <a:t>Blog posts:</a:t>
            </a:r>
          </a:p>
          <a:p>
            <a:pPr marL="285750" indent="-285750">
              <a:buFont typeface="Arial" panose="020B0604020202020204" pitchFamily="34" charset="0"/>
              <a:buChar char="•"/>
            </a:pPr>
            <a:r>
              <a:rPr lang="en-US" sz="900" dirty="0"/>
              <a:t>NetApp (Jan 22): </a:t>
            </a:r>
            <a:r>
              <a:rPr lang="en-US" sz="900" dirty="0">
                <a:hlinkClick r:id="rId4"/>
              </a:rPr>
              <a:t>FlexPod Adapts and Thrives in a Decade of Constant Change </a:t>
            </a:r>
            <a:endParaRPr lang="en-US" sz="900" dirty="0">
              <a:cs typeface="Arial"/>
              <a:hlinkClick r:id="rId4"/>
            </a:endParaRPr>
          </a:p>
          <a:p>
            <a:pPr marL="233045" indent="-233045">
              <a:buFont typeface="Arial" panose="020B0604020202020204" pitchFamily="34" charset="0"/>
              <a:buChar char="•"/>
            </a:pPr>
            <a:r>
              <a:rPr lang="en-US" sz="900" dirty="0"/>
              <a:t>Cisco (Jan 22): </a:t>
            </a:r>
            <a:r>
              <a:rPr lang="en-US" sz="900" dirty="0">
                <a:hlinkClick r:id="rId5"/>
              </a:rPr>
              <a:t>2020: Kicking off 10 years of FlexPod Success</a:t>
            </a:r>
            <a:endParaRPr lang="en-US" sz="900" dirty="0">
              <a:cs typeface="Arial"/>
            </a:endParaRPr>
          </a:p>
          <a:p>
            <a:pPr marL="285750" indent="-285750">
              <a:buFont typeface="Arial" panose="020B0604020202020204" pitchFamily="34" charset="0"/>
              <a:buChar char="•"/>
            </a:pPr>
            <a:r>
              <a:rPr lang="en-US" sz="900" dirty="0"/>
              <a:t>NetApp (Jan 23): </a:t>
            </a:r>
            <a:r>
              <a:rPr lang="en-US" sz="900" dirty="0">
                <a:hlinkClick r:id="rId6"/>
              </a:rPr>
              <a:t>Memory-accelerated FlexPod is the Royal Flush of high performance systems</a:t>
            </a:r>
            <a:endParaRPr lang="en-US" dirty="0"/>
          </a:p>
          <a:p>
            <a:pPr marL="0" indent="0">
              <a:buNone/>
            </a:pPr>
            <a:r>
              <a:rPr lang="en-US" sz="1200" dirty="0">
                <a:solidFill>
                  <a:srgbClr val="95918F"/>
                </a:solidFill>
              </a:rPr>
              <a:t>White Papers: </a:t>
            </a:r>
            <a:endParaRPr lang="en-US" dirty="0"/>
          </a:p>
          <a:p>
            <a:pPr marL="233045" lvl="0" indent="-233045"/>
            <a:r>
              <a:rPr lang="en-US" sz="900" dirty="0"/>
              <a:t>New white paper: </a:t>
            </a:r>
            <a:r>
              <a:rPr lang="en-US" sz="900" dirty="0">
                <a:hlinkClick r:id="rId7"/>
              </a:rPr>
              <a:t>Introducing End-to-End NVMe for FlexPod</a:t>
            </a:r>
            <a:endParaRPr lang="en-US" sz="900" dirty="0">
              <a:cs typeface="Arial"/>
              <a:hlinkClick r:id="rId7"/>
            </a:endParaRPr>
          </a:p>
          <a:p>
            <a:pPr marL="0" lvl="0" indent="0">
              <a:buNone/>
            </a:pPr>
            <a:r>
              <a:rPr lang="en-US" sz="1200" dirty="0">
                <a:solidFill>
                  <a:srgbClr val="95918F"/>
                </a:solidFill>
              </a:rPr>
              <a:t>Infographics:</a:t>
            </a:r>
            <a:endParaRPr lang="en-US" dirty="0"/>
          </a:p>
          <a:p>
            <a:pPr marL="233045" lvl="0" indent="-233045"/>
            <a:r>
              <a:rPr lang="en-US" sz="900" dirty="0"/>
              <a:t>New Infographic: </a:t>
            </a:r>
            <a:r>
              <a:rPr lang="en-US" sz="900" dirty="0">
                <a:hlinkClick r:id="rId8"/>
              </a:rPr>
              <a:t>Turbocharge Your Data</a:t>
            </a:r>
            <a:endParaRPr lang="en-US" sz="900" dirty="0">
              <a:cs typeface="Arial"/>
              <a:hlinkClick r:id="rId8"/>
            </a:endParaRPr>
          </a:p>
          <a:p>
            <a:pPr marL="233045" lvl="0" indent="-233045"/>
            <a:r>
              <a:rPr lang="en-US" sz="900" dirty="0"/>
              <a:t>New Infographic: </a:t>
            </a:r>
            <a:r>
              <a:rPr lang="en-US" sz="900" dirty="0">
                <a:hlinkClick r:id="rId9"/>
              </a:rPr>
              <a:t>4 Ways FlexPod Forms the Foundation for Cisco and NetApp Success</a:t>
            </a:r>
            <a:endParaRPr lang="en-US" sz="900" dirty="0">
              <a:cs typeface="Arial"/>
              <a:hlinkClick r:id="rId9"/>
            </a:endParaRPr>
          </a:p>
          <a:p>
            <a:pPr marL="0" lvl="0" indent="0">
              <a:buNone/>
            </a:pPr>
            <a:r>
              <a:rPr lang="en-US" sz="1200" dirty="0">
                <a:solidFill>
                  <a:srgbClr val="95918F"/>
                </a:solidFill>
              </a:rPr>
              <a:t>Solution briefs:</a:t>
            </a:r>
            <a:endParaRPr lang="en-US" dirty="0"/>
          </a:p>
          <a:p>
            <a:pPr marL="233045" indent="-233045"/>
            <a:r>
              <a:rPr lang="en-US" sz="900" dirty="0"/>
              <a:t>Solution brief: </a:t>
            </a:r>
            <a:r>
              <a:rPr lang="en-US" sz="900" u="sng" dirty="0">
                <a:hlinkClick r:id="rId10"/>
              </a:rPr>
              <a:t>Modernize Your Data Center with a Platform Built for Innovation</a:t>
            </a:r>
            <a:endParaRPr lang="en-US" sz="900" u="sng" dirty="0">
              <a:cs typeface="Arial"/>
              <a:hlinkClick r:id="rId10"/>
            </a:endParaRPr>
          </a:p>
          <a:p>
            <a:pPr marL="233045" indent="-233045"/>
            <a:r>
              <a:rPr lang="en-US" sz="900" dirty="0"/>
              <a:t>Solution brief: </a:t>
            </a:r>
            <a:r>
              <a:rPr lang="en-US" sz="900" dirty="0">
                <a:hlinkClick r:id="rId11"/>
              </a:rPr>
              <a:t>FlexPod All-Flash Solutions for SAP</a:t>
            </a:r>
            <a:endParaRPr lang="en-US" sz="900" dirty="0">
              <a:cs typeface="Arial"/>
              <a:hlinkClick r:id="rId11"/>
            </a:endParaRPr>
          </a:p>
          <a:p>
            <a:pPr marL="0" indent="0">
              <a:spcBef>
                <a:spcPts val="0"/>
              </a:spcBef>
              <a:spcAft>
                <a:spcPts val="0"/>
              </a:spcAft>
              <a:buNone/>
            </a:pPr>
            <a:endParaRPr lang="en-US" sz="900" dirty="0">
              <a:cs typeface="Arial"/>
              <a:hlinkClick r:id="rId11"/>
            </a:endParaRPr>
          </a:p>
          <a:p>
            <a:pPr marL="0" indent="0">
              <a:spcBef>
                <a:spcPts val="0"/>
              </a:spcBef>
              <a:spcAft>
                <a:spcPts val="0"/>
              </a:spcAft>
              <a:buNone/>
            </a:pPr>
            <a:r>
              <a:rPr lang="en-US" sz="1200" dirty="0">
                <a:solidFill>
                  <a:srgbClr val="95918F"/>
                </a:solidFill>
              </a:rPr>
              <a:t>Additional resources:</a:t>
            </a:r>
            <a:endParaRPr lang="en-US" dirty="0"/>
          </a:p>
          <a:p>
            <a:pPr marL="233045" indent="-233045"/>
            <a:r>
              <a:rPr lang="en-US" sz="900" dirty="0"/>
              <a:t>Web page </a:t>
            </a:r>
            <a:r>
              <a:rPr lang="en-US" sz="900" u="sng" dirty="0">
                <a:hlinkClick r:id="rId12"/>
              </a:rPr>
              <a:t>http://www.netapp.com/flexpod</a:t>
            </a:r>
            <a:endParaRPr lang="en-US" sz="900" u="sng" dirty="0">
              <a:cs typeface="Arial"/>
              <a:hlinkClick r:id="rId12"/>
            </a:endParaRPr>
          </a:p>
          <a:p>
            <a:pPr marL="233045" indent="-233045"/>
            <a:r>
              <a:rPr lang="en-US" sz="900" dirty="0"/>
              <a:t>Web page </a:t>
            </a:r>
            <a:r>
              <a:rPr lang="en-US" sz="900" dirty="0">
                <a:hlinkClick r:id="rId13"/>
              </a:rPr>
              <a:t>https://flexpod.com/</a:t>
            </a:r>
            <a:endParaRPr lang="en-US" sz="900" dirty="0">
              <a:cs typeface="Arial"/>
              <a:hlinkClick r:id="rId13"/>
            </a:endParaRPr>
          </a:p>
          <a:p>
            <a:pPr marL="456565" lvl="1" indent="-233045"/>
            <a:endParaRPr lang="en-US" sz="900" dirty="0">
              <a:cs typeface="Arial"/>
              <a:hlinkClick r:id="rId13"/>
            </a:endParaRPr>
          </a:p>
        </p:txBody>
      </p:sp>
      <p:sp>
        <p:nvSpPr>
          <p:cNvPr id="3" name="Title 2">
            <a:extLst>
              <a:ext uri="{FF2B5EF4-FFF2-40B4-BE49-F238E27FC236}">
                <a16:creationId xmlns:a16="http://schemas.microsoft.com/office/drawing/2014/main" id="{05C79C8E-7F48-A94D-A95A-64B80558DB8F}"/>
              </a:ext>
            </a:extLst>
          </p:cNvPr>
          <p:cNvSpPr>
            <a:spLocks noGrp="1"/>
          </p:cNvSpPr>
          <p:nvPr>
            <p:ph type="title"/>
          </p:nvPr>
        </p:nvSpPr>
        <p:spPr>
          <a:xfrm>
            <a:off x="145731" y="100165"/>
            <a:ext cx="8534399" cy="535781"/>
          </a:xfrm>
        </p:spPr>
        <p:txBody>
          <a:bodyPr/>
          <a:lstStyle/>
          <a:p>
            <a:r>
              <a:rPr lang="en-US" dirty="0"/>
              <a:t>Resources:</a:t>
            </a:r>
          </a:p>
        </p:txBody>
      </p:sp>
      <p:sp>
        <p:nvSpPr>
          <p:cNvPr id="18" name="Rectangle 17">
            <a:extLst>
              <a:ext uri="{FF2B5EF4-FFF2-40B4-BE49-F238E27FC236}">
                <a16:creationId xmlns:a16="http://schemas.microsoft.com/office/drawing/2014/main" id="{DB9027E0-3785-474D-8D28-2B67604588CA}"/>
              </a:ext>
            </a:extLst>
          </p:cNvPr>
          <p:cNvSpPr/>
          <p:nvPr/>
        </p:nvSpPr>
        <p:spPr bwMode="auto">
          <a:xfrm rot="759983">
            <a:off x="7311508" y="4615518"/>
            <a:ext cx="764576" cy="161541"/>
          </a:xfrm>
          <a:prstGeom prst="rect">
            <a:avLst/>
          </a:prstGeom>
          <a:solidFill>
            <a:srgbClr val="0B568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F0DB12"/>
              </a:buClr>
              <a:buSzTx/>
              <a:buFont typeface="Wingdings 2" pitchFamily="18" charset="2"/>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sp>
        <p:nvSpPr>
          <p:cNvPr id="19" name="Rectangle 18">
            <a:extLst>
              <a:ext uri="{FF2B5EF4-FFF2-40B4-BE49-F238E27FC236}">
                <a16:creationId xmlns:a16="http://schemas.microsoft.com/office/drawing/2014/main" id="{B26938A8-D44B-C54D-B451-A00FA241107D}"/>
              </a:ext>
            </a:extLst>
          </p:cNvPr>
          <p:cNvSpPr/>
          <p:nvPr/>
        </p:nvSpPr>
        <p:spPr bwMode="auto">
          <a:xfrm rot="21294410">
            <a:off x="8015071" y="4668429"/>
            <a:ext cx="976431" cy="195869"/>
          </a:xfrm>
          <a:prstGeom prst="rect">
            <a:avLst/>
          </a:prstGeom>
          <a:solidFill>
            <a:srgbClr val="0B568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F0DB12"/>
              </a:buClr>
              <a:buSzTx/>
              <a:buFont typeface="Wingdings 2" pitchFamily="18" charset="2"/>
              <a:buNone/>
              <a:tabLst/>
              <a:defRPr/>
            </a:pPr>
            <a:endParaRPr kumimoji="0" lang="en-US" sz="2000" b="0" i="0" u="none" strike="noStrike" kern="1200" cap="none" spc="0" normalizeH="0" baseline="0" noProof="0">
              <a:ln>
                <a:noFill/>
              </a:ln>
              <a:solidFill>
                <a:srgbClr val="4C4948"/>
              </a:solidFill>
              <a:effectLst/>
              <a:uLnTx/>
              <a:uFillTx/>
              <a:latin typeface="Arial" charset="0"/>
              <a:ea typeface="+mn-ea"/>
              <a:cs typeface="+mn-cs"/>
            </a:endParaRPr>
          </a:p>
        </p:txBody>
      </p:sp>
    </p:spTree>
    <p:extLst>
      <p:ext uri="{BB962C8B-B14F-4D97-AF65-F5344CB8AC3E}">
        <p14:creationId xmlns:p14="http://schemas.microsoft.com/office/powerpoint/2010/main" val="214945179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3">
            <a:extLst>
              <a:ext uri="{FF2B5EF4-FFF2-40B4-BE49-F238E27FC236}">
                <a16:creationId xmlns:a16="http://schemas.microsoft.com/office/drawing/2014/main" id="{541CA37F-DA34-487F-B708-E6BDC279EAA3}"/>
              </a:ext>
            </a:extLst>
          </p:cNvPr>
          <p:cNvSpPr>
            <a:spLocks noGrp="1" noChangeArrowheads="1"/>
          </p:cNvSpPr>
          <p:nvPr>
            <p:ph type="ctrTitle"/>
          </p:nvPr>
        </p:nvSpPr>
        <p:spPr>
          <a:xfrm>
            <a:off x="803275" y="2046288"/>
            <a:ext cx="7772400" cy="1298575"/>
          </a:xfrm>
        </p:spPr>
        <p:txBody>
          <a:bodyPr/>
          <a:lstStyle/>
          <a:p>
            <a:pPr eaLnBrk="1" hangingPunct="1"/>
            <a:r>
              <a:rPr lang="en-US" altLang="en-US" sz="1800" dirty="0"/>
              <a:t>Why FlexPod</a:t>
            </a:r>
            <a:br>
              <a:rPr lang="en-US" altLang="en-US" dirty="0"/>
            </a:br>
            <a:r>
              <a:rPr lang="en-US" altLang="en-US" dirty="0" err="1"/>
              <a:t>FlexPod</a:t>
            </a:r>
            <a:r>
              <a:rPr lang="en-US" altLang="en-US" dirty="0"/>
              <a:t> Value </a:t>
            </a:r>
          </a:p>
        </p:txBody>
      </p:sp>
    </p:spTree>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D1D349-E97C-6440-9555-C2E3E907EC27}"/>
              </a:ext>
            </a:extLst>
          </p:cNvPr>
          <p:cNvSpPr/>
          <p:nvPr/>
        </p:nvSpPr>
        <p:spPr bwMode="auto">
          <a:xfrm>
            <a:off x="5594758" y="845344"/>
            <a:ext cx="3200899" cy="38361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5" name="Isosceles Triangle 4">
            <a:extLst>
              <a:ext uri="{FF2B5EF4-FFF2-40B4-BE49-F238E27FC236}">
                <a16:creationId xmlns:a16="http://schemas.microsoft.com/office/drawing/2014/main" id="{85325F92-0201-4995-95E6-E4D3220A925D}"/>
              </a:ext>
            </a:extLst>
          </p:cNvPr>
          <p:cNvSpPr/>
          <p:nvPr/>
        </p:nvSpPr>
        <p:spPr>
          <a:xfrm flipV="1">
            <a:off x="6049963" y="1871663"/>
            <a:ext cx="2503487" cy="522287"/>
          </a:xfrm>
          <a:prstGeom prst="triangle">
            <a:avLst/>
          </a:prstGeom>
          <a:gradFill>
            <a:gsLst>
              <a:gs pos="0">
                <a:schemeClr val="accent1"/>
              </a:gs>
              <a:gs pos="65000">
                <a:schemeClr val="bg1"/>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sp>
        <p:nvSpPr>
          <p:cNvPr id="119811" name="Title 2">
            <a:extLst>
              <a:ext uri="{FF2B5EF4-FFF2-40B4-BE49-F238E27FC236}">
                <a16:creationId xmlns:a16="http://schemas.microsoft.com/office/drawing/2014/main" id="{87755C50-EC4B-44C3-8AB9-EF1DCEED8D16}"/>
              </a:ext>
            </a:extLst>
          </p:cNvPr>
          <p:cNvSpPr>
            <a:spLocks noGrp="1" noChangeArrowheads="1"/>
          </p:cNvSpPr>
          <p:nvPr>
            <p:ph type="title"/>
          </p:nvPr>
        </p:nvSpPr>
        <p:spPr>
          <a:xfrm>
            <a:off x="228754" y="290513"/>
            <a:ext cx="4992687" cy="1035050"/>
          </a:xfrm>
        </p:spPr>
        <p:txBody>
          <a:bodyPr/>
          <a:lstStyle/>
          <a:p>
            <a:pPr marL="7938"/>
            <a:r>
              <a:rPr lang="en-US" altLang="en-US" dirty="0"/>
              <a:t>Power Modern AI and Enterprise Apps</a:t>
            </a:r>
          </a:p>
        </p:txBody>
      </p:sp>
      <p:sp>
        <p:nvSpPr>
          <p:cNvPr id="208" name="Rectangle 207">
            <a:extLst>
              <a:ext uri="{FF2B5EF4-FFF2-40B4-BE49-F238E27FC236}">
                <a16:creationId xmlns:a16="http://schemas.microsoft.com/office/drawing/2014/main" id="{7C7A05D1-8DFD-41B9-833D-72FC3EF59391}"/>
              </a:ext>
            </a:extLst>
          </p:cNvPr>
          <p:cNvSpPr/>
          <p:nvPr/>
        </p:nvSpPr>
        <p:spPr>
          <a:xfrm>
            <a:off x="501334" y="3120475"/>
            <a:ext cx="4584473" cy="615553"/>
          </a:xfrm>
          <a:prstGeom prst="rect">
            <a:avLst/>
          </a:prstGeom>
        </p:spPr>
        <p:txBody>
          <a:bodyPr wrap="square" lIns="0" tIns="0" rIns="0" bIns="0" anchor="ctr">
            <a:spAutoFit/>
          </a:bodyPr>
          <a:lstStyle/>
          <a:p>
            <a:pPr>
              <a:spcBef>
                <a:spcPts val="600"/>
              </a:spcBef>
              <a:spcAft>
                <a:spcPts val="600"/>
              </a:spcAft>
              <a:defRPr/>
            </a:pPr>
            <a:r>
              <a:rPr lang="en-US" sz="1800" b="1" dirty="0">
                <a:solidFill>
                  <a:schemeClr val="dk1"/>
                </a:solidFill>
              </a:rPr>
              <a:t>Dramatically reduce data center costs </a:t>
            </a:r>
            <a:br>
              <a:rPr lang="en-US" sz="1600" b="1" i="1" dirty="0">
                <a:solidFill>
                  <a:schemeClr val="dk1"/>
                </a:solidFill>
              </a:rPr>
            </a:br>
            <a:r>
              <a:rPr lang="en-US" sz="1100" dirty="0">
                <a:solidFill>
                  <a:schemeClr val="dk1"/>
                </a:solidFill>
              </a:rPr>
              <a:t>with </a:t>
            </a:r>
            <a:r>
              <a:rPr lang="en-US" sz="1100" dirty="0">
                <a:solidFill>
                  <a:schemeClr val="tx2"/>
                </a:solidFill>
              </a:rPr>
              <a:t>industry leading data center efficiencies – capacity saving guaranteed</a:t>
            </a:r>
            <a:endParaRPr lang="en-US" sz="1600" dirty="0">
              <a:solidFill>
                <a:schemeClr val="tx2"/>
              </a:solidFill>
            </a:endParaRPr>
          </a:p>
        </p:txBody>
      </p:sp>
      <p:sp>
        <p:nvSpPr>
          <p:cNvPr id="203" name="Rectangle 202">
            <a:extLst>
              <a:ext uri="{FF2B5EF4-FFF2-40B4-BE49-F238E27FC236}">
                <a16:creationId xmlns:a16="http://schemas.microsoft.com/office/drawing/2014/main" id="{233320DD-985A-4B41-ABBD-745DF42E38E5}"/>
              </a:ext>
            </a:extLst>
          </p:cNvPr>
          <p:cNvSpPr/>
          <p:nvPr/>
        </p:nvSpPr>
        <p:spPr>
          <a:xfrm>
            <a:off x="496889" y="2148880"/>
            <a:ext cx="4588918" cy="615553"/>
          </a:xfrm>
          <a:prstGeom prst="rect">
            <a:avLst/>
          </a:prstGeom>
        </p:spPr>
        <p:txBody>
          <a:bodyPr wrap="square" lIns="0" tIns="0" rIns="0" bIns="0" anchor="ctr">
            <a:spAutoFit/>
          </a:bodyPr>
          <a:lstStyle/>
          <a:p>
            <a:pPr>
              <a:spcBef>
                <a:spcPts val="600"/>
              </a:spcBef>
              <a:spcAft>
                <a:spcPts val="600"/>
              </a:spcAft>
              <a:defRPr/>
            </a:pPr>
            <a:r>
              <a:rPr lang="en-US" sz="1800" b="1" dirty="0">
                <a:solidFill>
                  <a:schemeClr val="dk1"/>
                </a:solidFill>
              </a:rPr>
              <a:t>Enhance performance of enterprise apps </a:t>
            </a:r>
            <a:br>
              <a:rPr lang="en-US" sz="1600" b="1" i="1" dirty="0">
                <a:solidFill>
                  <a:schemeClr val="dk1"/>
                </a:solidFill>
              </a:rPr>
            </a:br>
            <a:r>
              <a:rPr lang="en-US" sz="1100" dirty="0">
                <a:solidFill>
                  <a:schemeClr val="dk1"/>
                </a:solidFill>
              </a:rPr>
              <a:t>with next generation compute, fabric and all-flash storage validated solution for latest modern applications</a:t>
            </a:r>
            <a:endParaRPr lang="en-US" sz="1600" dirty="0">
              <a:solidFill>
                <a:schemeClr val="dk1"/>
              </a:solidFill>
            </a:endParaRPr>
          </a:p>
        </p:txBody>
      </p:sp>
      <p:sp>
        <p:nvSpPr>
          <p:cNvPr id="182" name="Rectangle 181">
            <a:extLst>
              <a:ext uri="{FF2B5EF4-FFF2-40B4-BE49-F238E27FC236}">
                <a16:creationId xmlns:a16="http://schemas.microsoft.com/office/drawing/2014/main" id="{1EB88C19-2D8A-4673-B593-4B57500E7CA6}"/>
              </a:ext>
            </a:extLst>
          </p:cNvPr>
          <p:cNvSpPr/>
          <p:nvPr/>
        </p:nvSpPr>
        <p:spPr>
          <a:xfrm>
            <a:off x="506343" y="1397612"/>
            <a:ext cx="4715098" cy="446276"/>
          </a:xfrm>
          <a:prstGeom prst="rect">
            <a:avLst/>
          </a:prstGeom>
        </p:spPr>
        <p:txBody>
          <a:bodyPr wrap="square" lIns="0" tIns="0" rIns="0" bIns="0" anchor="ctr">
            <a:spAutoFit/>
          </a:bodyPr>
          <a:lstStyle/>
          <a:p>
            <a:pPr>
              <a:spcBef>
                <a:spcPts val="600"/>
              </a:spcBef>
              <a:spcAft>
                <a:spcPts val="600"/>
              </a:spcAft>
              <a:defRPr/>
            </a:pPr>
            <a:r>
              <a:rPr lang="en-US" sz="1800" b="1" dirty="0">
                <a:solidFill>
                  <a:schemeClr val="dk1"/>
                </a:solidFill>
              </a:rPr>
              <a:t>Power the most demanding AI applications</a:t>
            </a:r>
            <a:r>
              <a:rPr lang="en-US" sz="1800" dirty="0">
                <a:solidFill>
                  <a:schemeClr val="dk1"/>
                </a:solidFill>
              </a:rPr>
              <a:t> </a:t>
            </a:r>
            <a:r>
              <a:rPr lang="en-US" sz="1100" dirty="0">
                <a:solidFill>
                  <a:schemeClr val="dk1"/>
                </a:solidFill>
              </a:rPr>
              <a:t>with infrastructure optimized for analytic workloads</a:t>
            </a:r>
            <a:endParaRPr lang="en-US" sz="1600" dirty="0">
              <a:solidFill>
                <a:schemeClr val="dk1"/>
              </a:solidFill>
            </a:endParaRPr>
          </a:p>
        </p:txBody>
      </p:sp>
      <p:sp>
        <p:nvSpPr>
          <p:cNvPr id="51" name="Text Placeholder 11">
            <a:extLst>
              <a:ext uri="{FF2B5EF4-FFF2-40B4-BE49-F238E27FC236}">
                <a16:creationId xmlns:a16="http://schemas.microsoft.com/office/drawing/2014/main" id="{A6ECDE0C-2172-0D49-9ED3-63B40BEEB3D8}"/>
              </a:ext>
            </a:extLst>
          </p:cNvPr>
          <p:cNvSpPr txBox="1">
            <a:spLocks/>
          </p:cNvSpPr>
          <p:nvPr/>
        </p:nvSpPr>
        <p:spPr bwMode="auto">
          <a:xfrm>
            <a:off x="6075363" y="4175125"/>
            <a:ext cx="2644775" cy="393700"/>
          </a:xfrm>
          <a:prstGeom prst="rect">
            <a:avLst/>
          </a:prstGeom>
          <a:noFill/>
          <a:ln w="9525">
            <a:noFill/>
            <a:miter lim="800000"/>
            <a:headEnd/>
            <a:tailEnd/>
          </a:ln>
        </p:spPr>
        <p:txBody>
          <a:bodyPr lIns="0" tIns="0" rIns="0" bIns="0"/>
          <a:lstStyle>
            <a:lvl1pPr marL="298397" indent="-298397" algn="l" rtl="0" eaLnBrk="0" fontAlgn="base" hangingPunct="0">
              <a:spcBef>
                <a:spcPts val="676"/>
              </a:spcBef>
              <a:spcAft>
                <a:spcPct val="0"/>
              </a:spcAft>
              <a:buClrTx/>
              <a:buFont typeface="Arial"/>
              <a:buChar char="•"/>
              <a:defRPr sz="1500">
                <a:solidFill>
                  <a:srgbClr val="000000"/>
                </a:solidFill>
                <a:latin typeface="+mn-lt"/>
                <a:ea typeface="+mn-ea"/>
                <a:cs typeface="+mn-cs"/>
              </a:defRPr>
            </a:lvl1pPr>
            <a:lvl2pPr marL="636476" indent="-336488" algn="l" rtl="0" eaLnBrk="0" fontAlgn="base" hangingPunct="0">
              <a:spcBef>
                <a:spcPts val="624"/>
              </a:spcBef>
              <a:spcAft>
                <a:spcPct val="0"/>
              </a:spcAft>
              <a:buClrTx/>
              <a:buFont typeface="Lucida Grande"/>
              <a:buChar char="-"/>
              <a:defRPr sz="1200">
                <a:solidFill>
                  <a:srgbClr val="000000"/>
                </a:solidFill>
                <a:latin typeface="+mn-lt"/>
              </a:defRPr>
            </a:lvl2pPr>
            <a:lvl3pPr marL="926939" indent="-288876" algn="l" rtl="0" eaLnBrk="0" fontAlgn="base" hangingPunct="0">
              <a:spcBef>
                <a:spcPts val="576"/>
              </a:spcBef>
              <a:spcAft>
                <a:spcPct val="0"/>
              </a:spcAft>
              <a:buClrTx/>
              <a:buFont typeface="Arial"/>
              <a:buChar char="•"/>
              <a:defRPr sz="1200">
                <a:solidFill>
                  <a:srgbClr val="000000"/>
                </a:solidFill>
                <a:latin typeface="+mn-lt"/>
              </a:defRPr>
            </a:lvl3pPr>
            <a:lvl4pPr marL="1236446" indent="-307922" algn="l" rtl="0" eaLnBrk="0" fontAlgn="base" hangingPunct="0">
              <a:spcBef>
                <a:spcPts val="480"/>
              </a:spcBef>
              <a:spcAft>
                <a:spcPct val="0"/>
              </a:spcAft>
              <a:buClrTx/>
              <a:buFont typeface="Lucida Grande"/>
              <a:buChar char="-"/>
              <a:defRPr sz="1200">
                <a:solidFill>
                  <a:srgbClr val="000000"/>
                </a:solidFill>
                <a:latin typeface="+mn-lt"/>
              </a:defRPr>
            </a:lvl4pPr>
            <a:lvl5pPr marL="1504688" indent="-266657" algn="l" rtl="0" eaLnBrk="0" fontAlgn="base" hangingPunct="0">
              <a:spcBef>
                <a:spcPts val="480"/>
              </a:spcBef>
              <a:spcAft>
                <a:spcPct val="0"/>
              </a:spcAft>
              <a:buClrTx/>
              <a:buFont typeface="Arial"/>
              <a:buChar char="•"/>
              <a:defRPr sz="12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indent="0" eaLnBrk="1" hangingPunct="1">
              <a:spcBef>
                <a:spcPct val="0"/>
              </a:spcBef>
              <a:buFont typeface="Arial"/>
              <a:buNone/>
              <a:defRPr/>
            </a:pPr>
            <a:r>
              <a:rPr lang="en-US" dirty="0">
                <a:solidFill>
                  <a:schemeClr val="tx2">
                    <a:lumMod val="50000"/>
                    <a:lumOff val="50000"/>
                  </a:schemeClr>
                </a:solidFill>
              </a:rPr>
              <a:t>Over 170 Validated Designs!</a:t>
            </a:r>
          </a:p>
        </p:txBody>
      </p:sp>
      <p:sp>
        <p:nvSpPr>
          <p:cNvPr id="119816" name="Rectangle 55">
            <a:extLst>
              <a:ext uri="{FF2B5EF4-FFF2-40B4-BE49-F238E27FC236}">
                <a16:creationId xmlns:a16="http://schemas.microsoft.com/office/drawing/2014/main" id="{13296735-AA19-46C8-A374-360F4732C2E3}"/>
              </a:ext>
            </a:extLst>
          </p:cNvPr>
          <p:cNvSpPr>
            <a:spLocks noChangeArrowheads="1"/>
          </p:cNvSpPr>
          <p:nvPr/>
        </p:nvSpPr>
        <p:spPr bwMode="auto">
          <a:xfrm>
            <a:off x="423863" y="3943350"/>
            <a:ext cx="470126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p>
            <a:pPr>
              <a:spcBef>
                <a:spcPts val="600"/>
              </a:spcBef>
              <a:spcAft>
                <a:spcPts val="600"/>
              </a:spcAft>
            </a:pPr>
            <a:r>
              <a:rPr lang="en-US" altLang="en-US" sz="1800" b="1" dirty="0">
                <a:latin typeface="Arial"/>
                <a:cs typeface="Arial"/>
              </a:rPr>
              <a:t>Confidently integrate new capabilities </a:t>
            </a:r>
            <a:br>
              <a:rPr lang="en-US" altLang="en-US" sz="1800" b="1" i="1" dirty="0"/>
            </a:br>
            <a:r>
              <a:rPr lang="en-US" altLang="en-US" sz="1100" dirty="0">
                <a:solidFill>
                  <a:srgbClr val="000000"/>
                </a:solidFill>
                <a:latin typeface="Arial"/>
                <a:cs typeface="Arial"/>
              </a:rPr>
              <a:t>with rapid validation of the latest technologies – AI, EHR,  NVMe, cloud services, PMEM, GPUs, scale out flash, and more</a:t>
            </a:r>
          </a:p>
        </p:txBody>
      </p:sp>
      <p:grpSp>
        <p:nvGrpSpPr>
          <p:cNvPr id="119817" name="Group 2">
            <a:extLst>
              <a:ext uri="{FF2B5EF4-FFF2-40B4-BE49-F238E27FC236}">
                <a16:creationId xmlns:a16="http://schemas.microsoft.com/office/drawing/2014/main" id="{6B3D450A-FA96-4F76-96E6-2A3786E03675}"/>
              </a:ext>
            </a:extLst>
          </p:cNvPr>
          <p:cNvGrpSpPr>
            <a:grpSpLocks/>
          </p:cNvGrpSpPr>
          <p:nvPr/>
        </p:nvGrpSpPr>
        <p:grpSpPr bwMode="auto">
          <a:xfrm>
            <a:off x="6781800" y="2103438"/>
            <a:ext cx="1063625" cy="2003425"/>
            <a:chOff x="6859641" y="1842504"/>
            <a:chExt cx="1063953" cy="2003424"/>
          </a:xfrm>
        </p:grpSpPr>
        <p:grpSp>
          <p:nvGrpSpPr>
            <p:cNvPr id="119827" name="Group 7">
              <a:extLst>
                <a:ext uri="{FF2B5EF4-FFF2-40B4-BE49-F238E27FC236}">
                  <a16:creationId xmlns:a16="http://schemas.microsoft.com/office/drawing/2014/main" id="{DBA83E99-CB41-46D5-BBA6-5B85731E7DDA}"/>
                </a:ext>
              </a:extLst>
            </p:cNvPr>
            <p:cNvGrpSpPr>
              <a:grpSpLocks/>
            </p:cNvGrpSpPr>
            <p:nvPr/>
          </p:nvGrpSpPr>
          <p:grpSpPr bwMode="auto">
            <a:xfrm>
              <a:off x="6859641" y="1842504"/>
              <a:ext cx="1063953" cy="2003424"/>
              <a:chOff x="6710818" y="810275"/>
              <a:chExt cx="1494911" cy="3004891"/>
            </a:xfrm>
          </p:grpSpPr>
          <p:pic>
            <p:nvPicPr>
              <p:cNvPr id="119830" name="Picture 13" descr="A close up of a sign&#10;&#10;Description generated with high confidence">
                <a:extLst>
                  <a:ext uri="{FF2B5EF4-FFF2-40B4-BE49-F238E27FC236}">
                    <a16:creationId xmlns:a16="http://schemas.microsoft.com/office/drawing/2014/main" id="{81DA7FDC-4039-4B54-9D67-3BA9B2F6E0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0818" y="810275"/>
                <a:ext cx="1494911" cy="3004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DFD18B7D-2031-F647-9B0A-4A018CA386CD}"/>
                  </a:ext>
                </a:extLst>
              </p:cNvPr>
              <p:cNvSpPr/>
              <p:nvPr/>
            </p:nvSpPr>
            <p:spPr>
              <a:xfrm>
                <a:off x="6855847" y="1393633"/>
                <a:ext cx="450705" cy="1526257"/>
              </a:xfrm>
              <a:prstGeom prst="rect">
                <a:avLst/>
              </a:prstGeom>
              <a:solidFill>
                <a:srgbClr val="C8C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grpSp>
        <p:pic>
          <p:nvPicPr>
            <p:cNvPr id="63" name="Picture 8" descr="FlexPod_Reg_CMYK-withbubble.png">
              <a:extLst>
                <a:ext uri="{FF2B5EF4-FFF2-40B4-BE49-F238E27FC236}">
                  <a16:creationId xmlns:a16="http://schemas.microsoft.com/office/drawing/2014/main" id="{80496CA3-BB9C-F340-B50C-87E8EA0029A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4453804">
              <a:off x="6407401" y="2537132"/>
              <a:ext cx="1415452" cy="149905"/>
            </a:xfrm>
            <a:prstGeom prst="rect">
              <a:avLst/>
            </a:prstGeom>
            <a:noFill/>
            <a:ln>
              <a:noFill/>
            </a:ln>
            <a:scene3d>
              <a:camera prst="isometricOffAxis1Left">
                <a:rot lat="600000" lon="36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E1F122F8-EF62-4C4E-96EB-FEB0982F8483}"/>
                </a:ext>
              </a:extLst>
            </p:cNvPr>
            <p:cNvSpPr txBox="1"/>
            <p:nvPr/>
          </p:nvSpPr>
          <p:spPr>
            <a:xfrm rot="5805343">
              <a:off x="7156541" y="2977125"/>
              <a:ext cx="131876" cy="113687"/>
            </a:xfrm>
            <a:prstGeom prst="rect">
              <a:avLst/>
            </a:prstGeom>
            <a:scene3d>
              <a:camera prst="orthographicFront">
                <a:rot lat="0" lon="0" rev="600000"/>
              </a:camera>
              <a:lightRig rig="threePt" dir="t"/>
            </a:scene3d>
          </p:spPr>
          <p:txBody>
            <a:bodyPr wrap="none"/>
            <a:lstStyle/>
            <a:p>
              <a:pPr eaLnBrk="1" fontAlgn="auto" hangingPunct="1">
                <a:lnSpc>
                  <a:spcPct val="95000"/>
                </a:lnSpc>
                <a:spcBef>
                  <a:spcPts val="400"/>
                </a:spcBef>
                <a:spcAft>
                  <a:spcPts val="200"/>
                </a:spcAft>
                <a:buClr>
                  <a:schemeClr val="accent1"/>
                </a:buClr>
                <a:defRPr/>
              </a:pPr>
              <a:r>
                <a:rPr lang="en-US" sz="1600" dirty="0">
                  <a:solidFill>
                    <a:sysClr val="windowText" lastClr="000000"/>
                  </a:solidFill>
                  <a:latin typeface="+mn-lt"/>
                </a:rPr>
                <a:t>AI</a:t>
              </a:r>
            </a:p>
          </p:txBody>
        </p:sp>
      </p:grpSp>
      <p:pic>
        <p:nvPicPr>
          <p:cNvPr id="119818" name="Picture 10">
            <a:extLst>
              <a:ext uri="{FF2B5EF4-FFF2-40B4-BE49-F238E27FC236}">
                <a16:creationId xmlns:a16="http://schemas.microsoft.com/office/drawing/2014/main" id="{61FEEB27-9B67-45BA-832C-B6ED78EDB7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27838" y="1143000"/>
            <a:ext cx="2540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19" name="Picture 17">
            <a:extLst>
              <a:ext uri="{FF2B5EF4-FFF2-40B4-BE49-F238E27FC236}">
                <a16:creationId xmlns:a16="http://schemas.microsoft.com/office/drawing/2014/main" id="{BBAECC68-97C1-4FD5-BD28-6BA3C2D1B039}"/>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13613" y="1136650"/>
            <a:ext cx="33496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0" name="Picture 18">
            <a:extLst>
              <a:ext uri="{FF2B5EF4-FFF2-40B4-BE49-F238E27FC236}">
                <a16:creationId xmlns:a16="http://schemas.microsoft.com/office/drawing/2014/main" id="{1B1D3CB7-6D20-4CEB-AA6B-DD313E363454}"/>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6975" y="1123950"/>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1" name="Picture 19">
            <a:extLst>
              <a:ext uri="{FF2B5EF4-FFF2-40B4-BE49-F238E27FC236}">
                <a16:creationId xmlns:a16="http://schemas.microsoft.com/office/drawing/2014/main" id="{D173C437-5081-49DA-A604-43EE77C9C50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45425" y="1101725"/>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2" name="Picture 6">
            <a:extLst>
              <a:ext uri="{FF2B5EF4-FFF2-40B4-BE49-F238E27FC236}">
                <a16:creationId xmlns:a16="http://schemas.microsoft.com/office/drawing/2014/main" id="{B6AC6BBD-49EF-4FB7-B5A7-4E38D7FF03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70600" y="1595438"/>
            <a:ext cx="568325"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3" name="Picture 7">
            <a:extLst>
              <a:ext uri="{FF2B5EF4-FFF2-40B4-BE49-F238E27FC236}">
                <a16:creationId xmlns:a16="http://schemas.microsoft.com/office/drawing/2014/main" id="{9488A6B4-59D5-4E41-B66D-01DC7DDD00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00963" y="1592263"/>
            <a:ext cx="54133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4" name="Picture 8">
            <a:extLst>
              <a:ext uri="{FF2B5EF4-FFF2-40B4-BE49-F238E27FC236}">
                <a16:creationId xmlns:a16="http://schemas.microsoft.com/office/drawing/2014/main" id="{243BA477-9FB5-4D17-8522-085F24D750B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15523" b="20805"/>
          <a:stretch>
            <a:fillRect/>
          </a:stretch>
        </p:blipFill>
        <p:spPr bwMode="auto">
          <a:xfrm>
            <a:off x="7102475" y="1565275"/>
            <a:ext cx="54133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5" name="Picture 12">
            <a:extLst>
              <a:ext uri="{FF2B5EF4-FFF2-40B4-BE49-F238E27FC236}">
                <a16:creationId xmlns:a16="http://schemas.microsoft.com/office/drawing/2014/main" id="{98360F18-7128-4157-BCCB-1977CC01A7A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18300" y="1570038"/>
            <a:ext cx="274638"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26" name="Picture 13">
            <a:extLst>
              <a:ext uri="{FF2B5EF4-FFF2-40B4-BE49-F238E27FC236}">
                <a16:creationId xmlns:a16="http://schemas.microsoft.com/office/drawing/2014/main" id="{2F5B10F9-A19D-4519-8F2F-BC3933FFF8A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74063" y="1541463"/>
            <a:ext cx="2032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4127093"/>
      </p:ext>
    </p:extLst>
  </p:cSld>
  <p:clrMapOvr>
    <a:masterClrMapping/>
  </p:clrMapOvr>
  <p:transition spd="slow">
    <p:circl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6C6E3395-E39C-5242-BB9B-B8A303CB8D61}"/>
              </a:ext>
            </a:extLst>
          </p:cNvPr>
          <p:cNvSpPr/>
          <p:nvPr/>
        </p:nvSpPr>
        <p:spPr bwMode="auto">
          <a:xfrm>
            <a:off x="5543550" y="758325"/>
            <a:ext cx="3339193" cy="4101058"/>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3" name="Title 2">
            <a:extLst>
              <a:ext uri="{FF2B5EF4-FFF2-40B4-BE49-F238E27FC236}">
                <a16:creationId xmlns:a16="http://schemas.microsoft.com/office/drawing/2014/main" id="{2B42557B-4EF0-E144-9802-6E99AC80A9F2}"/>
              </a:ext>
            </a:extLst>
          </p:cNvPr>
          <p:cNvSpPr>
            <a:spLocks noGrp="1"/>
          </p:cNvSpPr>
          <p:nvPr>
            <p:ph type="title"/>
          </p:nvPr>
        </p:nvSpPr>
        <p:spPr>
          <a:xfrm>
            <a:off x="211705" y="251527"/>
            <a:ext cx="4647678" cy="1186748"/>
          </a:xfrm>
        </p:spPr>
        <p:txBody>
          <a:bodyPr/>
          <a:lstStyle/>
          <a:p>
            <a:pPr>
              <a:defRPr/>
            </a:pPr>
            <a:r>
              <a:rPr lang="en-US" dirty="0"/>
              <a:t>Embrace cloud with confidence </a:t>
            </a:r>
            <a:br>
              <a:rPr lang="en-US" dirty="0"/>
            </a:br>
            <a:r>
              <a:rPr lang="en-US" sz="1600" dirty="0"/>
              <a:t>for unmatched versatility</a:t>
            </a:r>
            <a:endParaRPr lang="en-US" sz="2400" dirty="0"/>
          </a:p>
        </p:txBody>
      </p:sp>
      <p:sp>
        <p:nvSpPr>
          <p:cNvPr id="123907" name="Rectangle 5">
            <a:extLst>
              <a:ext uri="{FF2B5EF4-FFF2-40B4-BE49-F238E27FC236}">
                <a16:creationId xmlns:a16="http://schemas.microsoft.com/office/drawing/2014/main" id="{D362A38D-E5C0-4D8A-9D84-7CD35CB480CB}"/>
              </a:ext>
            </a:extLst>
          </p:cNvPr>
          <p:cNvSpPr>
            <a:spLocks noChangeArrowheads="1"/>
          </p:cNvSpPr>
          <p:nvPr/>
        </p:nvSpPr>
        <p:spPr bwMode="auto">
          <a:xfrm>
            <a:off x="325644" y="1702462"/>
            <a:ext cx="485210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spcAft>
                <a:spcPts val="600"/>
              </a:spcAft>
            </a:pPr>
            <a:r>
              <a:rPr lang="en-US" altLang="en-US" sz="1800" b="1" dirty="0">
                <a:solidFill>
                  <a:srgbClr val="000000"/>
                </a:solidFill>
              </a:rPr>
              <a:t>Integrate advanced cloud services </a:t>
            </a:r>
            <a:br>
              <a:rPr lang="en-US" altLang="en-US" sz="1800" b="1" i="1" dirty="0">
                <a:solidFill>
                  <a:srgbClr val="000000"/>
                </a:solidFill>
              </a:rPr>
            </a:br>
            <a:r>
              <a:rPr lang="en-US" altLang="en-US" sz="1200" dirty="0">
                <a:solidFill>
                  <a:srgbClr val="000000"/>
                </a:solidFill>
              </a:rPr>
              <a:t>with the only hybrid, </a:t>
            </a:r>
            <a:r>
              <a:rPr lang="en-US" altLang="en-US" sz="1200" dirty="0" err="1">
                <a:solidFill>
                  <a:srgbClr val="000000"/>
                </a:solidFill>
              </a:rPr>
              <a:t>multicloud</a:t>
            </a:r>
            <a:r>
              <a:rPr lang="en-US" altLang="en-US" sz="1200" dirty="0">
                <a:solidFill>
                  <a:srgbClr val="000000"/>
                </a:solidFill>
              </a:rPr>
              <a:t> CI stack</a:t>
            </a:r>
            <a:endParaRPr lang="en-US" altLang="en-US" sz="1800" dirty="0">
              <a:solidFill>
                <a:srgbClr val="000000"/>
              </a:solidFill>
            </a:endParaRPr>
          </a:p>
        </p:txBody>
      </p:sp>
      <p:sp>
        <p:nvSpPr>
          <p:cNvPr id="123908" name="Rectangle 6">
            <a:extLst>
              <a:ext uri="{FF2B5EF4-FFF2-40B4-BE49-F238E27FC236}">
                <a16:creationId xmlns:a16="http://schemas.microsoft.com/office/drawing/2014/main" id="{4FEC344D-7A56-4EFD-AF66-C94E3BEF4931}"/>
              </a:ext>
            </a:extLst>
          </p:cNvPr>
          <p:cNvSpPr>
            <a:spLocks noChangeArrowheads="1"/>
          </p:cNvSpPr>
          <p:nvPr/>
        </p:nvSpPr>
        <p:spPr bwMode="auto">
          <a:xfrm>
            <a:off x="325644" y="2476750"/>
            <a:ext cx="484724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spcAft>
                <a:spcPts val="600"/>
              </a:spcAft>
            </a:pPr>
            <a:r>
              <a:rPr lang="en-US" altLang="en-US" sz="1800" b="1" dirty="0">
                <a:solidFill>
                  <a:srgbClr val="000000"/>
                </a:solidFill>
              </a:rPr>
              <a:t>Orchestrate across edge-core-cloud </a:t>
            </a:r>
            <a:br>
              <a:rPr lang="en-US" altLang="en-US" sz="1800" b="1" dirty="0">
                <a:solidFill>
                  <a:srgbClr val="000000"/>
                </a:solidFill>
              </a:rPr>
            </a:br>
            <a:r>
              <a:rPr lang="en-US" altLang="en-US" sz="1200" dirty="0">
                <a:solidFill>
                  <a:srgbClr val="000000"/>
                </a:solidFill>
              </a:rPr>
              <a:t>to support modern workloads</a:t>
            </a:r>
            <a:endParaRPr lang="en-US" altLang="en-US" sz="1200" b="1" i="1" dirty="0"/>
          </a:p>
        </p:txBody>
      </p:sp>
      <p:sp>
        <p:nvSpPr>
          <p:cNvPr id="123909" name="Rectangle 10">
            <a:extLst>
              <a:ext uri="{FF2B5EF4-FFF2-40B4-BE49-F238E27FC236}">
                <a16:creationId xmlns:a16="http://schemas.microsoft.com/office/drawing/2014/main" id="{2881586E-B53D-4662-A469-90BD0EF2C05F}"/>
              </a:ext>
            </a:extLst>
          </p:cNvPr>
          <p:cNvSpPr>
            <a:spLocks noChangeArrowheads="1"/>
          </p:cNvSpPr>
          <p:nvPr/>
        </p:nvSpPr>
        <p:spPr bwMode="auto">
          <a:xfrm>
            <a:off x="325644" y="3318499"/>
            <a:ext cx="53355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600"/>
              </a:spcBef>
              <a:spcAft>
                <a:spcPts val="600"/>
              </a:spcAft>
            </a:pPr>
            <a:r>
              <a:rPr lang="en-US" altLang="en-US" sz="1800" b="1" dirty="0">
                <a:solidFill>
                  <a:srgbClr val="000000"/>
                </a:solidFill>
              </a:rPr>
              <a:t>Meet the needs of diverse workloads</a:t>
            </a:r>
            <a:br>
              <a:rPr lang="en-US" altLang="en-US" sz="1800" b="1" i="1" dirty="0">
                <a:solidFill>
                  <a:srgbClr val="000000"/>
                </a:solidFill>
              </a:rPr>
            </a:br>
            <a:r>
              <a:rPr lang="en-US" altLang="en-US" sz="1200" dirty="0">
                <a:solidFill>
                  <a:srgbClr val="000000"/>
                </a:solidFill>
              </a:rPr>
              <a:t>with precision scalability and broad application support</a:t>
            </a:r>
          </a:p>
        </p:txBody>
      </p:sp>
      <p:sp>
        <p:nvSpPr>
          <p:cNvPr id="12" name="Freeform 48">
            <a:extLst>
              <a:ext uri="{FF2B5EF4-FFF2-40B4-BE49-F238E27FC236}">
                <a16:creationId xmlns:a16="http://schemas.microsoft.com/office/drawing/2014/main" id="{B024E87E-36C5-8842-8570-A146A1A18872}"/>
              </a:ext>
            </a:extLst>
          </p:cNvPr>
          <p:cNvSpPr>
            <a:spLocks/>
          </p:cNvSpPr>
          <p:nvPr/>
        </p:nvSpPr>
        <p:spPr bwMode="auto">
          <a:xfrm>
            <a:off x="6211888" y="1417638"/>
            <a:ext cx="14287" cy="20637"/>
          </a:xfrm>
          <a:custGeom>
            <a:avLst/>
            <a:gdLst>
              <a:gd name="T0" fmla="*/ 101 w 204"/>
              <a:gd name="T1" fmla="*/ 0 h 302"/>
              <a:gd name="T2" fmla="*/ 123 w 204"/>
              <a:gd name="T3" fmla="*/ 3 h 302"/>
              <a:gd name="T4" fmla="*/ 142 w 204"/>
              <a:gd name="T5" fmla="*/ 10 h 302"/>
              <a:gd name="T6" fmla="*/ 159 w 204"/>
              <a:gd name="T7" fmla="*/ 24 h 302"/>
              <a:gd name="T8" fmla="*/ 175 w 204"/>
              <a:gd name="T9" fmla="*/ 41 h 302"/>
              <a:gd name="T10" fmla="*/ 188 w 204"/>
              <a:gd name="T11" fmla="*/ 63 h 302"/>
              <a:gd name="T12" fmla="*/ 196 w 204"/>
              <a:gd name="T13" fmla="*/ 90 h 302"/>
              <a:gd name="T14" fmla="*/ 202 w 204"/>
              <a:gd name="T15" fmla="*/ 119 h 302"/>
              <a:gd name="T16" fmla="*/ 204 w 204"/>
              <a:gd name="T17" fmla="*/ 150 h 302"/>
              <a:gd name="T18" fmla="*/ 204 w 204"/>
              <a:gd name="T19" fmla="*/ 152 h 302"/>
              <a:gd name="T20" fmla="*/ 202 w 204"/>
              <a:gd name="T21" fmla="*/ 185 h 302"/>
              <a:gd name="T22" fmla="*/ 197 w 204"/>
              <a:gd name="T23" fmla="*/ 213 h 302"/>
              <a:gd name="T24" fmla="*/ 188 w 204"/>
              <a:gd name="T25" fmla="*/ 239 h 302"/>
              <a:gd name="T26" fmla="*/ 176 w 204"/>
              <a:gd name="T27" fmla="*/ 260 h 302"/>
              <a:gd name="T28" fmla="*/ 160 w 204"/>
              <a:gd name="T29" fmla="*/ 278 h 302"/>
              <a:gd name="T30" fmla="*/ 144 w 204"/>
              <a:gd name="T31" fmla="*/ 291 h 302"/>
              <a:gd name="T32" fmla="*/ 124 w 204"/>
              <a:gd name="T33" fmla="*/ 299 h 302"/>
              <a:gd name="T34" fmla="*/ 103 w 204"/>
              <a:gd name="T35" fmla="*/ 302 h 302"/>
              <a:gd name="T36" fmla="*/ 82 w 204"/>
              <a:gd name="T37" fmla="*/ 299 h 302"/>
              <a:gd name="T38" fmla="*/ 62 w 204"/>
              <a:gd name="T39" fmla="*/ 291 h 302"/>
              <a:gd name="T40" fmla="*/ 44 w 204"/>
              <a:gd name="T41" fmla="*/ 278 h 302"/>
              <a:gd name="T42" fmla="*/ 30 w 204"/>
              <a:gd name="T43" fmla="*/ 260 h 302"/>
              <a:gd name="T44" fmla="*/ 17 w 204"/>
              <a:gd name="T45" fmla="*/ 238 h 302"/>
              <a:gd name="T46" fmla="*/ 8 w 204"/>
              <a:gd name="T47" fmla="*/ 212 h 302"/>
              <a:gd name="T48" fmla="*/ 2 w 204"/>
              <a:gd name="T49" fmla="*/ 183 h 302"/>
              <a:gd name="T50" fmla="*/ 0 w 204"/>
              <a:gd name="T51" fmla="*/ 150 h 302"/>
              <a:gd name="T52" fmla="*/ 0 w 204"/>
              <a:gd name="T53" fmla="*/ 149 h 302"/>
              <a:gd name="T54" fmla="*/ 2 w 204"/>
              <a:gd name="T55" fmla="*/ 117 h 302"/>
              <a:gd name="T56" fmla="*/ 8 w 204"/>
              <a:gd name="T57" fmla="*/ 88 h 302"/>
              <a:gd name="T58" fmla="*/ 17 w 204"/>
              <a:gd name="T59" fmla="*/ 62 h 302"/>
              <a:gd name="T60" fmla="*/ 29 w 204"/>
              <a:gd name="T61" fmla="*/ 40 h 302"/>
              <a:gd name="T62" fmla="*/ 43 w 204"/>
              <a:gd name="T63" fmla="*/ 23 h 302"/>
              <a:gd name="T64" fmla="*/ 61 w 204"/>
              <a:gd name="T65" fmla="*/ 10 h 302"/>
              <a:gd name="T66" fmla="*/ 80 w 204"/>
              <a:gd name="T67" fmla="*/ 3 h 302"/>
              <a:gd name="T68" fmla="*/ 101 w 20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2">
                <a:moveTo>
                  <a:pt x="101" y="0"/>
                </a:moveTo>
                <a:lnTo>
                  <a:pt x="123" y="3"/>
                </a:lnTo>
                <a:lnTo>
                  <a:pt x="142" y="10"/>
                </a:lnTo>
                <a:lnTo>
                  <a:pt x="159" y="24"/>
                </a:lnTo>
                <a:lnTo>
                  <a:pt x="175" y="41"/>
                </a:lnTo>
                <a:lnTo>
                  <a:pt x="188" y="63"/>
                </a:lnTo>
                <a:lnTo>
                  <a:pt x="196" y="90"/>
                </a:lnTo>
                <a:lnTo>
                  <a:pt x="202" y="119"/>
                </a:lnTo>
                <a:lnTo>
                  <a:pt x="204" y="150"/>
                </a:lnTo>
                <a:lnTo>
                  <a:pt x="204" y="152"/>
                </a:lnTo>
                <a:lnTo>
                  <a:pt x="202" y="185"/>
                </a:lnTo>
                <a:lnTo>
                  <a:pt x="197" y="213"/>
                </a:lnTo>
                <a:lnTo>
                  <a:pt x="188" y="239"/>
                </a:lnTo>
                <a:lnTo>
                  <a:pt x="176" y="260"/>
                </a:lnTo>
                <a:lnTo>
                  <a:pt x="160" y="278"/>
                </a:lnTo>
                <a:lnTo>
                  <a:pt x="144" y="291"/>
                </a:lnTo>
                <a:lnTo>
                  <a:pt x="124" y="299"/>
                </a:lnTo>
                <a:lnTo>
                  <a:pt x="103" y="302"/>
                </a:lnTo>
                <a:lnTo>
                  <a:pt x="82" y="299"/>
                </a:lnTo>
                <a:lnTo>
                  <a:pt x="62" y="291"/>
                </a:lnTo>
                <a:lnTo>
                  <a:pt x="44" y="278"/>
                </a:lnTo>
                <a:lnTo>
                  <a:pt x="30" y="260"/>
                </a:lnTo>
                <a:lnTo>
                  <a:pt x="17" y="238"/>
                </a:lnTo>
                <a:lnTo>
                  <a:pt x="8" y="212"/>
                </a:lnTo>
                <a:lnTo>
                  <a:pt x="2" y="183"/>
                </a:lnTo>
                <a:lnTo>
                  <a:pt x="0" y="150"/>
                </a:lnTo>
                <a:lnTo>
                  <a:pt x="0" y="149"/>
                </a:lnTo>
                <a:lnTo>
                  <a:pt x="2" y="117"/>
                </a:lnTo>
                <a:lnTo>
                  <a:pt x="8" y="88"/>
                </a:lnTo>
                <a:lnTo>
                  <a:pt x="17" y="62"/>
                </a:lnTo>
                <a:lnTo>
                  <a:pt x="29" y="40"/>
                </a:lnTo>
                <a:lnTo>
                  <a:pt x="43" y="23"/>
                </a:lnTo>
                <a:lnTo>
                  <a:pt x="61" y="10"/>
                </a:lnTo>
                <a:lnTo>
                  <a:pt x="80" y="3"/>
                </a:lnTo>
                <a:lnTo>
                  <a:pt x="101" y="0"/>
                </a:lnTo>
                <a:close/>
              </a:path>
            </a:pathLst>
          </a:custGeom>
          <a:solidFill>
            <a:schemeClr val="bg1"/>
          </a:solidFill>
          <a:ln w="0">
            <a:noFill/>
            <a:prstDash val="solid"/>
            <a:round/>
            <a:headEnd/>
            <a:tailEnd/>
          </a:ln>
        </p:spPr>
        <p:txBody>
          <a:bodyPr lIns="68544" tIns="34272" rIns="68544" bIns="34272"/>
          <a:lstStyle/>
          <a:p>
            <a:pPr>
              <a:defRPr/>
            </a:pPr>
            <a:endParaRPr lang="en-US" sz="1424">
              <a:cs typeface="Arial" panose="020B0604020202020204" pitchFamily="34" charset="0"/>
            </a:endParaRPr>
          </a:p>
        </p:txBody>
      </p:sp>
      <p:sp>
        <p:nvSpPr>
          <p:cNvPr id="13" name="Rectangle 12">
            <a:extLst>
              <a:ext uri="{FF2B5EF4-FFF2-40B4-BE49-F238E27FC236}">
                <a16:creationId xmlns:a16="http://schemas.microsoft.com/office/drawing/2014/main" id="{EAA766E4-2731-CC41-B35D-888861F4AD25}"/>
              </a:ext>
            </a:extLst>
          </p:cNvPr>
          <p:cNvSpPr/>
          <p:nvPr/>
        </p:nvSpPr>
        <p:spPr>
          <a:xfrm>
            <a:off x="6113463" y="1171575"/>
            <a:ext cx="2414587" cy="247650"/>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44" tIns="81000" rIns="68544" bIns="34272" anchor="ctr"/>
          <a:lstStyle/>
          <a:p>
            <a:pPr algn="ctr">
              <a:lnSpc>
                <a:spcPct val="95000"/>
              </a:lnSpc>
              <a:defRPr/>
            </a:pPr>
            <a:r>
              <a:rPr lang="en-US" altLang="ja-JP" sz="1500" b="1">
                <a:solidFill>
                  <a:prstClr val="white"/>
                </a:solidFill>
                <a:latin typeface="メイリオ" panose="020B0604030504040204" pitchFamily="50" charset="-128"/>
                <a:ea typeface="メイリオ" panose="020B0604030504040204" pitchFamily="50" charset="-128"/>
                <a:cs typeface="MS Mincho"/>
              </a:rPr>
              <a:t>Edge</a:t>
            </a:r>
            <a:endParaRPr lang="ja-JP" altLang="en-US" sz="1424" b="1">
              <a:solidFill>
                <a:prstClr val="white"/>
              </a:solidFill>
              <a:latin typeface="メイリオ" panose="020B0604030504040204" pitchFamily="50" charset="-128"/>
              <a:ea typeface="メイリオ" panose="020B0604030504040204" pitchFamily="50" charset="-128"/>
            </a:endParaRPr>
          </a:p>
        </p:txBody>
      </p:sp>
      <p:sp>
        <p:nvSpPr>
          <p:cNvPr id="14" name="Oval 13">
            <a:extLst>
              <a:ext uri="{FF2B5EF4-FFF2-40B4-BE49-F238E27FC236}">
                <a16:creationId xmlns:a16="http://schemas.microsoft.com/office/drawing/2014/main" id="{B6D64FEC-BF31-2446-BCB6-503826FC5662}"/>
              </a:ext>
            </a:extLst>
          </p:cNvPr>
          <p:cNvSpPr/>
          <p:nvPr/>
        </p:nvSpPr>
        <p:spPr>
          <a:xfrm>
            <a:off x="6042025" y="1090613"/>
            <a:ext cx="409575" cy="409575"/>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algn="ctr">
              <a:lnSpc>
                <a:spcPct val="95000"/>
              </a:lnSpc>
              <a:defRPr/>
            </a:pPr>
            <a:endParaRPr lang="en-US" sz="1424"/>
          </a:p>
        </p:txBody>
      </p:sp>
      <p:sp>
        <p:nvSpPr>
          <p:cNvPr id="15" name="Freeform 40">
            <a:extLst>
              <a:ext uri="{FF2B5EF4-FFF2-40B4-BE49-F238E27FC236}">
                <a16:creationId xmlns:a16="http://schemas.microsoft.com/office/drawing/2014/main" id="{2F97FD1C-4577-544E-AA10-97CCF710CC7C}"/>
              </a:ext>
            </a:extLst>
          </p:cNvPr>
          <p:cNvSpPr>
            <a:spLocks noEditPoints="1"/>
          </p:cNvSpPr>
          <p:nvPr/>
        </p:nvSpPr>
        <p:spPr bwMode="auto">
          <a:xfrm>
            <a:off x="6115050" y="1168400"/>
            <a:ext cx="252413" cy="252413"/>
          </a:xfrm>
          <a:custGeom>
            <a:avLst/>
            <a:gdLst>
              <a:gd name="T0" fmla="*/ 2109 w 3442"/>
              <a:gd name="T1" fmla="*/ 2814 h 3451"/>
              <a:gd name="T2" fmla="*/ 2365 w 3442"/>
              <a:gd name="T3" fmla="*/ 3252 h 3451"/>
              <a:gd name="T4" fmla="*/ 1528 w 3442"/>
              <a:gd name="T5" fmla="*/ 2654 h 3451"/>
              <a:gd name="T6" fmla="*/ 1638 w 3442"/>
              <a:gd name="T7" fmla="*/ 3223 h 3451"/>
              <a:gd name="T8" fmla="*/ 1823 w 3442"/>
              <a:gd name="T9" fmla="*/ 2610 h 3451"/>
              <a:gd name="T10" fmla="*/ 232 w 3442"/>
              <a:gd name="T11" fmla="*/ 2803 h 3451"/>
              <a:gd name="T12" fmla="*/ 492 w 3442"/>
              <a:gd name="T13" fmla="*/ 3271 h 3451"/>
              <a:gd name="T14" fmla="*/ 2823 w 3442"/>
              <a:gd name="T15" fmla="*/ 2622 h 3451"/>
              <a:gd name="T16" fmla="*/ 2671 w 3442"/>
              <a:gd name="T17" fmla="*/ 3121 h 3451"/>
              <a:gd name="T18" fmla="*/ 3185 w 3442"/>
              <a:gd name="T19" fmla="*/ 3150 h 3451"/>
              <a:gd name="T20" fmla="*/ 3085 w 3442"/>
              <a:gd name="T21" fmla="*/ 2636 h 3451"/>
              <a:gd name="T22" fmla="*/ 750 w 3442"/>
              <a:gd name="T23" fmla="*/ 2866 h 3451"/>
              <a:gd name="T24" fmla="*/ 1049 w 3442"/>
              <a:gd name="T25" fmla="*/ 3281 h 3451"/>
              <a:gd name="T26" fmla="*/ 1350 w 3442"/>
              <a:gd name="T27" fmla="*/ 2863 h 3451"/>
              <a:gd name="T28" fmla="*/ 2332 w 3442"/>
              <a:gd name="T29" fmla="*/ 1802 h 3451"/>
              <a:gd name="T30" fmla="*/ 2284 w 3442"/>
              <a:gd name="T31" fmla="*/ 2042 h 3451"/>
              <a:gd name="T32" fmla="*/ 2485 w 3442"/>
              <a:gd name="T33" fmla="*/ 1827 h 3451"/>
              <a:gd name="T34" fmla="*/ 948 w 3442"/>
              <a:gd name="T35" fmla="*/ 1966 h 3451"/>
              <a:gd name="T36" fmla="*/ 1104 w 3442"/>
              <a:gd name="T37" fmla="*/ 2458 h 3451"/>
              <a:gd name="T38" fmla="*/ 2897 w 3442"/>
              <a:gd name="T39" fmla="*/ 1792 h 3451"/>
              <a:gd name="T40" fmla="*/ 2645 w 3442"/>
              <a:gd name="T41" fmla="*/ 2245 h 3451"/>
              <a:gd name="T42" fmla="*/ 3140 w 3442"/>
              <a:gd name="T43" fmla="*/ 2394 h 3451"/>
              <a:gd name="T44" fmla="*/ 3142 w 3442"/>
              <a:gd name="T45" fmla="*/ 1866 h 3451"/>
              <a:gd name="T46" fmla="*/ 1444 w 3442"/>
              <a:gd name="T47" fmla="*/ 1985 h 3451"/>
              <a:gd name="T48" fmla="*/ 1644 w 3442"/>
              <a:gd name="T49" fmla="*/ 2462 h 3451"/>
              <a:gd name="T50" fmla="*/ 2031 w 3442"/>
              <a:gd name="T51" fmla="*/ 2129 h 3451"/>
              <a:gd name="T52" fmla="*/ 427 w 3442"/>
              <a:gd name="T53" fmla="*/ 1799 h 3451"/>
              <a:gd name="T54" fmla="*/ 225 w 3442"/>
              <a:gd name="T55" fmla="*/ 2278 h 3451"/>
              <a:gd name="T56" fmla="*/ 732 w 3442"/>
              <a:gd name="T57" fmla="*/ 2368 h 3451"/>
              <a:gd name="T58" fmla="*/ 683 w 3442"/>
              <a:gd name="T59" fmla="*/ 1844 h 3451"/>
              <a:gd name="T60" fmla="*/ 2889 w 3442"/>
              <a:gd name="T61" fmla="*/ 1156 h 3451"/>
              <a:gd name="T62" fmla="*/ 3045 w 3442"/>
              <a:gd name="T63" fmla="*/ 1648 h 3451"/>
              <a:gd name="T64" fmla="*/ 1693 w 3442"/>
              <a:gd name="T65" fmla="*/ 982 h 3451"/>
              <a:gd name="T66" fmla="*/ 1609 w 3442"/>
              <a:gd name="T67" fmla="*/ 1195 h 3451"/>
              <a:gd name="T68" fmla="*/ 1842 w 3442"/>
              <a:gd name="T69" fmla="*/ 1602 h 3451"/>
              <a:gd name="T70" fmla="*/ 202 w 3442"/>
              <a:gd name="T71" fmla="*/ 1057 h 3451"/>
              <a:gd name="T72" fmla="*/ 339 w 3442"/>
              <a:gd name="T73" fmla="*/ 1627 h 3451"/>
              <a:gd name="T74" fmla="*/ 492 w 3442"/>
              <a:gd name="T75" fmla="*/ 980 h 3451"/>
              <a:gd name="T76" fmla="*/ 2074 w 3442"/>
              <a:gd name="T77" fmla="*/ 1322 h 3451"/>
              <a:gd name="T78" fmla="*/ 2495 w 3442"/>
              <a:gd name="T79" fmla="*/ 1640 h 3451"/>
              <a:gd name="T80" fmla="*/ 2646 w 3442"/>
              <a:gd name="T81" fmla="*/ 1140 h 3451"/>
              <a:gd name="T82" fmla="*/ 823 w 3442"/>
              <a:gd name="T83" fmla="*/ 1082 h 3451"/>
              <a:gd name="T84" fmla="*/ 872 w 3442"/>
              <a:gd name="T85" fmla="*/ 1607 h 3451"/>
              <a:gd name="T86" fmla="*/ 1350 w 3442"/>
              <a:gd name="T87" fmla="*/ 1396 h 3451"/>
              <a:gd name="T88" fmla="*/ 1050 w 3442"/>
              <a:gd name="T89" fmla="*/ 979 h 3451"/>
              <a:gd name="T90" fmla="*/ 2229 w 3442"/>
              <a:gd name="T91" fmla="*/ 388 h 3451"/>
              <a:gd name="T92" fmla="*/ 2483 w 3442"/>
              <a:gd name="T93" fmla="*/ 825 h 3451"/>
              <a:gd name="T94" fmla="*/ 952 w 3442"/>
              <a:gd name="T95" fmla="*/ 223 h 3451"/>
              <a:gd name="T96" fmla="*/ 1062 w 3442"/>
              <a:gd name="T97" fmla="*/ 792 h 3451"/>
              <a:gd name="T98" fmla="*/ 1246 w 3442"/>
              <a:gd name="T99" fmla="*/ 179 h 3451"/>
              <a:gd name="T100" fmla="*/ 2632 w 3442"/>
              <a:gd name="T101" fmla="*/ 472 h 3451"/>
              <a:gd name="T102" fmla="*/ 2977 w 3442"/>
              <a:gd name="T103" fmla="*/ 847 h 3451"/>
              <a:gd name="T104" fmla="*/ 3229 w 3442"/>
              <a:gd name="T105" fmla="*/ 396 h 3451"/>
              <a:gd name="T106" fmla="*/ 1548 w 3442"/>
              <a:gd name="T107" fmla="*/ 224 h 3451"/>
              <a:gd name="T108" fmla="*/ 1497 w 3442"/>
              <a:gd name="T109" fmla="*/ 749 h 3451"/>
              <a:gd name="T110" fmla="*/ 2004 w 3442"/>
              <a:gd name="T111" fmla="*/ 656 h 3451"/>
              <a:gd name="T112" fmla="*/ 1804 w 3442"/>
              <a:gd name="T113" fmla="*/ 178 h 3451"/>
              <a:gd name="T114" fmla="*/ 199 w 3442"/>
              <a:gd name="T115" fmla="*/ 510 h 3451"/>
              <a:gd name="T116" fmla="*/ 583 w 3442"/>
              <a:gd name="T117" fmla="*/ 841 h 3451"/>
              <a:gd name="T118" fmla="*/ 787 w 3442"/>
              <a:gd name="T119" fmla="*/ 362 h 3451"/>
              <a:gd name="T120" fmla="*/ 3380 w 3442"/>
              <a:gd name="T121" fmla="*/ 63 h 3451"/>
              <a:gd name="T122" fmla="*/ 215 w 3442"/>
              <a:gd name="T123" fmla="*/ 3451 h 3451"/>
              <a:gd name="T124" fmla="*/ 88 w 3442"/>
              <a:gd name="T125" fmla="*/ 41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42" h="3451">
                <a:moveTo>
                  <a:pt x="2227" y="2602"/>
                </a:moveTo>
                <a:lnTo>
                  <a:pt x="2223" y="2603"/>
                </a:lnTo>
                <a:lnTo>
                  <a:pt x="2220" y="2604"/>
                </a:lnTo>
                <a:lnTo>
                  <a:pt x="2216" y="2606"/>
                </a:lnTo>
                <a:lnTo>
                  <a:pt x="2213" y="2607"/>
                </a:lnTo>
                <a:lnTo>
                  <a:pt x="2072" y="2648"/>
                </a:lnTo>
                <a:lnTo>
                  <a:pt x="2058" y="2654"/>
                </a:lnTo>
                <a:lnTo>
                  <a:pt x="2046" y="2664"/>
                </a:lnTo>
                <a:lnTo>
                  <a:pt x="2039" y="2678"/>
                </a:lnTo>
                <a:lnTo>
                  <a:pt x="2035" y="2694"/>
                </a:lnTo>
                <a:lnTo>
                  <a:pt x="2037" y="2710"/>
                </a:lnTo>
                <a:lnTo>
                  <a:pt x="2054" y="2777"/>
                </a:lnTo>
                <a:lnTo>
                  <a:pt x="2059" y="2791"/>
                </a:lnTo>
                <a:lnTo>
                  <a:pt x="2068" y="2803"/>
                </a:lnTo>
                <a:lnTo>
                  <a:pt x="2080" y="2811"/>
                </a:lnTo>
                <a:lnTo>
                  <a:pt x="2095" y="2814"/>
                </a:lnTo>
                <a:lnTo>
                  <a:pt x="2109" y="2814"/>
                </a:lnTo>
                <a:lnTo>
                  <a:pt x="2125" y="2813"/>
                </a:lnTo>
                <a:lnTo>
                  <a:pt x="2139" y="2816"/>
                </a:lnTo>
                <a:lnTo>
                  <a:pt x="2150" y="2824"/>
                </a:lnTo>
                <a:lnTo>
                  <a:pt x="2159" y="2835"/>
                </a:lnTo>
                <a:lnTo>
                  <a:pt x="2165" y="2848"/>
                </a:lnTo>
                <a:lnTo>
                  <a:pt x="2167" y="2863"/>
                </a:lnTo>
                <a:lnTo>
                  <a:pt x="2167" y="3223"/>
                </a:lnTo>
                <a:lnTo>
                  <a:pt x="2169" y="3236"/>
                </a:lnTo>
                <a:lnTo>
                  <a:pt x="2175" y="3248"/>
                </a:lnTo>
                <a:lnTo>
                  <a:pt x="2185" y="3257"/>
                </a:lnTo>
                <a:lnTo>
                  <a:pt x="2196" y="3265"/>
                </a:lnTo>
                <a:lnTo>
                  <a:pt x="2210" y="3269"/>
                </a:lnTo>
                <a:lnTo>
                  <a:pt x="2223" y="3271"/>
                </a:lnTo>
                <a:lnTo>
                  <a:pt x="2329" y="3271"/>
                </a:lnTo>
                <a:lnTo>
                  <a:pt x="2344" y="3268"/>
                </a:lnTo>
                <a:lnTo>
                  <a:pt x="2355" y="3261"/>
                </a:lnTo>
                <a:lnTo>
                  <a:pt x="2365" y="3252"/>
                </a:lnTo>
                <a:lnTo>
                  <a:pt x="2370" y="3238"/>
                </a:lnTo>
                <a:lnTo>
                  <a:pt x="2371" y="3223"/>
                </a:lnTo>
                <a:lnTo>
                  <a:pt x="2371" y="2659"/>
                </a:lnTo>
                <a:lnTo>
                  <a:pt x="2370" y="2645"/>
                </a:lnTo>
                <a:lnTo>
                  <a:pt x="2367" y="2632"/>
                </a:lnTo>
                <a:lnTo>
                  <a:pt x="2361" y="2619"/>
                </a:lnTo>
                <a:lnTo>
                  <a:pt x="2352" y="2610"/>
                </a:lnTo>
                <a:lnTo>
                  <a:pt x="2342" y="2604"/>
                </a:lnTo>
                <a:lnTo>
                  <a:pt x="2329" y="2602"/>
                </a:lnTo>
                <a:lnTo>
                  <a:pt x="2227" y="2602"/>
                </a:lnTo>
                <a:close/>
                <a:moveTo>
                  <a:pt x="1698" y="2602"/>
                </a:moveTo>
                <a:lnTo>
                  <a:pt x="1693" y="2603"/>
                </a:lnTo>
                <a:lnTo>
                  <a:pt x="1690" y="2604"/>
                </a:lnTo>
                <a:lnTo>
                  <a:pt x="1687" y="2606"/>
                </a:lnTo>
                <a:lnTo>
                  <a:pt x="1684" y="2607"/>
                </a:lnTo>
                <a:lnTo>
                  <a:pt x="1543" y="2648"/>
                </a:lnTo>
                <a:lnTo>
                  <a:pt x="1528" y="2654"/>
                </a:lnTo>
                <a:lnTo>
                  <a:pt x="1516" y="2664"/>
                </a:lnTo>
                <a:lnTo>
                  <a:pt x="1509" y="2678"/>
                </a:lnTo>
                <a:lnTo>
                  <a:pt x="1506" y="2694"/>
                </a:lnTo>
                <a:lnTo>
                  <a:pt x="1507" y="2710"/>
                </a:lnTo>
                <a:lnTo>
                  <a:pt x="1524" y="2777"/>
                </a:lnTo>
                <a:lnTo>
                  <a:pt x="1530" y="2791"/>
                </a:lnTo>
                <a:lnTo>
                  <a:pt x="1539" y="2803"/>
                </a:lnTo>
                <a:lnTo>
                  <a:pt x="1551" y="2811"/>
                </a:lnTo>
                <a:lnTo>
                  <a:pt x="1565" y="2814"/>
                </a:lnTo>
                <a:lnTo>
                  <a:pt x="1580" y="2814"/>
                </a:lnTo>
                <a:lnTo>
                  <a:pt x="1595" y="2813"/>
                </a:lnTo>
                <a:lnTo>
                  <a:pt x="1609" y="2816"/>
                </a:lnTo>
                <a:lnTo>
                  <a:pt x="1621" y="2824"/>
                </a:lnTo>
                <a:lnTo>
                  <a:pt x="1630" y="2835"/>
                </a:lnTo>
                <a:lnTo>
                  <a:pt x="1636" y="2848"/>
                </a:lnTo>
                <a:lnTo>
                  <a:pt x="1638" y="2863"/>
                </a:lnTo>
                <a:lnTo>
                  <a:pt x="1638" y="3223"/>
                </a:lnTo>
                <a:lnTo>
                  <a:pt x="1640" y="3236"/>
                </a:lnTo>
                <a:lnTo>
                  <a:pt x="1646" y="3248"/>
                </a:lnTo>
                <a:lnTo>
                  <a:pt x="1656" y="3257"/>
                </a:lnTo>
                <a:lnTo>
                  <a:pt x="1667" y="3265"/>
                </a:lnTo>
                <a:lnTo>
                  <a:pt x="1681" y="3269"/>
                </a:lnTo>
                <a:lnTo>
                  <a:pt x="1694" y="3271"/>
                </a:lnTo>
                <a:lnTo>
                  <a:pt x="1799" y="3271"/>
                </a:lnTo>
                <a:lnTo>
                  <a:pt x="1815" y="3268"/>
                </a:lnTo>
                <a:lnTo>
                  <a:pt x="1826" y="3261"/>
                </a:lnTo>
                <a:lnTo>
                  <a:pt x="1835" y="3252"/>
                </a:lnTo>
                <a:lnTo>
                  <a:pt x="1840" y="3238"/>
                </a:lnTo>
                <a:lnTo>
                  <a:pt x="1842" y="3223"/>
                </a:lnTo>
                <a:lnTo>
                  <a:pt x="1842" y="2659"/>
                </a:lnTo>
                <a:lnTo>
                  <a:pt x="1841" y="2645"/>
                </a:lnTo>
                <a:lnTo>
                  <a:pt x="1837" y="2632"/>
                </a:lnTo>
                <a:lnTo>
                  <a:pt x="1832" y="2619"/>
                </a:lnTo>
                <a:lnTo>
                  <a:pt x="1823" y="2610"/>
                </a:lnTo>
                <a:lnTo>
                  <a:pt x="1812" y="2604"/>
                </a:lnTo>
                <a:lnTo>
                  <a:pt x="1799" y="2602"/>
                </a:lnTo>
                <a:lnTo>
                  <a:pt x="1698" y="2602"/>
                </a:lnTo>
                <a:close/>
                <a:moveTo>
                  <a:pt x="391" y="2602"/>
                </a:moveTo>
                <a:lnTo>
                  <a:pt x="386" y="2603"/>
                </a:lnTo>
                <a:lnTo>
                  <a:pt x="383" y="2604"/>
                </a:lnTo>
                <a:lnTo>
                  <a:pt x="380" y="2606"/>
                </a:lnTo>
                <a:lnTo>
                  <a:pt x="377" y="2607"/>
                </a:lnTo>
                <a:lnTo>
                  <a:pt x="236" y="2648"/>
                </a:lnTo>
                <a:lnTo>
                  <a:pt x="221" y="2654"/>
                </a:lnTo>
                <a:lnTo>
                  <a:pt x="211" y="2664"/>
                </a:lnTo>
                <a:lnTo>
                  <a:pt x="202" y="2678"/>
                </a:lnTo>
                <a:lnTo>
                  <a:pt x="199" y="2694"/>
                </a:lnTo>
                <a:lnTo>
                  <a:pt x="200" y="2710"/>
                </a:lnTo>
                <a:lnTo>
                  <a:pt x="218" y="2777"/>
                </a:lnTo>
                <a:lnTo>
                  <a:pt x="223" y="2791"/>
                </a:lnTo>
                <a:lnTo>
                  <a:pt x="232" y="2803"/>
                </a:lnTo>
                <a:lnTo>
                  <a:pt x="244" y="2811"/>
                </a:lnTo>
                <a:lnTo>
                  <a:pt x="258" y="2814"/>
                </a:lnTo>
                <a:lnTo>
                  <a:pt x="273" y="2814"/>
                </a:lnTo>
                <a:lnTo>
                  <a:pt x="288" y="2813"/>
                </a:lnTo>
                <a:lnTo>
                  <a:pt x="303" y="2816"/>
                </a:lnTo>
                <a:lnTo>
                  <a:pt x="314" y="2824"/>
                </a:lnTo>
                <a:lnTo>
                  <a:pt x="323" y="2835"/>
                </a:lnTo>
                <a:lnTo>
                  <a:pt x="329" y="2848"/>
                </a:lnTo>
                <a:lnTo>
                  <a:pt x="331" y="2863"/>
                </a:lnTo>
                <a:lnTo>
                  <a:pt x="331" y="3223"/>
                </a:lnTo>
                <a:lnTo>
                  <a:pt x="333" y="3236"/>
                </a:lnTo>
                <a:lnTo>
                  <a:pt x="339" y="3248"/>
                </a:lnTo>
                <a:lnTo>
                  <a:pt x="349" y="3257"/>
                </a:lnTo>
                <a:lnTo>
                  <a:pt x="360" y="3265"/>
                </a:lnTo>
                <a:lnTo>
                  <a:pt x="374" y="3269"/>
                </a:lnTo>
                <a:lnTo>
                  <a:pt x="387" y="3271"/>
                </a:lnTo>
                <a:lnTo>
                  <a:pt x="492" y="3271"/>
                </a:lnTo>
                <a:lnTo>
                  <a:pt x="508" y="3268"/>
                </a:lnTo>
                <a:lnTo>
                  <a:pt x="519" y="3261"/>
                </a:lnTo>
                <a:lnTo>
                  <a:pt x="528" y="3252"/>
                </a:lnTo>
                <a:lnTo>
                  <a:pt x="533" y="3238"/>
                </a:lnTo>
                <a:lnTo>
                  <a:pt x="535" y="3223"/>
                </a:lnTo>
                <a:lnTo>
                  <a:pt x="535" y="2659"/>
                </a:lnTo>
                <a:lnTo>
                  <a:pt x="534" y="2645"/>
                </a:lnTo>
                <a:lnTo>
                  <a:pt x="530" y="2632"/>
                </a:lnTo>
                <a:lnTo>
                  <a:pt x="525" y="2619"/>
                </a:lnTo>
                <a:lnTo>
                  <a:pt x="516" y="2610"/>
                </a:lnTo>
                <a:lnTo>
                  <a:pt x="506" y="2604"/>
                </a:lnTo>
                <a:lnTo>
                  <a:pt x="492" y="2602"/>
                </a:lnTo>
                <a:lnTo>
                  <a:pt x="391" y="2602"/>
                </a:lnTo>
                <a:close/>
                <a:moveTo>
                  <a:pt x="2938" y="2601"/>
                </a:moveTo>
                <a:lnTo>
                  <a:pt x="2897" y="2603"/>
                </a:lnTo>
                <a:lnTo>
                  <a:pt x="2859" y="2610"/>
                </a:lnTo>
                <a:lnTo>
                  <a:pt x="2823" y="2622"/>
                </a:lnTo>
                <a:lnTo>
                  <a:pt x="2791" y="2636"/>
                </a:lnTo>
                <a:lnTo>
                  <a:pt x="2761" y="2655"/>
                </a:lnTo>
                <a:lnTo>
                  <a:pt x="2734" y="2678"/>
                </a:lnTo>
                <a:lnTo>
                  <a:pt x="2710" y="2703"/>
                </a:lnTo>
                <a:lnTo>
                  <a:pt x="2689" y="2732"/>
                </a:lnTo>
                <a:lnTo>
                  <a:pt x="2672" y="2762"/>
                </a:lnTo>
                <a:lnTo>
                  <a:pt x="2657" y="2794"/>
                </a:lnTo>
                <a:lnTo>
                  <a:pt x="2645" y="2830"/>
                </a:lnTo>
                <a:lnTo>
                  <a:pt x="2637" y="2866"/>
                </a:lnTo>
                <a:lnTo>
                  <a:pt x="2632" y="2903"/>
                </a:lnTo>
                <a:lnTo>
                  <a:pt x="2631" y="2941"/>
                </a:lnTo>
                <a:lnTo>
                  <a:pt x="2631" y="2943"/>
                </a:lnTo>
                <a:lnTo>
                  <a:pt x="2632" y="2981"/>
                </a:lnTo>
                <a:lnTo>
                  <a:pt x="2637" y="3018"/>
                </a:lnTo>
                <a:lnTo>
                  <a:pt x="2645" y="3054"/>
                </a:lnTo>
                <a:lnTo>
                  <a:pt x="2657" y="3089"/>
                </a:lnTo>
                <a:lnTo>
                  <a:pt x="2671" y="3121"/>
                </a:lnTo>
                <a:lnTo>
                  <a:pt x="2688" y="3151"/>
                </a:lnTo>
                <a:lnTo>
                  <a:pt x="2709" y="3180"/>
                </a:lnTo>
                <a:lnTo>
                  <a:pt x="2732" y="3205"/>
                </a:lnTo>
                <a:lnTo>
                  <a:pt x="2760" y="3227"/>
                </a:lnTo>
                <a:lnTo>
                  <a:pt x="2789" y="3246"/>
                </a:lnTo>
                <a:lnTo>
                  <a:pt x="2821" y="3261"/>
                </a:lnTo>
                <a:lnTo>
                  <a:pt x="2857" y="3273"/>
                </a:lnTo>
                <a:lnTo>
                  <a:pt x="2895" y="3279"/>
                </a:lnTo>
                <a:lnTo>
                  <a:pt x="2937" y="3281"/>
                </a:lnTo>
                <a:lnTo>
                  <a:pt x="2977" y="3279"/>
                </a:lnTo>
                <a:lnTo>
                  <a:pt x="3015" y="3272"/>
                </a:lnTo>
                <a:lnTo>
                  <a:pt x="3051" y="3261"/>
                </a:lnTo>
                <a:lnTo>
                  <a:pt x="3083" y="3246"/>
                </a:lnTo>
                <a:lnTo>
                  <a:pt x="3114" y="3227"/>
                </a:lnTo>
                <a:lnTo>
                  <a:pt x="3140" y="3205"/>
                </a:lnTo>
                <a:lnTo>
                  <a:pt x="3164" y="3179"/>
                </a:lnTo>
                <a:lnTo>
                  <a:pt x="3185" y="3150"/>
                </a:lnTo>
                <a:lnTo>
                  <a:pt x="3203" y="3120"/>
                </a:lnTo>
                <a:lnTo>
                  <a:pt x="3217" y="3088"/>
                </a:lnTo>
                <a:lnTo>
                  <a:pt x="3229" y="3053"/>
                </a:lnTo>
                <a:lnTo>
                  <a:pt x="3237" y="3016"/>
                </a:lnTo>
                <a:lnTo>
                  <a:pt x="3242" y="2980"/>
                </a:lnTo>
                <a:lnTo>
                  <a:pt x="3243" y="2941"/>
                </a:lnTo>
                <a:lnTo>
                  <a:pt x="3243" y="2939"/>
                </a:lnTo>
                <a:lnTo>
                  <a:pt x="3242" y="2901"/>
                </a:lnTo>
                <a:lnTo>
                  <a:pt x="3237" y="2863"/>
                </a:lnTo>
                <a:lnTo>
                  <a:pt x="3229" y="2828"/>
                </a:lnTo>
                <a:lnTo>
                  <a:pt x="3217" y="2793"/>
                </a:lnTo>
                <a:lnTo>
                  <a:pt x="3204" y="2761"/>
                </a:lnTo>
                <a:lnTo>
                  <a:pt x="3186" y="2730"/>
                </a:lnTo>
                <a:lnTo>
                  <a:pt x="3165" y="2702"/>
                </a:lnTo>
                <a:lnTo>
                  <a:pt x="3142" y="2677"/>
                </a:lnTo>
                <a:lnTo>
                  <a:pt x="3115" y="2655"/>
                </a:lnTo>
                <a:lnTo>
                  <a:pt x="3085" y="2636"/>
                </a:lnTo>
                <a:lnTo>
                  <a:pt x="3053" y="2621"/>
                </a:lnTo>
                <a:lnTo>
                  <a:pt x="3017" y="2610"/>
                </a:lnTo>
                <a:lnTo>
                  <a:pt x="2979" y="2603"/>
                </a:lnTo>
                <a:lnTo>
                  <a:pt x="2938" y="2601"/>
                </a:lnTo>
                <a:close/>
                <a:moveTo>
                  <a:pt x="1050" y="2601"/>
                </a:moveTo>
                <a:lnTo>
                  <a:pt x="1010" y="2603"/>
                </a:lnTo>
                <a:lnTo>
                  <a:pt x="972" y="2610"/>
                </a:lnTo>
                <a:lnTo>
                  <a:pt x="936" y="2622"/>
                </a:lnTo>
                <a:lnTo>
                  <a:pt x="904" y="2636"/>
                </a:lnTo>
                <a:lnTo>
                  <a:pt x="873" y="2655"/>
                </a:lnTo>
                <a:lnTo>
                  <a:pt x="847" y="2678"/>
                </a:lnTo>
                <a:lnTo>
                  <a:pt x="823" y="2703"/>
                </a:lnTo>
                <a:lnTo>
                  <a:pt x="802" y="2732"/>
                </a:lnTo>
                <a:lnTo>
                  <a:pt x="784" y="2762"/>
                </a:lnTo>
                <a:lnTo>
                  <a:pt x="770" y="2794"/>
                </a:lnTo>
                <a:lnTo>
                  <a:pt x="758" y="2830"/>
                </a:lnTo>
                <a:lnTo>
                  <a:pt x="750" y="2866"/>
                </a:lnTo>
                <a:lnTo>
                  <a:pt x="745" y="2903"/>
                </a:lnTo>
                <a:lnTo>
                  <a:pt x="744" y="2941"/>
                </a:lnTo>
                <a:lnTo>
                  <a:pt x="744" y="2943"/>
                </a:lnTo>
                <a:lnTo>
                  <a:pt x="745" y="2981"/>
                </a:lnTo>
                <a:lnTo>
                  <a:pt x="750" y="3018"/>
                </a:lnTo>
                <a:lnTo>
                  <a:pt x="758" y="3054"/>
                </a:lnTo>
                <a:lnTo>
                  <a:pt x="770" y="3089"/>
                </a:lnTo>
                <a:lnTo>
                  <a:pt x="783" y="3121"/>
                </a:lnTo>
                <a:lnTo>
                  <a:pt x="801" y="3151"/>
                </a:lnTo>
                <a:lnTo>
                  <a:pt x="822" y="3180"/>
                </a:lnTo>
                <a:lnTo>
                  <a:pt x="846" y="3205"/>
                </a:lnTo>
                <a:lnTo>
                  <a:pt x="872" y="3227"/>
                </a:lnTo>
                <a:lnTo>
                  <a:pt x="902" y="3246"/>
                </a:lnTo>
                <a:lnTo>
                  <a:pt x="934" y="3261"/>
                </a:lnTo>
                <a:lnTo>
                  <a:pt x="970" y="3273"/>
                </a:lnTo>
                <a:lnTo>
                  <a:pt x="1009" y="3279"/>
                </a:lnTo>
                <a:lnTo>
                  <a:pt x="1049" y="3281"/>
                </a:lnTo>
                <a:lnTo>
                  <a:pt x="1090" y="3279"/>
                </a:lnTo>
                <a:lnTo>
                  <a:pt x="1128" y="3272"/>
                </a:lnTo>
                <a:lnTo>
                  <a:pt x="1164" y="3261"/>
                </a:lnTo>
                <a:lnTo>
                  <a:pt x="1196" y="3246"/>
                </a:lnTo>
                <a:lnTo>
                  <a:pt x="1226" y="3227"/>
                </a:lnTo>
                <a:lnTo>
                  <a:pt x="1254" y="3205"/>
                </a:lnTo>
                <a:lnTo>
                  <a:pt x="1277" y="3179"/>
                </a:lnTo>
                <a:lnTo>
                  <a:pt x="1298" y="3150"/>
                </a:lnTo>
                <a:lnTo>
                  <a:pt x="1315" y="3120"/>
                </a:lnTo>
                <a:lnTo>
                  <a:pt x="1330" y="3088"/>
                </a:lnTo>
                <a:lnTo>
                  <a:pt x="1342" y="3053"/>
                </a:lnTo>
                <a:lnTo>
                  <a:pt x="1350" y="3016"/>
                </a:lnTo>
                <a:lnTo>
                  <a:pt x="1355" y="2980"/>
                </a:lnTo>
                <a:lnTo>
                  <a:pt x="1356" y="2941"/>
                </a:lnTo>
                <a:lnTo>
                  <a:pt x="1356" y="2939"/>
                </a:lnTo>
                <a:lnTo>
                  <a:pt x="1355" y="2901"/>
                </a:lnTo>
                <a:lnTo>
                  <a:pt x="1350" y="2863"/>
                </a:lnTo>
                <a:lnTo>
                  <a:pt x="1342" y="2828"/>
                </a:lnTo>
                <a:lnTo>
                  <a:pt x="1330" y="2793"/>
                </a:lnTo>
                <a:lnTo>
                  <a:pt x="1316" y="2761"/>
                </a:lnTo>
                <a:lnTo>
                  <a:pt x="1299" y="2730"/>
                </a:lnTo>
                <a:lnTo>
                  <a:pt x="1278" y="2702"/>
                </a:lnTo>
                <a:lnTo>
                  <a:pt x="1255" y="2677"/>
                </a:lnTo>
                <a:lnTo>
                  <a:pt x="1227" y="2655"/>
                </a:lnTo>
                <a:lnTo>
                  <a:pt x="1198" y="2636"/>
                </a:lnTo>
                <a:lnTo>
                  <a:pt x="1166" y="2621"/>
                </a:lnTo>
                <a:lnTo>
                  <a:pt x="1130" y="2610"/>
                </a:lnTo>
                <a:lnTo>
                  <a:pt x="1092" y="2603"/>
                </a:lnTo>
                <a:lnTo>
                  <a:pt x="1050" y="2601"/>
                </a:lnTo>
                <a:close/>
                <a:moveTo>
                  <a:pt x="2346" y="1796"/>
                </a:moveTo>
                <a:lnTo>
                  <a:pt x="2342" y="1797"/>
                </a:lnTo>
                <a:lnTo>
                  <a:pt x="2339" y="1798"/>
                </a:lnTo>
                <a:lnTo>
                  <a:pt x="2335" y="1800"/>
                </a:lnTo>
                <a:lnTo>
                  <a:pt x="2332" y="1802"/>
                </a:lnTo>
                <a:lnTo>
                  <a:pt x="2191" y="1842"/>
                </a:lnTo>
                <a:lnTo>
                  <a:pt x="2176" y="1849"/>
                </a:lnTo>
                <a:lnTo>
                  <a:pt x="2165" y="1859"/>
                </a:lnTo>
                <a:lnTo>
                  <a:pt x="2157" y="1873"/>
                </a:lnTo>
                <a:lnTo>
                  <a:pt x="2154" y="1888"/>
                </a:lnTo>
                <a:lnTo>
                  <a:pt x="2155" y="1904"/>
                </a:lnTo>
                <a:lnTo>
                  <a:pt x="2172" y="1971"/>
                </a:lnTo>
                <a:lnTo>
                  <a:pt x="2178" y="1986"/>
                </a:lnTo>
                <a:lnTo>
                  <a:pt x="2188" y="1997"/>
                </a:lnTo>
                <a:lnTo>
                  <a:pt x="2199" y="2006"/>
                </a:lnTo>
                <a:lnTo>
                  <a:pt x="2213" y="2009"/>
                </a:lnTo>
                <a:lnTo>
                  <a:pt x="2229" y="2009"/>
                </a:lnTo>
                <a:lnTo>
                  <a:pt x="2243" y="2008"/>
                </a:lnTo>
                <a:lnTo>
                  <a:pt x="2257" y="2011"/>
                </a:lnTo>
                <a:lnTo>
                  <a:pt x="2269" y="2018"/>
                </a:lnTo>
                <a:lnTo>
                  <a:pt x="2278" y="2030"/>
                </a:lnTo>
                <a:lnTo>
                  <a:pt x="2284" y="2042"/>
                </a:lnTo>
                <a:lnTo>
                  <a:pt x="2286" y="2058"/>
                </a:lnTo>
                <a:lnTo>
                  <a:pt x="2286" y="2417"/>
                </a:lnTo>
                <a:lnTo>
                  <a:pt x="2288" y="2431"/>
                </a:lnTo>
                <a:lnTo>
                  <a:pt x="2295" y="2442"/>
                </a:lnTo>
                <a:lnTo>
                  <a:pt x="2304" y="2452"/>
                </a:lnTo>
                <a:lnTo>
                  <a:pt x="2316" y="2459"/>
                </a:lnTo>
                <a:lnTo>
                  <a:pt x="2329" y="2463"/>
                </a:lnTo>
                <a:lnTo>
                  <a:pt x="2343" y="2466"/>
                </a:lnTo>
                <a:lnTo>
                  <a:pt x="2447" y="2466"/>
                </a:lnTo>
                <a:lnTo>
                  <a:pt x="2463" y="2462"/>
                </a:lnTo>
                <a:lnTo>
                  <a:pt x="2475" y="2456"/>
                </a:lnTo>
                <a:lnTo>
                  <a:pt x="2483" y="2447"/>
                </a:lnTo>
                <a:lnTo>
                  <a:pt x="2488" y="2433"/>
                </a:lnTo>
                <a:lnTo>
                  <a:pt x="2490" y="2417"/>
                </a:lnTo>
                <a:lnTo>
                  <a:pt x="2490" y="1854"/>
                </a:lnTo>
                <a:lnTo>
                  <a:pt x="2489" y="1839"/>
                </a:lnTo>
                <a:lnTo>
                  <a:pt x="2485" y="1827"/>
                </a:lnTo>
                <a:lnTo>
                  <a:pt x="2480" y="1814"/>
                </a:lnTo>
                <a:lnTo>
                  <a:pt x="2472" y="1805"/>
                </a:lnTo>
                <a:lnTo>
                  <a:pt x="2460" y="1798"/>
                </a:lnTo>
                <a:lnTo>
                  <a:pt x="2447" y="1796"/>
                </a:lnTo>
                <a:lnTo>
                  <a:pt x="2346" y="1796"/>
                </a:lnTo>
                <a:close/>
                <a:moveTo>
                  <a:pt x="1121" y="1791"/>
                </a:moveTo>
                <a:lnTo>
                  <a:pt x="1117" y="1792"/>
                </a:lnTo>
                <a:lnTo>
                  <a:pt x="1114" y="1793"/>
                </a:lnTo>
                <a:lnTo>
                  <a:pt x="1111" y="1795"/>
                </a:lnTo>
                <a:lnTo>
                  <a:pt x="1108" y="1796"/>
                </a:lnTo>
                <a:lnTo>
                  <a:pt x="967" y="1837"/>
                </a:lnTo>
                <a:lnTo>
                  <a:pt x="952" y="1843"/>
                </a:lnTo>
                <a:lnTo>
                  <a:pt x="940" y="1854"/>
                </a:lnTo>
                <a:lnTo>
                  <a:pt x="933" y="1868"/>
                </a:lnTo>
                <a:lnTo>
                  <a:pt x="930" y="1883"/>
                </a:lnTo>
                <a:lnTo>
                  <a:pt x="931" y="1899"/>
                </a:lnTo>
                <a:lnTo>
                  <a:pt x="948" y="1966"/>
                </a:lnTo>
                <a:lnTo>
                  <a:pt x="954" y="1981"/>
                </a:lnTo>
                <a:lnTo>
                  <a:pt x="963" y="1992"/>
                </a:lnTo>
                <a:lnTo>
                  <a:pt x="975" y="2001"/>
                </a:lnTo>
                <a:lnTo>
                  <a:pt x="989" y="2005"/>
                </a:lnTo>
                <a:lnTo>
                  <a:pt x="1004" y="2004"/>
                </a:lnTo>
                <a:lnTo>
                  <a:pt x="1019" y="2003"/>
                </a:lnTo>
                <a:lnTo>
                  <a:pt x="1033" y="2006"/>
                </a:lnTo>
                <a:lnTo>
                  <a:pt x="1044" y="2013"/>
                </a:lnTo>
                <a:lnTo>
                  <a:pt x="1054" y="2025"/>
                </a:lnTo>
                <a:lnTo>
                  <a:pt x="1060" y="2037"/>
                </a:lnTo>
                <a:lnTo>
                  <a:pt x="1062" y="2053"/>
                </a:lnTo>
                <a:lnTo>
                  <a:pt x="1062" y="2412"/>
                </a:lnTo>
                <a:lnTo>
                  <a:pt x="1064" y="2426"/>
                </a:lnTo>
                <a:lnTo>
                  <a:pt x="1070" y="2437"/>
                </a:lnTo>
                <a:lnTo>
                  <a:pt x="1080" y="2447"/>
                </a:lnTo>
                <a:lnTo>
                  <a:pt x="1091" y="2454"/>
                </a:lnTo>
                <a:lnTo>
                  <a:pt x="1104" y="2458"/>
                </a:lnTo>
                <a:lnTo>
                  <a:pt x="1118" y="2460"/>
                </a:lnTo>
                <a:lnTo>
                  <a:pt x="1223" y="2460"/>
                </a:lnTo>
                <a:lnTo>
                  <a:pt x="1239" y="2458"/>
                </a:lnTo>
                <a:lnTo>
                  <a:pt x="1250" y="2451"/>
                </a:lnTo>
                <a:lnTo>
                  <a:pt x="1259" y="2441"/>
                </a:lnTo>
                <a:lnTo>
                  <a:pt x="1264" y="2428"/>
                </a:lnTo>
                <a:lnTo>
                  <a:pt x="1266" y="2412"/>
                </a:lnTo>
                <a:lnTo>
                  <a:pt x="1266" y="1849"/>
                </a:lnTo>
                <a:lnTo>
                  <a:pt x="1265" y="1835"/>
                </a:lnTo>
                <a:lnTo>
                  <a:pt x="1261" y="1821"/>
                </a:lnTo>
                <a:lnTo>
                  <a:pt x="1255" y="1810"/>
                </a:lnTo>
                <a:lnTo>
                  <a:pt x="1246" y="1799"/>
                </a:lnTo>
                <a:lnTo>
                  <a:pt x="1236" y="1793"/>
                </a:lnTo>
                <a:lnTo>
                  <a:pt x="1223" y="1791"/>
                </a:lnTo>
                <a:lnTo>
                  <a:pt x="1121" y="1791"/>
                </a:lnTo>
                <a:close/>
                <a:moveTo>
                  <a:pt x="2938" y="1790"/>
                </a:moveTo>
                <a:lnTo>
                  <a:pt x="2897" y="1792"/>
                </a:lnTo>
                <a:lnTo>
                  <a:pt x="2859" y="1799"/>
                </a:lnTo>
                <a:lnTo>
                  <a:pt x="2823" y="1811"/>
                </a:lnTo>
                <a:lnTo>
                  <a:pt x="2791" y="1826"/>
                </a:lnTo>
                <a:lnTo>
                  <a:pt x="2761" y="1846"/>
                </a:lnTo>
                <a:lnTo>
                  <a:pt x="2734" y="1868"/>
                </a:lnTo>
                <a:lnTo>
                  <a:pt x="2710" y="1893"/>
                </a:lnTo>
                <a:lnTo>
                  <a:pt x="2689" y="1921"/>
                </a:lnTo>
                <a:lnTo>
                  <a:pt x="2672" y="1951"/>
                </a:lnTo>
                <a:lnTo>
                  <a:pt x="2657" y="1985"/>
                </a:lnTo>
                <a:lnTo>
                  <a:pt x="2645" y="2019"/>
                </a:lnTo>
                <a:lnTo>
                  <a:pt x="2637" y="2055"/>
                </a:lnTo>
                <a:lnTo>
                  <a:pt x="2632" y="2093"/>
                </a:lnTo>
                <a:lnTo>
                  <a:pt x="2631" y="2130"/>
                </a:lnTo>
                <a:lnTo>
                  <a:pt x="2631" y="2132"/>
                </a:lnTo>
                <a:lnTo>
                  <a:pt x="2632" y="2171"/>
                </a:lnTo>
                <a:lnTo>
                  <a:pt x="2637" y="2208"/>
                </a:lnTo>
                <a:lnTo>
                  <a:pt x="2645" y="2245"/>
                </a:lnTo>
                <a:lnTo>
                  <a:pt x="2657" y="2278"/>
                </a:lnTo>
                <a:lnTo>
                  <a:pt x="2671" y="2312"/>
                </a:lnTo>
                <a:lnTo>
                  <a:pt x="2688" y="2342"/>
                </a:lnTo>
                <a:lnTo>
                  <a:pt x="2709" y="2369"/>
                </a:lnTo>
                <a:lnTo>
                  <a:pt x="2732" y="2394"/>
                </a:lnTo>
                <a:lnTo>
                  <a:pt x="2760" y="2417"/>
                </a:lnTo>
                <a:lnTo>
                  <a:pt x="2789" y="2436"/>
                </a:lnTo>
                <a:lnTo>
                  <a:pt x="2821" y="2451"/>
                </a:lnTo>
                <a:lnTo>
                  <a:pt x="2857" y="2462"/>
                </a:lnTo>
                <a:lnTo>
                  <a:pt x="2895" y="2469"/>
                </a:lnTo>
                <a:lnTo>
                  <a:pt x="2937" y="2472"/>
                </a:lnTo>
                <a:lnTo>
                  <a:pt x="2977" y="2469"/>
                </a:lnTo>
                <a:lnTo>
                  <a:pt x="3015" y="2462"/>
                </a:lnTo>
                <a:lnTo>
                  <a:pt x="3051" y="2451"/>
                </a:lnTo>
                <a:lnTo>
                  <a:pt x="3083" y="2435"/>
                </a:lnTo>
                <a:lnTo>
                  <a:pt x="3114" y="2416"/>
                </a:lnTo>
                <a:lnTo>
                  <a:pt x="3140" y="2394"/>
                </a:lnTo>
                <a:lnTo>
                  <a:pt x="3164" y="2368"/>
                </a:lnTo>
                <a:lnTo>
                  <a:pt x="3185" y="2341"/>
                </a:lnTo>
                <a:lnTo>
                  <a:pt x="3203" y="2309"/>
                </a:lnTo>
                <a:lnTo>
                  <a:pt x="3217" y="2277"/>
                </a:lnTo>
                <a:lnTo>
                  <a:pt x="3229" y="2242"/>
                </a:lnTo>
                <a:lnTo>
                  <a:pt x="3237" y="2206"/>
                </a:lnTo>
                <a:lnTo>
                  <a:pt x="3242" y="2169"/>
                </a:lnTo>
                <a:lnTo>
                  <a:pt x="3243" y="2130"/>
                </a:lnTo>
                <a:lnTo>
                  <a:pt x="3243" y="2129"/>
                </a:lnTo>
                <a:lnTo>
                  <a:pt x="3242" y="2091"/>
                </a:lnTo>
                <a:lnTo>
                  <a:pt x="3237" y="2053"/>
                </a:lnTo>
                <a:lnTo>
                  <a:pt x="3229" y="2017"/>
                </a:lnTo>
                <a:lnTo>
                  <a:pt x="3217" y="1983"/>
                </a:lnTo>
                <a:lnTo>
                  <a:pt x="3204" y="1950"/>
                </a:lnTo>
                <a:lnTo>
                  <a:pt x="3186" y="1920"/>
                </a:lnTo>
                <a:lnTo>
                  <a:pt x="3165" y="1892"/>
                </a:lnTo>
                <a:lnTo>
                  <a:pt x="3142" y="1866"/>
                </a:lnTo>
                <a:lnTo>
                  <a:pt x="3115" y="1844"/>
                </a:lnTo>
                <a:lnTo>
                  <a:pt x="3085" y="1826"/>
                </a:lnTo>
                <a:lnTo>
                  <a:pt x="3053" y="1811"/>
                </a:lnTo>
                <a:lnTo>
                  <a:pt x="3017" y="1799"/>
                </a:lnTo>
                <a:lnTo>
                  <a:pt x="2979" y="1792"/>
                </a:lnTo>
                <a:lnTo>
                  <a:pt x="2938" y="1790"/>
                </a:lnTo>
                <a:close/>
                <a:moveTo>
                  <a:pt x="1725" y="1790"/>
                </a:moveTo>
                <a:lnTo>
                  <a:pt x="1684" y="1792"/>
                </a:lnTo>
                <a:lnTo>
                  <a:pt x="1645" y="1799"/>
                </a:lnTo>
                <a:lnTo>
                  <a:pt x="1611" y="1811"/>
                </a:lnTo>
                <a:lnTo>
                  <a:pt x="1577" y="1826"/>
                </a:lnTo>
                <a:lnTo>
                  <a:pt x="1548" y="1846"/>
                </a:lnTo>
                <a:lnTo>
                  <a:pt x="1521" y="1868"/>
                </a:lnTo>
                <a:lnTo>
                  <a:pt x="1498" y="1893"/>
                </a:lnTo>
                <a:lnTo>
                  <a:pt x="1477" y="1921"/>
                </a:lnTo>
                <a:lnTo>
                  <a:pt x="1459" y="1951"/>
                </a:lnTo>
                <a:lnTo>
                  <a:pt x="1444" y="1985"/>
                </a:lnTo>
                <a:lnTo>
                  <a:pt x="1433" y="2019"/>
                </a:lnTo>
                <a:lnTo>
                  <a:pt x="1424" y="2055"/>
                </a:lnTo>
                <a:lnTo>
                  <a:pt x="1419" y="2093"/>
                </a:lnTo>
                <a:lnTo>
                  <a:pt x="1418" y="2130"/>
                </a:lnTo>
                <a:lnTo>
                  <a:pt x="1418" y="2132"/>
                </a:lnTo>
                <a:lnTo>
                  <a:pt x="1419" y="2171"/>
                </a:lnTo>
                <a:lnTo>
                  <a:pt x="1424" y="2208"/>
                </a:lnTo>
                <a:lnTo>
                  <a:pt x="1433" y="2245"/>
                </a:lnTo>
                <a:lnTo>
                  <a:pt x="1443" y="2278"/>
                </a:lnTo>
                <a:lnTo>
                  <a:pt x="1458" y="2312"/>
                </a:lnTo>
                <a:lnTo>
                  <a:pt x="1476" y="2342"/>
                </a:lnTo>
                <a:lnTo>
                  <a:pt x="1497" y="2369"/>
                </a:lnTo>
                <a:lnTo>
                  <a:pt x="1520" y="2394"/>
                </a:lnTo>
                <a:lnTo>
                  <a:pt x="1547" y="2417"/>
                </a:lnTo>
                <a:lnTo>
                  <a:pt x="1576" y="2436"/>
                </a:lnTo>
                <a:lnTo>
                  <a:pt x="1609" y="2451"/>
                </a:lnTo>
                <a:lnTo>
                  <a:pt x="1644" y="2462"/>
                </a:lnTo>
                <a:lnTo>
                  <a:pt x="1682" y="2469"/>
                </a:lnTo>
                <a:lnTo>
                  <a:pt x="1723" y="2472"/>
                </a:lnTo>
                <a:lnTo>
                  <a:pt x="1765" y="2469"/>
                </a:lnTo>
                <a:lnTo>
                  <a:pt x="1802" y="2462"/>
                </a:lnTo>
                <a:lnTo>
                  <a:pt x="1838" y="2451"/>
                </a:lnTo>
                <a:lnTo>
                  <a:pt x="1870" y="2435"/>
                </a:lnTo>
                <a:lnTo>
                  <a:pt x="1901" y="2416"/>
                </a:lnTo>
                <a:lnTo>
                  <a:pt x="1927" y="2394"/>
                </a:lnTo>
                <a:lnTo>
                  <a:pt x="1951" y="2368"/>
                </a:lnTo>
                <a:lnTo>
                  <a:pt x="1972" y="2341"/>
                </a:lnTo>
                <a:lnTo>
                  <a:pt x="1990" y="2309"/>
                </a:lnTo>
                <a:lnTo>
                  <a:pt x="2004" y="2277"/>
                </a:lnTo>
                <a:lnTo>
                  <a:pt x="2016" y="2242"/>
                </a:lnTo>
                <a:lnTo>
                  <a:pt x="2024" y="2206"/>
                </a:lnTo>
                <a:lnTo>
                  <a:pt x="2029" y="2169"/>
                </a:lnTo>
                <a:lnTo>
                  <a:pt x="2031" y="2130"/>
                </a:lnTo>
                <a:lnTo>
                  <a:pt x="2031" y="2129"/>
                </a:lnTo>
                <a:lnTo>
                  <a:pt x="2029" y="2091"/>
                </a:lnTo>
                <a:lnTo>
                  <a:pt x="2024" y="2053"/>
                </a:lnTo>
                <a:lnTo>
                  <a:pt x="2016" y="2017"/>
                </a:lnTo>
                <a:lnTo>
                  <a:pt x="2004" y="1983"/>
                </a:lnTo>
                <a:lnTo>
                  <a:pt x="1990" y="1950"/>
                </a:lnTo>
                <a:lnTo>
                  <a:pt x="1973" y="1920"/>
                </a:lnTo>
                <a:lnTo>
                  <a:pt x="1952" y="1892"/>
                </a:lnTo>
                <a:lnTo>
                  <a:pt x="1928" y="1866"/>
                </a:lnTo>
                <a:lnTo>
                  <a:pt x="1902" y="1844"/>
                </a:lnTo>
                <a:lnTo>
                  <a:pt x="1873" y="1826"/>
                </a:lnTo>
                <a:lnTo>
                  <a:pt x="1840" y="1811"/>
                </a:lnTo>
                <a:lnTo>
                  <a:pt x="1804" y="1799"/>
                </a:lnTo>
                <a:lnTo>
                  <a:pt x="1766" y="1792"/>
                </a:lnTo>
                <a:lnTo>
                  <a:pt x="1725" y="1790"/>
                </a:lnTo>
                <a:close/>
                <a:moveTo>
                  <a:pt x="507" y="1790"/>
                </a:moveTo>
                <a:lnTo>
                  <a:pt x="465" y="1792"/>
                </a:lnTo>
                <a:lnTo>
                  <a:pt x="427" y="1799"/>
                </a:lnTo>
                <a:lnTo>
                  <a:pt x="392" y="1811"/>
                </a:lnTo>
                <a:lnTo>
                  <a:pt x="359" y="1826"/>
                </a:lnTo>
                <a:lnTo>
                  <a:pt x="329" y="1846"/>
                </a:lnTo>
                <a:lnTo>
                  <a:pt x="303" y="1868"/>
                </a:lnTo>
                <a:lnTo>
                  <a:pt x="279" y="1893"/>
                </a:lnTo>
                <a:lnTo>
                  <a:pt x="258" y="1921"/>
                </a:lnTo>
                <a:lnTo>
                  <a:pt x="240" y="1951"/>
                </a:lnTo>
                <a:lnTo>
                  <a:pt x="225" y="1985"/>
                </a:lnTo>
                <a:lnTo>
                  <a:pt x="214" y="2019"/>
                </a:lnTo>
                <a:lnTo>
                  <a:pt x="205" y="2055"/>
                </a:lnTo>
                <a:lnTo>
                  <a:pt x="201" y="2093"/>
                </a:lnTo>
                <a:lnTo>
                  <a:pt x="199" y="2130"/>
                </a:lnTo>
                <a:lnTo>
                  <a:pt x="199" y="2132"/>
                </a:lnTo>
                <a:lnTo>
                  <a:pt x="201" y="2171"/>
                </a:lnTo>
                <a:lnTo>
                  <a:pt x="205" y="2208"/>
                </a:lnTo>
                <a:lnTo>
                  <a:pt x="214" y="2245"/>
                </a:lnTo>
                <a:lnTo>
                  <a:pt x="225" y="2278"/>
                </a:lnTo>
                <a:lnTo>
                  <a:pt x="240" y="2312"/>
                </a:lnTo>
                <a:lnTo>
                  <a:pt x="257" y="2342"/>
                </a:lnTo>
                <a:lnTo>
                  <a:pt x="278" y="2369"/>
                </a:lnTo>
                <a:lnTo>
                  <a:pt x="302" y="2394"/>
                </a:lnTo>
                <a:lnTo>
                  <a:pt x="328" y="2417"/>
                </a:lnTo>
                <a:lnTo>
                  <a:pt x="357" y="2436"/>
                </a:lnTo>
                <a:lnTo>
                  <a:pt x="390" y="2451"/>
                </a:lnTo>
                <a:lnTo>
                  <a:pt x="425" y="2462"/>
                </a:lnTo>
                <a:lnTo>
                  <a:pt x="464" y="2469"/>
                </a:lnTo>
                <a:lnTo>
                  <a:pt x="505" y="2472"/>
                </a:lnTo>
                <a:lnTo>
                  <a:pt x="546" y="2469"/>
                </a:lnTo>
                <a:lnTo>
                  <a:pt x="583" y="2462"/>
                </a:lnTo>
                <a:lnTo>
                  <a:pt x="619" y="2451"/>
                </a:lnTo>
                <a:lnTo>
                  <a:pt x="652" y="2435"/>
                </a:lnTo>
                <a:lnTo>
                  <a:pt x="682" y="2416"/>
                </a:lnTo>
                <a:lnTo>
                  <a:pt x="709" y="2394"/>
                </a:lnTo>
                <a:lnTo>
                  <a:pt x="732" y="2368"/>
                </a:lnTo>
                <a:lnTo>
                  <a:pt x="753" y="2341"/>
                </a:lnTo>
                <a:lnTo>
                  <a:pt x="771" y="2309"/>
                </a:lnTo>
                <a:lnTo>
                  <a:pt x="785" y="2277"/>
                </a:lnTo>
                <a:lnTo>
                  <a:pt x="797" y="2242"/>
                </a:lnTo>
                <a:lnTo>
                  <a:pt x="805" y="2206"/>
                </a:lnTo>
                <a:lnTo>
                  <a:pt x="811" y="2169"/>
                </a:lnTo>
                <a:lnTo>
                  <a:pt x="812" y="2130"/>
                </a:lnTo>
                <a:lnTo>
                  <a:pt x="812" y="2129"/>
                </a:lnTo>
                <a:lnTo>
                  <a:pt x="811" y="2091"/>
                </a:lnTo>
                <a:lnTo>
                  <a:pt x="805" y="2053"/>
                </a:lnTo>
                <a:lnTo>
                  <a:pt x="797" y="2017"/>
                </a:lnTo>
                <a:lnTo>
                  <a:pt x="787" y="1983"/>
                </a:lnTo>
                <a:lnTo>
                  <a:pt x="772" y="1950"/>
                </a:lnTo>
                <a:lnTo>
                  <a:pt x="754" y="1920"/>
                </a:lnTo>
                <a:lnTo>
                  <a:pt x="733" y="1892"/>
                </a:lnTo>
                <a:lnTo>
                  <a:pt x="710" y="1866"/>
                </a:lnTo>
                <a:lnTo>
                  <a:pt x="683" y="1844"/>
                </a:lnTo>
                <a:lnTo>
                  <a:pt x="653" y="1826"/>
                </a:lnTo>
                <a:lnTo>
                  <a:pt x="621" y="1811"/>
                </a:lnTo>
                <a:lnTo>
                  <a:pt x="585" y="1799"/>
                </a:lnTo>
                <a:lnTo>
                  <a:pt x="548" y="1792"/>
                </a:lnTo>
                <a:lnTo>
                  <a:pt x="507" y="1790"/>
                </a:lnTo>
                <a:close/>
                <a:moveTo>
                  <a:pt x="3062" y="980"/>
                </a:moveTo>
                <a:lnTo>
                  <a:pt x="3059" y="982"/>
                </a:lnTo>
                <a:lnTo>
                  <a:pt x="3056" y="983"/>
                </a:lnTo>
                <a:lnTo>
                  <a:pt x="3053" y="985"/>
                </a:lnTo>
                <a:lnTo>
                  <a:pt x="3050" y="986"/>
                </a:lnTo>
                <a:lnTo>
                  <a:pt x="2908" y="1027"/>
                </a:lnTo>
                <a:lnTo>
                  <a:pt x="2894" y="1034"/>
                </a:lnTo>
                <a:lnTo>
                  <a:pt x="2882" y="1044"/>
                </a:lnTo>
                <a:lnTo>
                  <a:pt x="2875" y="1057"/>
                </a:lnTo>
                <a:lnTo>
                  <a:pt x="2872" y="1073"/>
                </a:lnTo>
                <a:lnTo>
                  <a:pt x="2873" y="1088"/>
                </a:lnTo>
                <a:lnTo>
                  <a:pt x="2889" y="1156"/>
                </a:lnTo>
                <a:lnTo>
                  <a:pt x="2896" y="1170"/>
                </a:lnTo>
                <a:lnTo>
                  <a:pt x="2904" y="1182"/>
                </a:lnTo>
                <a:lnTo>
                  <a:pt x="2917" y="1190"/>
                </a:lnTo>
                <a:lnTo>
                  <a:pt x="2930" y="1194"/>
                </a:lnTo>
                <a:lnTo>
                  <a:pt x="2946" y="1193"/>
                </a:lnTo>
                <a:lnTo>
                  <a:pt x="2961" y="1192"/>
                </a:lnTo>
                <a:lnTo>
                  <a:pt x="2974" y="1195"/>
                </a:lnTo>
                <a:lnTo>
                  <a:pt x="2986" y="1204"/>
                </a:lnTo>
                <a:lnTo>
                  <a:pt x="2995" y="1214"/>
                </a:lnTo>
                <a:lnTo>
                  <a:pt x="3001" y="1227"/>
                </a:lnTo>
                <a:lnTo>
                  <a:pt x="3004" y="1242"/>
                </a:lnTo>
                <a:lnTo>
                  <a:pt x="3004" y="1602"/>
                </a:lnTo>
                <a:lnTo>
                  <a:pt x="3006" y="1615"/>
                </a:lnTo>
                <a:lnTo>
                  <a:pt x="3012" y="1627"/>
                </a:lnTo>
                <a:lnTo>
                  <a:pt x="3021" y="1636"/>
                </a:lnTo>
                <a:lnTo>
                  <a:pt x="3033" y="1643"/>
                </a:lnTo>
                <a:lnTo>
                  <a:pt x="3045" y="1648"/>
                </a:lnTo>
                <a:lnTo>
                  <a:pt x="3059" y="1650"/>
                </a:lnTo>
                <a:lnTo>
                  <a:pt x="3165" y="1650"/>
                </a:lnTo>
                <a:lnTo>
                  <a:pt x="3180" y="1648"/>
                </a:lnTo>
                <a:lnTo>
                  <a:pt x="3192" y="1640"/>
                </a:lnTo>
                <a:lnTo>
                  <a:pt x="3200" y="1631"/>
                </a:lnTo>
                <a:lnTo>
                  <a:pt x="3206" y="1617"/>
                </a:lnTo>
                <a:lnTo>
                  <a:pt x="3208" y="1602"/>
                </a:lnTo>
                <a:lnTo>
                  <a:pt x="3208" y="1038"/>
                </a:lnTo>
                <a:lnTo>
                  <a:pt x="3206" y="1024"/>
                </a:lnTo>
                <a:lnTo>
                  <a:pt x="3203" y="1011"/>
                </a:lnTo>
                <a:lnTo>
                  <a:pt x="3196" y="999"/>
                </a:lnTo>
                <a:lnTo>
                  <a:pt x="3188" y="990"/>
                </a:lnTo>
                <a:lnTo>
                  <a:pt x="3177" y="983"/>
                </a:lnTo>
                <a:lnTo>
                  <a:pt x="3165" y="980"/>
                </a:lnTo>
                <a:lnTo>
                  <a:pt x="3062" y="980"/>
                </a:lnTo>
                <a:close/>
                <a:moveTo>
                  <a:pt x="1698" y="980"/>
                </a:moveTo>
                <a:lnTo>
                  <a:pt x="1693" y="982"/>
                </a:lnTo>
                <a:lnTo>
                  <a:pt x="1690" y="983"/>
                </a:lnTo>
                <a:lnTo>
                  <a:pt x="1687" y="985"/>
                </a:lnTo>
                <a:lnTo>
                  <a:pt x="1684" y="986"/>
                </a:lnTo>
                <a:lnTo>
                  <a:pt x="1543" y="1027"/>
                </a:lnTo>
                <a:lnTo>
                  <a:pt x="1528" y="1034"/>
                </a:lnTo>
                <a:lnTo>
                  <a:pt x="1516" y="1044"/>
                </a:lnTo>
                <a:lnTo>
                  <a:pt x="1509" y="1057"/>
                </a:lnTo>
                <a:lnTo>
                  <a:pt x="1506" y="1073"/>
                </a:lnTo>
                <a:lnTo>
                  <a:pt x="1507" y="1088"/>
                </a:lnTo>
                <a:lnTo>
                  <a:pt x="1524" y="1156"/>
                </a:lnTo>
                <a:lnTo>
                  <a:pt x="1530" y="1170"/>
                </a:lnTo>
                <a:lnTo>
                  <a:pt x="1539" y="1182"/>
                </a:lnTo>
                <a:lnTo>
                  <a:pt x="1551" y="1190"/>
                </a:lnTo>
                <a:lnTo>
                  <a:pt x="1565" y="1194"/>
                </a:lnTo>
                <a:lnTo>
                  <a:pt x="1580" y="1193"/>
                </a:lnTo>
                <a:lnTo>
                  <a:pt x="1595" y="1192"/>
                </a:lnTo>
                <a:lnTo>
                  <a:pt x="1609" y="1195"/>
                </a:lnTo>
                <a:lnTo>
                  <a:pt x="1621" y="1204"/>
                </a:lnTo>
                <a:lnTo>
                  <a:pt x="1630" y="1214"/>
                </a:lnTo>
                <a:lnTo>
                  <a:pt x="1636" y="1227"/>
                </a:lnTo>
                <a:lnTo>
                  <a:pt x="1638" y="1242"/>
                </a:lnTo>
                <a:lnTo>
                  <a:pt x="1638" y="1602"/>
                </a:lnTo>
                <a:lnTo>
                  <a:pt x="1640" y="1615"/>
                </a:lnTo>
                <a:lnTo>
                  <a:pt x="1646" y="1627"/>
                </a:lnTo>
                <a:lnTo>
                  <a:pt x="1656" y="1636"/>
                </a:lnTo>
                <a:lnTo>
                  <a:pt x="1667" y="1643"/>
                </a:lnTo>
                <a:lnTo>
                  <a:pt x="1681" y="1648"/>
                </a:lnTo>
                <a:lnTo>
                  <a:pt x="1694" y="1650"/>
                </a:lnTo>
                <a:lnTo>
                  <a:pt x="1799" y="1650"/>
                </a:lnTo>
                <a:lnTo>
                  <a:pt x="1815" y="1648"/>
                </a:lnTo>
                <a:lnTo>
                  <a:pt x="1826" y="1640"/>
                </a:lnTo>
                <a:lnTo>
                  <a:pt x="1835" y="1631"/>
                </a:lnTo>
                <a:lnTo>
                  <a:pt x="1840" y="1617"/>
                </a:lnTo>
                <a:lnTo>
                  <a:pt x="1842" y="1602"/>
                </a:lnTo>
                <a:lnTo>
                  <a:pt x="1842" y="1038"/>
                </a:lnTo>
                <a:lnTo>
                  <a:pt x="1841" y="1024"/>
                </a:lnTo>
                <a:lnTo>
                  <a:pt x="1837" y="1011"/>
                </a:lnTo>
                <a:lnTo>
                  <a:pt x="1832" y="999"/>
                </a:lnTo>
                <a:lnTo>
                  <a:pt x="1823" y="990"/>
                </a:lnTo>
                <a:lnTo>
                  <a:pt x="1812" y="983"/>
                </a:lnTo>
                <a:lnTo>
                  <a:pt x="1799" y="980"/>
                </a:lnTo>
                <a:lnTo>
                  <a:pt x="1698" y="980"/>
                </a:lnTo>
                <a:close/>
                <a:moveTo>
                  <a:pt x="391" y="980"/>
                </a:moveTo>
                <a:lnTo>
                  <a:pt x="386" y="982"/>
                </a:lnTo>
                <a:lnTo>
                  <a:pt x="383" y="983"/>
                </a:lnTo>
                <a:lnTo>
                  <a:pt x="380" y="985"/>
                </a:lnTo>
                <a:lnTo>
                  <a:pt x="377" y="986"/>
                </a:lnTo>
                <a:lnTo>
                  <a:pt x="236" y="1027"/>
                </a:lnTo>
                <a:lnTo>
                  <a:pt x="221" y="1034"/>
                </a:lnTo>
                <a:lnTo>
                  <a:pt x="211" y="1044"/>
                </a:lnTo>
                <a:lnTo>
                  <a:pt x="202" y="1057"/>
                </a:lnTo>
                <a:lnTo>
                  <a:pt x="199" y="1073"/>
                </a:lnTo>
                <a:lnTo>
                  <a:pt x="200" y="1088"/>
                </a:lnTo>
                <a:lnTo>
                  <a:pt x="218" y="1156"/>
                </a:lnTo>
                <a:lnTo>
                  <a:pt x="223" y="1170"/>
                </a:lnTo>
                <a:lnTo>
                  <a:pt x="232" y="1182"/>
                </a:lnTo>
                <a:lnTo>
                  <a:pt x="244" y="1190"/>
                </a:lnTo>
                <a:lnTo>
                  <a:pt x="258" y="1194"/>
                </a:lnTo>
                <a:lnTo>
                  <a:pt x="273" y="1193"/>
                </a:lnTo>
                <a:lnTo>
                  <a:pt x="288" y="1192"/>
                </a:lnTo>
                <a:lnTo>
                  <a:pt x="303" y="1195"/>
                </a:lnTo>
                <a:lnTo>
                  <a:pt x="314" y="1204"/>
                </a:lnTo>
                <a:lnTo>
                  <a:pt x="323" y="1214"/>
                </a:lnTo>
                <a:lnTo>
                  <a:pt x="329" y="1227"/>
                </a:lnTo>
                <a:lnTo>
                  <a:pt x="331" y="1242"/>
                </a:lnTo>
                <a:lnTo>
                  <a:pt x="331" y="1602"/>
                </a:lnTo>
                <a:lnTo>
                  <a:pt x="333" y="1615"/>
                </a:lnTo>
                <a:lnTo>
                  <a:pt x="339" y="1627"/>
                </a:lnTo>
                <a:lnTo>
                  <a:pt x="349" y="1636"/>
                </a:lnTo>
                <a:lnTo>
                  <a:pt x="360" y="1643"/>
                </a:lnTo>
                <a:lnTo>
                  <a:pt x="374" y="1648"/>
                </a:lnTo>
                <a:lnTo>
                  <a:pt x="387" y="1650"/>
                </a:lnTo>
                <a:lnTo>
                  <a:pt x="492" y="1650"/>
                </a:lnTo>
                <a:lnTo>
                  <a:pt x="508" y="1648"/>
                </a:lnTo>
                <a:lnTo>
                  <a:pt x="519" y="1640"/>
                </a:lnTo>
                <a:lnTo>
                  <a:pt x="528" y="1631"/>
                </a:lnTo>
                <a:lnTo>
                  <a:pt x="533" y="1617"/>
                </a:lnTo>
                <a:lnTo>
                  <a:pt x="535" y="1602"/>
                </a:lnTo>
                <a:lnTo>
                  <a:pt x="535" y="1038"/>
                </a:lnTo>
                <a:lnTo>
                  <a:pt x="534" y="1024"/>
                </a:lnTo>
                <a:lnTo>
                  <a:pt x="530" y="1011"/>
                </a:lnTo>
                <a:lnTo>
                  <a:pt x="525" y="999"/>
                </a:lnTo>
                <a:lnTo>
                  <a:pt x="516" y="990"/>
                </a:lnTo>
                <a:lnTo>
                  <a:pt x="506" y="983"/>
                </a:lnTo>
                <a:lnTo>
                  <a:pt x="492" y="980"/>
                </a:lnTo>
                <a:lnTo>
                  <a:pt x="391" y="980"/>
                </a:lnTo>
                <a:close/>
                <a:moveTo>
                  <a:pt x="2381" y="979"/>
                </a:moveTo>
                <a:lnTo>
                  <a:pt x="2341" y="982"/>
                </a:lnTo>
                <a:lnTo>
                  <a:pt x="2302" y="989"/>
                </a:lnTo>
                <a:lnTo>
                  <a:pt x="2266" y="1000"/>
                </a:lnTo>
                <a:lnTo>
                  <a:pt x="2234" y="1016"/>
                </a:lnTo>
                <a:lnTo>
                  <a:pt x="2205" y="1035"/>
                </a:lnTo>
                <a:lnTo>
                  <a:pt x="2177" y="1057"/>
                </a:lnTo>
                <a:lnTo>
                  <a:pt x="2153" y="1082"/>
                </a:lnTo>
                <a:lnTo>
                  <a:pt x="2132" y="1110"/>
                </a:lnTo>
                <a:lnTo>
                  <a:pt x="2114" y="1141"/>
                </a:lnTo>
                <a:lnTo>
                  <a:pt x="2100" y="1174"/>
                </a:lnTo>
                <a:lnTo>
                  <a:pt x="2088" y="1209"/>
                </a:lnTo>
                <a:lnTo>
                  <a:pt x="2081" y="1244"/>
                </a:lnTo>
                <a:lnTo>
                  <a:pt x="2076" y="1282"/>
                </a:lnTo>
                <a:lnTo>
                  <a:pt x="2074" y="1320"/>
                </a:lnTo>
                <a:lnTo>
                  <a:pt x="2074" y="1322"/>
                </a:lnTo>
                <a:lnTo>
                  <a:pt x="2076" y="1361"/>
                </a:lnTo>
                <a:lnTo>
                  <a:pt x="2080" y="1397"/>
                </a:lnTo>
                <a:lnTo>
                  <a:pt x="2088" y="1434"/>
                </a:lnTo>
                <a:lnTo>
                  <a:pt x="2100" y="1469"/>
                </a:lnTo>
                <a:lnTo>
                  <a:pt x="2114" y="1501"/>
                </a:lnTo>
                <a:lnTo>
                  <a:pt x="2132" y="1531"/>
                </a:lnTo>
                <a:lnTo>
                  <a:pt x="2152" y="1559"/>
                </a:lnTo>
                <a:lnTo>
                  <a:pt x="2176" y="1585"/>
                </a:lnTo>
                <a:lnTo>
                  <a:pt x="2202" y="1607"/>
                </a:lnTo>
                <a:lnTo>
                  <a:pt x="2233" y="1626"/>
                </a:lnTo>
                <a:lnTo>
                  <a:pt x="2265" y="1640"/>
                </a:lnTo>
                <a:lnTo>
                  <a:pt x="2300" y="1652"/>
                </a:lnTo>
                <a:lnTo>
                  <a:pt x="2339" y="1658"/>
                </a:lnTo>
                <a:lnTo>
                  <a:pt x="2379" y="1661"/>
                </a:lnTo>
                <a:lnTo>
                  <a:pt x="2420" y="1658"/>
                </a:lnTo>
                <a:lnTo>
                  <a:pt x="2459" y="1652"/>
                </a:lnTo>
                <a:lnTo>
                  <a:pt x="2495" y="1640"/>
                </a:lnTo>
                <a:lnTo>
                  <a:pt x="2527" y="1625"/>
                </a:lnTo>
                <a:lnTo>
                  <a:pt x="2556" y="1606"/>
                </a:lnTo>
                <a:lnTo>
                  <a:pt x="2584" y="1584"/>
                </a:lnTo>
                <a:lnTo>
                  <a:pt x="2608" y="1559"/>
                </a:lnTo>
                <a:lnTo>
                  <a:pt x="2629" y="1530"/>
                </a:lnTo>
                <a:lnTo>
                  <a:pt x="2645" y="1499"/>
                </a:lnTo>
                <a:lnTo>
                  <a:pt x="2660" y="1466"/>
                </a:lnTo>
                <a:lnTo>
                  <a:pt x="2672" y="1432"/>
                </a:lnTo>
                <a:lnTo>
                  <a:pt x="2680" y="1396"/>
                </a:lnTo>
                <a:lnTo>
                  <a:pt x="2685" y="1359"/>
                </a:lnTo>
                <a:lnTo>
                  <a:pt x="2687" y="1320"/>
                </a:lnTo>
                <a:lnTo>
                  <a:pt x="2687" y="1319"/>
                </a:lnTo>
                <a:lnTo>
                  <a:pt x="2685" y="1280"/>
                </a:lnTo>
                <a:lnTo>
                  <a:pt x="2680" y="1243"/>
                </a:lnTo>
                <a:lnTo>
                  <a:pt x="2673" y="1207"/>
                </a:lnTo>
                <a:lnTo>
                  <a:pt x="2661" y="1172"/>
                </a:lnTo>
                <a:lnTo>
                  <a:pt x="2646" y="1140"/>
                </a:lnTo>
                <a:lnTo>
                  <a:pt x="2629" y="1109"/>
                </a:lnTo>
                <a:lnTo>
                  <a:pt x="2609" y="1081"/>
                </a:lnTo>
                <a:lnTo>
                  <a:pt x="2585" y="1056"/>
                </a:lnTo>
                <a:lnTo>
                  <a:pt x="2558" y="1034"/>
                </a:lnTo>
                <a:lnTo>
                  <a:pt x="2528" y="1015"/>
                </a:lnTo>
                <a:lnTo>
                  <a:pt x="2496" y="1000"/>
                </a:lnTo>
                <a:lnTo>
                  <a:pt x="2460" y="989"/>
                </a:lnTo>
                <a:lnTo>
                  <a:pt x="2422" y="982"/>
                </a:lnTo>
                <a:lnTo>
                  <a:pt x="2381" y="979"/>
                </a:lnTo>
                <a:close/>
                <a:moveTo>
                  <a:pt x="1050" y="979"/>
                </a:moveTo>
                <a:lnTo>
                  <a:pt x="1010" y="982"/>
                </a:lnTo>
                <a:lnTo>
                  <a:pt x="972" y="989"/>
                </a:lnTo>
                <a:lnTo>
                  <a:pt x="936" y="1000"/>
                </a:lnTo>
                <a:lnTo>
                  <a:pt x="904" y="1016"/>
                </a:lnTo>
                <a:lnTo>
                  <a:pt x="873" y="1035"/>
                </a:lnTo>
                <a:lnTo>
                  <a:pt x="847" y="1057"/>
                </a:lnTo>
                <a:lnTo>
                  <a:pt x="823" y="1082"/>
                </a:lnTo>
                <a:lnTo>
                  <a:pt x="802" y="1110"/>
                </a:lnTo>
                <a:lnTo>
                  <a:pt x="784" y="1141"/>
                </a:lnTo>
                <a:lnTo>
                  <a:pt x="770" y="1174"/>
                </a:lnTo>
                <a:lnTo>
                  <a:pt x="758" y="1209"/>
                </a:lnTo>
                <a:lnTo>
                  <a:pt x="750" y="1244"/>
                </a:lnTo>
                <a:lnTo>
                  <a:pt x="745" y="1282"/>
                </a:lnTo>
                <a:lnTo>
                  <a:pt x="744" y="1320"/>
                </a:lnTo>
                <a:lnTo>
                  <a:pt x="744" y="1322"/>
                </a:lnTo>
                <a:lnTo>
                  <a:pt x="745" y="1361"/>
                </a:lnTo>
                <a:lnTo>
                  <a:pt x="750" y="1397"/>
                </a:lnTo>
                <a:lnTo>
                  <a:pt x="758" y="1434"/>
                </a:lnTo>
                <a:lnTo>
                  <a:pt x="770" y="1469"/>
                </a:lnTo>
                <a:lnTo>
                  <a:pt x="783" y="1501"/>
                </a:lnTo>
                <a:lnTo>
                  <a:pt x="801" y="1531"/>
                </a:lnTo>
                <a:lnTo>
                  <a:pt x="822" y="1559"/>
                </a:lnTo>
                <a:lnTo>
                  <a:pt x="846" y="1585"/>
                </a:lnTo>
                <a:lnTo>
                  <a:pt x="872" y="1607"/>
                </a:lnTo>
                <a:lnTo>
                  <a:pt x="902" y="1626"/>
                </a:lnTo>
                <a:lnTo>
                  <a:pt x="934" y="1640"/>
                </a:lnTo>
                <a:lnTo>
                  <a:pt x="970" y="1652"/>
                </a:lnTo>
                <a:lnTo>
                  <a:pt x="1009" y="1658"/>
                </a:lnTo>
                <a:lnTo>
                  <a:pt x="1049" y="1661"/>
                </a:lnTo>
                <a:lnTo>
                  <a:pt x="1090" y="1658"/>
                </a:lnTo>
                <a:lnTo>
                  <a:pt x="1128" y="1652"/>
                </a:lnTo>
                <a:lnTo>
                  <a:pt x="1164" y="1640"/>
                </a:lnTo>
                <a:lnTo>
                  <a:pt x="1196" y="1625"/>
                </a:lnTo>
                <a:lnTo>
                  <a:pt x="1226" y="1606"/>
                </a:lnTo>
                <a:lnTo>
                  <a:pt x="1254" y="1584"/>
                </a:lnTo>
                <a:lnTo>
                  <a:pt x="1277" y="1559"/>
                </a:lnTo>
                <a:lnTo>
                  <a:pt x="1298" y="1530"/>
                </a:lnTo>
                <a:lnTo>
                  <a:pt x="1315" y="1499"/>
                </a:lnTo>
                <a:lnTo>
                  <a:pt x="1330" y="1466"/>
                </a:lnTo>
                <a:lnTo>
                  <a:pt x="1342" y="1432"/>
                </a:lnTo>
                <a:lnTo>
                  <a:pt x="1350" y="1396"/>
                </a:lnTo>
                <a:lnTo>
                  <a:pt x="1355" y="1359"/>
                </a:lnTo>
                <a:lnTo>
                  <a:pt x="1356" y="1320"/>
                </a:lnTo>
                <a:lnTo>
                  <a:pt x="1356" y="1319"/>
                </a:lnTo>
                <a:lnTo>
                  <a:pt x="1355" y="1280"/>
                </a:lnTo>
                <a:lnTo>
                  <a:pt x="1350" y="1243"/>
                </a:lnTo>
                <a:lnTo>
                  <a:pt x="1342" y="1207"/>
                </a:lnTo>
                <a:lnTo>
                  <a:pt x="1330" y="1172"/>
                </a:lnTo>
                <a:lnTo>
                  <a:pt x="1316" y="1140"/>
                </a:lnTo>
                <a:lnTo>
                  <a:pt x="1299" y="1109"/>
                </a:lnTo>
                <a:lnTo>
                  <a:pt x="1278" y="1081"/>
                </a:lnTo>
                <a:lnTo>
                  <a:pt x="1255" y="1056"/>
                </a:lnTo>
                <a:lnTo>
                  <a:pt x="1227" y="1034"/>
                </a:lnTo>
                <a:lnTo>
                  <a:pt x="1198" y="1015"/>
                </a:lnTo>
                <a:lnTo>
                  <a:pt x="1166" y="1000"/>
                </a:lnTo>
                <a:lnTo>
                  <a:pt x="1130" y="989"/>
                </a:lnTo>
                <a:lnTo>
                  <a:pt x="1092" y="982"/>
                </a:lnTo>
                <a:lnTo>
                  <a:pt x="1050" y="979"/>
                </a:lnTo>
                <a:close/>
                <a:moveTo>
                  <a:pt x="2346" y="175"/>
                </a:moveTo>
                <a:lnTo>
                  <a:pt x="2342" y="176"/>
                </a:lnTo>
                <a:lnTo>
                  <a:pt x="2339" y="177"/>
                </a:lnTo>
                <a:lnTo>
                  <a:pt x="2335" y="179"/>
                </a:lnTo>
                <a:lnTo>
                  <a:pt x="2332" y="180"/>
                </a:lnTo>
                <a:lnTo>
                  <a:pt x="2191" y="221"/>
                </a:lnTo>
                <a:lnTo>
                  <a:pt x="2176" y="229"/>
                </a:lnTo>
                <a:lnTo>
                  <a:pt x="2165" y="239"/>
                </a:lnTo>
                <a:lnTo>
                  <a:pt x="2157" y="252"/>
                </a:lnTo>
                <a:lnTo>
                  <a:pt x="2154" y="267"/>
                </a:lnTo>
                <a:lnTo>
                  <a:pt x="2155" y="283"/>
                </a:lnTo>
                <a:lnTo>
                  <a:pt x="2172" y="351"/>
                </a:lnTo>
                <a:lnTo>
                  <a:pt x="2178" y="365"/>
                </a:lnTo>
                <a:lnTo>
                  <a:pt x="2188" y="376"/>
                </a:lnTo>
                <a:lnTo>
                  <a:pt x="2199" y="385"/>
                </a:lnTo>
                <a:lnTo>
                  <a:pt x="2213" y="389"/>
                </a:lnTo>
                <a:lnTo>
                  <a:pt x="2229" y="388"/>
                </a:lnTo>
                <a:lnTo>
                  <a:pt x="2243" y="387"/>
                </a:lnTo>
                <a:lnTo>
                  <a:pt x="2257" y="390"/>
                </a:lnTo>
                <a:lnTo>
                  <a:pt x="2269" y="398"/>
                </a:lnTo>
                <a:lnTo>
                  <a:pt x="2278" y="409"/>
                </a:lnTo>
                <a:lnTo>
                  <a:pt x="2284" y="421"/>
                </a:lnTo>
                <a:lnTo>
                  <a:pt x="2286" y="437"/>
                </a:lnTo>
                <a:lnTo>
                  <a:pt x="2286" y="796"/>
                </a:lnTo>
                <a:lnTo>
                  <a:pt x="2288" y="810"/>
                </a:lnTo>
                <a:lnTo>
                  <a:pt x="2295" y="821"/>
                </a:lnTo>
                <a:lnTo>
                  <a:pt x="2304" y="831"/>
                </a:lnTo>
                <a:lnTo>
                  <a:pt x="2316" y="838"/>
                </a:lnTo>
                <a:lnTo>
                  <a:pt x="2329" y="842"/>
                </a:lnTo>
                <a:lnTo>
                  <a:pt x="2343" y="844"/>
                </a:lnTo>
                <a:lnTo>
                  <a:pt x="2447" y="844"/>
                </a:lnTo>
                <a:lnTo>
                  <a:pt x="2463" y="842"/>
                </a:lnTo>
                <a:lnTo>
                  <a:pt x="2475" y="835"/>
                </a:lnTo>
                <a:lnTo>
                  <a:pt x="2483" y="825"/>
                </a:lnTo>
                <a:lnTo>
                  <a:pt x="2488" y="812"/>
                </a:lnTo>
                <a:lnTo>
                  <a:pt x="2490" y="796"/>
                </a:lnTo>
                <a:lnTo>
                  <a:pt x="2490" y="233"/>
                </a:lnTo>
                <a:lnTo>
                  <a:pt x="2489" y="219"/>
                </a:lnTo>
                <a:lnTo>
                  <a:pt x="2485" y="206"/>
                </a:lnTo>
                <a:lnTo>
                  <a:pt x="2480" y="194"/>
                </a:lnTo>
                <a:lnTo>
                  <a:pt x="2472" y="185"/>
                </a:lnTo>
                <a:lnTo>
                  <a:pt x="2460" y="177"/>
                </a:lnTo>
                <a:lnTo>
                  <a:pt x="2447" y="175"/>
                </a:lnTo>
                <a:lnTo>
                  <a:pt x="2346" y="175"/>
                </a:lnTo>
                <a:close/>
                <a:moveTo>
                  <a:pt x="1121" y="170"/>
                </a:moveTo>
                <a:lnTo>
                  <a:pt x="1117" y="171"/>
                </a:lnTo>
                <a:lnTo>
                  <a:pt x="1114" y="172"/>
                </a:lnTo>
                <a:lnTo>
                  <a:pt x="1111" y="174"/>
                </a:lnTo>
                <a:lnTo>
                  <a:pt x="1108" y="175"/>
                </a:lnTo>
                <a:lnTo>
                  <a:pt x="967" y="216"/>
                </a:lnTo>
                <a:lnTo>
                  <a:pt x="952" y="223"/>
                </a:lnTo>
                <a:lnTo>
                  <a:pt x="940" y="234"/>
                </a:lnTo>
                <a:lnTo>
                  <a:pt x="933" y="246"/>
                </a:lnTo>
                <a:lnTo>
                  <a:pt x="930" y="262"/>
                </a:lnTo>
                <a:lnTo>
                  <a:pt x="931" y="278"/>
                </a:lnTo>
                <a:lnTo>
                  <a:pt x="948" y="346"/>
                </a:lnTo>
                <a:lnTo>
                  <a:pt x="954" y="359"/>
                </a:lnTo>
                <a:lnTo>
                  <a:pt x="963" y="371"/>
                </a:lnTo>
                <a:lnTo>
                  <a:pt x="975" y="379"/>
                </a:lnTo>
                <a:lnTo>
                  <a:pt x="989" y="384"/>
                </a:lnTo>
                <a:lnTo>
                  <a:pt x="1004" y="382"/>
                </a:lnTo>
                <a:lnTo>
                  <a:pt x="1019" y="381"/>
                </a:lnTo>
                <a:lnTo>
                  <a:pt x="1033" y="386"/>
                </a:lnTo>
                <a:lnTo>
                  <a:pt x="1044" y="393"/>
                </a:lnTo>
                <a:lnTo>
                  <a:pt x="1054" y="403"/>
                </a:lnTo>
                <a:lnTo>
                  <a:pt x="1060" y="417"/>
                </a:lnTo>
                <a:lnTo>
                  <a:pt x="1062" y="432"/>
                </a:lnTo>
                <a:lnTo>
                  <a:pt x="1062" y="792"/>
                </a:lnTo>
                <a:lnTo>
                  <a:pt x="1064" y="805"/>
                </a:lnTo>
                <a:lnTo>
                  <a:pt x="1070" y="816"/>
                </a:lnTo>
                <a:lnTo>
                  <a:pt x="1080" y="825"/>
                </a:lnTo>
                <a:lnTo>
                  <a:pt x="1091" y="833"/>
                </a:lnTo>
                <a:lnTo>
                  <a:pt x="1104" y="837"/>
                </a:lnTo>
                <a:lnTo>
                  <a:pt x="1118" y="839"/>
                </a:lnTo>
                <a:lnTo>
                  <a:pt x="1223" y="839"/>
                </a:lnTo>
                <a:lnTo>
                  <a:pt x="1239" y="837"/>
                </a:lnTo>
                <a:lnTo>
                  <a:pt x="1250" y="831"/>
                </a:lnTo>
                <a:lnTo>
                  <a:pt x="1259" y="820"/>
                </a:lnTo>
                <a:lnTo>
                  <a:pt x="1264" y="807"/>
                </a:lnTo>
                <a:lnTo>
                  <a:pt x="1266" y="792"/>
                </a:lnTo>
                <a:lnTo>
                  <a:pt x="1266" y="227"/>
                </a:lnTo>
                <a:lnTo>
                  <a:pt x="1265" y="214"/>
                </a:lnTo>
                <a:lnTo>
                  <a:pt x="1261" y="200"/>
                </a:lnTo>
                <a:lnTo>
                  <a:pt x="1255" y="189"/>
                </a:lnTo>
                <a:lnTo>
                  <a:pt x="1246" y="179"/>
                </a:lnTo>
                <a:lnTo>
                  <a:pt x="1236" y="173"/>
                </a:lnTo>
                <a:lnTo>
                  <a:pt x="1223" y="170"/>
                </a:lnTo>
                <a:lnTo>
                  <a:pt x="1121" y="170"/>
                </a:lnTo>
                <a:close/>
                <a:moveTo>
                  <a:pt x="2938" y="169"/>
                </a:moveTo>
                <a:lnTo>
                  <a:pt x="2897" y="172"/>
                </a:lnTo>
                <a:lnTo>
                  <a:pt x="2859" y="178"/>
                </a:lnTo>
                <a:lnTo>
                  <a:pt x="2823" y="190"/>
                </a:lnTo>
                <a:lnTo>
                  <a:pt x="2791" y="206"/>
                </a:lnTo>
                <a:lnTo>
                  <a:pt x="2761" y="224"/>
                </a:lnTo>
                <a:lnTo>
                  <a:pt x="2734" y="246"/>
                </a:lnTo>
                <a:lnTo>
                  <a:pt x="2710" y="271"/>
                </a:lnTo>
                <a:lnTo>
                  <a:pt x="2689" y="300"/>
                </a:lnTo>
                <a:lnTo>
                  <a:pt x="2672" y="331"/>
                </a:lnTo>
                <a:lnTo>
                  <a:pt x="2657" y="364"/>
                </a:lnTo>
                <a:lnTo>
                  <a:pt x="2645" y="398"/>
                </a:lnTo>
                <a:lnTo>
                  <a:pt x="2637" y="434"/>
                </a:lnTo>
                <a:lnTo>
                  <a:pt x="2632" y="472"/>
                </a:lnTo>
                <a:lnTo>
                  <a:pt x="2631" y="510"/>
                </a:lnTo>
                <a:lnTo>
                  <a:pt x="2631" y="511"/>
                </a:lnTo>
                <a:lnTo>
                  <a:pt x="2632" y="550"/>
                </a:lnTo>
                <a:lnTo>
                  <a:pt x="2637" y="587"/>
                </a:lnTo>
                <a:lnTo>
                  <a:pt x="2645" y="623"/>
                </a:lnTo>
                <a:lnTo>
                  <a:pt x="2657" y="658"/>
                </a:lnTo>
                <a:lnTo>
                  <a:pt x="2671" y="690"/>
                </a:lnTo>
                <a:lnTo>
                  <a:pt x="2688" y="721"/>
                </a:lnTo>
                <a:lnTo>
                  <a:pt x="2709" y="749"/>
                </a:lnTo>
                <a:lnTo>
                  <a:pt x="2732" y="774"/>
                </a:lnTo>
                <a:lnTo>
                  <a:pt x="2760" y="796"/>
                </a:lnTo>
                <a:lnTo>
                  <a:pt x="2789" y="815"/>
                </a:lnTo>
                <a:lnTo>
                  <a:pt x="2821" y="830"/>
                </a:lnTo>
                <a:lnTo>
                  <a:pt x="2857" y="841"/>
                </a:lnTo>
                <a:lnTo>
                  <a:pt x="2895" y="849"/>
                </a:lnTo>
                <a:lnTo>
                  <a:pt x="2937" y="851"/>
                </a:lnTo>
                <a:lnTo>
                  <a:pt x="2977" y="847"/>
                </a:lnTo>
                <a:lnTo>
                  <a:pt x="3015" y="841"/>
                </a:lnTo>
                <a:lnTo>
                  <a:pt x="3051" y="830"/>
                </a:lnTo>
                <a:lnTo>
                  <a:pt x="3083" y="814"/>
                </a:lnTo>
                <a:lnTo>
                  <a:pt x="3114" y="795"/>
                </a:lnTo>
                <a:lnTo>
                  <a:pt x="3140" y="773"/>
                </a:lnTo>
                <a:lnTo>
                  <a:pt x="3164" y="748"/>
                </a:lnTo>
                <a:lnTo>
                  <a:pt x="3185" y="720"/>
                </a:lnTo>
                <a:lnTo>
                  <a:pt x="3203" y="689"/>
                </a:lnTo>
                <a:lnTo>
                  <a:pt x="3217" y="656"/>
                </a:lnTo>
                <a:lnTo>
                  <a:pt x="3229" y="621"/>
                </a:lnTo>
                <a:lnTo>
                  <a:pt x="3237" y="586"/>
                </a:lnTo>
                <a:lnTo>
                  <a:pt x="3242" y="548"/>
                </a:lnTo>
                <a:lnTo>
                  <a:pt x="3243" y="510"/>
                </a:lnTo>
                <a:lnTo>
                  <a:pt x="3243" y="508"/>
                </a:lnTo>
                <a:lnTo>
                  <a:pt x="3242" y="469"/>
                </a:lnTo>
                <a:lnTo>
                  <a:pt x="3237" y="433"/>
                </a:lnTo>
                <a:lnTo>
                  <a:pt x="3229" y="396"/>
                </a:lnTo>
                <a:lnTo>
                  <a:pt x="3217" y="362"/>
                </a:lnTo>
                <a:lnTo>
                  <a:pt x="3204" y="329"/>
                </a:lnTo>
                <a:lnTo>
                  <a:pt x="3186" y="299"/>
                </a:lnTo>
                <a:lnTo>
                  <a:pt x="3165" y="271"/>
                </a:lnTo>
                <a:lnTo>
                  <a:pt x="3142" y="245"/>
                </a:lnTo>
                <a:lnTo>
                  <a:pt x="3115" y="223"/>
                </a:lnTo>
                <a:lnTo>
                  <a:pt x="3085" y="204"/>
                </a:lnTo>
                <a:lnTo>
                  <a:pt x="3053" y="190"/>
                </a:lnTo>
                <a:lnTo>
                  <a:pt x="3017" y="178"/>
                </a:lnTo>
                <a:lnTo>
                  <a:pt x="2979" y="172"/>
                </a:lnTo>
                <a:lnTo>
                  <a:pt x="2938" y="169"/>
                </a:lnTo>
                <a:close/>
                <a:moveTo>
                  <a:pt x="1725" y="169"/>
                </a:moveTo>
                <a:lnTo>
                  <a:pt x="1684" y="172"/>
                </a:lnTo>
                <a:lnTo>
                  <a:pt x="1645" y="178"/>
                </a:lnTo>
                <a:lnTo>
                  <a:pt x="1611" y="190"/>
                </a:lnTo>
                <a:lnTo>
                  <a:pt x="1577" y="206"/>
                </a:lnTo>
                <a:lnTo>
                  <a:pt x="1548" y="224"/>
                </a:lnTo>
                <a:lnTo>
                  <a:pt x="1521" y="246"/>
                </a:lnTo>
                <a:lnTo>
                  <a:pt x="1498" y="271"/>
                </a:lnTo>
                <a:lnTo>
                  <a:pt x="1477" y="300"/>
                </a:lnTo>
                <a:lnTo>
                  <a:pt x="1459" y="331"/>
                </a:lnTo>
                <a:lnTo>
                  <a:pt x="1444" y="364"/>
                </a:lnTo>
                <a:lnTo>
                  <a:pt x="1433" y="398"/>
                </a:lnTo>
                <a:lnTo>
                  <a:pt x="1424" y="434"/>
                </a:lnTo>
                <a:lnTo>
                  <a:pt x="1419" y="472"/>
                </a:lnTo>
                <a:lnTo>
                  <a:pt x="1418" y="510"/>
                </a:lnTo>
                <a:lnTo>
                  <a:pt x="1418" y="511"/>
                </a:lnTo>
                <a:lnTo>
                  <a:pt x="1419" y="550"/>
                </a:lnTo>
                <a:lnTo>
                  <a:pt x="1424" y="587"/>
                </a:lnTo>
                <a:lnTo>
                  <a:pt x="1433" y="623"/>
                </a:lnTo>
                <a:lnTo>
                  <a:pt x="1443" y="658"/>
                </a:lnTo>
                <a:lnTo>
                  <a:pt x="1458" y="690"/>
                </a:lnTo>
                <a:lnTo>
                  <a:pt x="1476" y="721"/>
                </a:lnTo>
                <a:lnTo>
                  <a:pt x="1497" y="749"/>
                </a:lnTo>
                <a:lnTo>
                  <a:pt x="1520" y="774"/>
                </a:lnTo>
                <a:lnTo>
                  <a:pt x="1547" y="796"/>
                </a:lnTo>
                <a:lnTo>
                  <a:pt x="1576" y="815"/>
                </a:lnTo>
                <a:lnTo>
                  <a:pt x="1609" y="830"/>
                </a:lnTo>
                <a:lnTo>
                  <a:pt x="1644" y="841"/>
                </a:lnTo>
                <a:lnTo>
                  <a:pt x="1682" y="849"/>
                </a:lnTo>
                <a:lnTo>
                  <a:pt x="1723" y="851"/>
                </a:lnTo>
                <a:lnTo>
                  <a:pt x="1765" y="847"/>
                </a:lnTo>
                <a:lnTo>
                  <a:pt x="1802" y="841"/>
                </a:lnTo>
                <a:lnTo>
                  <a:pt x="1838" y="830"/>
                </a:lnTo>
                <a:lnTo>
                  <a:pt x="1870" y="814"/>
                </a:lnTo>
                <a:lnTo>
                  <a:pt x="1901" y="795"/>
                </a:lnTo>
                <a:lnTo>
                  <a:pt x="1927" y="773"/>
                </a:lnTo>
                <a:lnTo>
                  <a:pt x="1951" y="748"/>
                </a:lnTo>
                <a:lnTo>
                  <a:pt x="1972" y="720"/>
                </a:lnTo>
                <a:lnTo>
                  <a:pt x="1990" y="689"/>
                </a:lnTo>
                <a:lnTo>
                  <a:pt x="2004" y="656"/>
                </a:lnTo>
                <a:lnTo>
                  <a:pt x="2016" y="621"/>
                </a:lnTo>
                <a:lnTo>
                  <a:pt x="2024" y="586"/>
                </a:lnTo>
                <a:lnTo>
                  <a:pt x="2029" y="548"/>
                </a:lnTo>
                <a:lnTo>
                  <a:pt x="2031" y="510"/>
                </a:lnTo>
                <a:lnTo>
                  <a:pt x="2031" y="508"/>
                </a:lnTo>
                <a:lnTo>
                  <a:pt x="2029" y="469"/>
                </a:lnTo>
                <a:lnTo>
                  <a:pt x="2024" y="433"/>
                </a:lnTo>
                <a:lnTo>
                  <a:pt x="2016" y="396"/>
                </a:lnTo>
                <a:lnTo>
                  <a:pt x="2004" y="362"/>
                </a:lnTo>
                <a:lnTo>
                  <a:pt x="1990" y="329"/>
                </a:lnTo>
                <a:lnTo>
                  <a:pt x="1973" y="299"/>
                </a:lnTo>
                <a:lnTo>
                  <a:pt x="1952" y="271"/>
                </a:lnTo>
                <a:lnTo>
                  <a:pt x="1928" y="245"/>
                </a:lnTo>
                <a:lnTo>
                  <a:pt x="1902" y="223"/>
                </a:lnTo>
                <a:lnTo>
                  <a:pt x="1873" y="204"/>
                </a:lnTo>
                <a:lnTo>
                  <a:pt x="1840" y="190"/>
                </a:lnTo>
                <a:lnTo>
                  <a:pt x="1804" y="178"/>
                </a:lnTo>
                <a:lnTo>
                  <a:pt x="1766" y="172"/>
                </a:lnTo>
                <a:lnTo>
                  <a:pt x="1725" y="169"/>
                </a:lnTo>
                <a:close/>
                <a:moveTo>
                  <a:pt x="507" y="169"/>
                </a:moveTo>
                <a:lnTo>
                  <a:pt x="465" y="172"/>
                </a:lnTo>
                <a:lnTo>
                  <a:pt x="427" y="178"/>
                </a:lnTo>
                <a:lnTo>
                  <a:pt x="392" y="190"/>
                </a:lnTo>
                <a:lnTo>
                  <a:pt x="359" y="206"/>
                </a:lnTo>
                <a:lnTo>
                  <a:pt x="329" y="224"/>
                </a:lnTo>
                <a:lnTo>
                  <a:pt x="303" y="246"/>
                </a:lnTo>
                <a:lnTo>
                  <a:pt x="279" y="271"/>
                </a:lnTo>
                <a:lnTo>
                  <a:pt x="258" y="300"/>
                </a:lnTo>
                <a:lnTo>
                  <a:pt x="240" y="331"/>
                </a:lnTo>
                <a:lnTo>
                  <a:pt x="225" y="364"/>
                </a:lnTo>
                <a:lnTo>
                  <a:pt x="214" y="398"/>
                </a:lnTo>
                <a:lnTo>
                  <a:pt x="205" y="434"/>
                </a:lnTo>
                <a:lnTo>
                  <a:pt x="201" y="472"/>
                </a:lnTo>
                <a:lnTo>
                  <a:pt x="199" y="510"/>
                </a:lnTo>
                <a:lnTo>
                  <a:pt x="199" y="511"/>
                </a:lnTo>
                <a:lnTo>
                  <a:pt x="201" y="550"/>
                </a:lnTo>
                <a:lnTo>
                  <a:pt x="205" y="587"/>
                </a:lnTo>
                <a:lnTo>
                  <a:pt x="214" y="623"/>
                </a:lnTo>
                <a:lnTo>
                  <a:pt x="225" y="658"/>
                </a:lnTo>
                <a:lnTo>
                  <a:pt x="240" y="690"/>
                </a:lnTo>
                <a:lnTo>
                  <a:pt x="257" y="721"/>
                </a:lnTo>
                <a:lnTo>
                  <a:pt x="278" y="749"/>
                </a:lnTo>
                <a:lnTo>
                  <a:pt x="302" y="774"/>
                </a:lnTo>
                <a:lnTo>
                  <a:pt x="328" y="796"/>
                </a:lnTo>
                <a:lnTo>
                  <a:pt x="357" y="815"/>
                </a:lnTo>
                <a:lnTo>
                  <a:pt x="390" y="830"/>
                </a:lnTo>
                <a:lnTo>
                  <a:pt x="425" y="841"/>
                </a:lnTo>
                <a:lnTo>
                  <a:pt x="464" y="849"/>
                </a:lnTo>
                <a:lnTo>
                  <a:pt x="505" y="851"/>
                </a:lnTo>
                <a:lnTo>
                  <a:pt x="546" y="847"/>
                </a:lnTo>
                <a:lnTo>
                  <a:pt x="583" y="841"/>
                </a:lnTo>
                <a:lnTo>
                  <a:pt x="619" y="830"/>
                </a:lnTo>
                <a:lnTo>
                  <a:pt x="652" y="814"/>
                </a:lnTo>
                <a:lnTo>
                  <a:pt x="682" y="795"/>
                </a:lnTo>
                <a:lnTo>
                  <a:pt x="709" y="773"/>
                </a:lnTo>
                <a:lnTo>
                  <a:pt x="732" y="748"/>
                </a:lnTo>
                <a:lnTo>
                  <a:pt x="753" y="720"/>
                </a:lnTo>
                <a:lnTo>
                  <a:pt x="771" y="689"/>
                </a:lnTo>
                <a:lnTo>
                  <a:pt x="785" y="656"/>
                </a:lnTo>
                <a:lnTo>
                  <a:pt x="797" y="621"/>
                </a:lnTo>
                <a:lnTo>
                  <a:pt x="805" y="586"/>
                </a:lnTo>
                <a:lnTo>
                  <a:pt x="811" y="548"/>
                </a:lnTo>
                <a:lnTo>
                  <a:pt x="812" y="510"/>
                </a:lnTo>
                <a:lnTo>
                  <a:pt x="812" y="508"/>
                </a:lnTo>
                <a:lnTo>
                  <a:pt x="811" y="469"/>
                </a:lnTo>
                <a:lnTo>
                  <a:pt x="805" y="433"/>
                </a:lnTo>
                <a:lnTo>
                  <a:pt x="797" y="396"/>
                </a:lnTo>
                <a:lnTo>
                  <a:pt x="787" y="362"/>
                </a:lnTo>
                <a:lnTo>
                  <a:pt x="772" y="329"/>
                </a:lnTo>
                <a:lnTo>
                  <a:pt x="754" y="299"/>
                </a:lnTo>
                <a:lnTo>
                  <a:pt x="733" y="271"/>
                </a:lnTo>
                <a:lnTo>
                  <a:pt x="710" y="245"/>
                </a:lnTo>
                <a:lnTo>
                  <a:pt x="683" y="223"/>
                </a:lnTo>
                <a:lnTo>
                  <a:pt x="653" y="204"/>
                </a:lnTo>
                <a:lnTo>
                  <a:pt x="621" y="190"/>
                </a:lnTo>
                <a:lnTo>
                  <a:pt x="585" y="178"/>
                </a:lnTo>
                <a:lnTo>
                  <a:pt x="548" y="172"/>
                </a:lnTo>
                <a:lnTo>
                  <a:pt x="507" y="169"/>
                </a:lnTo>
                <a:close/>
                <a:moveTo>
                  <a:pt x="215" y="0"/>
                </a:moveTo>
                <a:lnTo>
                  <a:pt x="3228" y="0"/>
                </a:lnTo>
                <a:lnTo>
                  <a:pt x="3262" y="2"/>
                </a:lnTo>
                <a:lnTo>
                  <a:pt x="3296" y="11"/>
                </a:lnTo>
                <a:lnTo>
                  <a:pt x="3326" y="24"/>
                </a:lnTo>
                <a:lnTo>
                  <a:pt x="3354" y="41"/>
                </a:lnTo>
                <a:lnTo>
                  <a:pt x="3380" y="63"/>
                </a:lnTo>
                <a:lnTo>
                  <a:pt x="3402" y="88"/>
                </a:lnTo>
                <a:lnTo>
                  <a:pt x="3418" y="116"/>
                </a:lnTo>
                <a:lnTo>
                  <a:pt x="3432" y="147"/>
                </a:lnTo>
                <a:lnTo>
                  <a:pt x="3439" y="180"/>
                </a:lnTo>
                <a:lnTo>
                  <a:pt x="3442" y="215"/>
                </a:lnTo>
                <a:lnTo>
                  <a:pt x="3442" y="3236"/>
                </a:lnTo>
                <a:lnTo>
                  <a:pt x="3439" y="3271"/>
                </a:lnTo>
                <a:lnTo>
                  <a:pt x="3432" y="3304"/>
                </a:lnTo>
                <a:lnTo>
                  <a:pt x="3418" y="3335"/>
                </a:lnTo>
                <a:lnTo>
                  <a:pt x="3402" y="3363"/>
                </a:lnTo>
                <a:lnTo>
                  <a:pt x="3380" y="3388"/>
                </a:lnTo>
                <a:lnTo>
                  <a:pt x="3354" y="3409"/>
                </a:lnTo>
                <a:lnTo>
                  <a:pt x="3326" y="3427"/>
                </a:lnTo>
                <a:lnTo>
                  <a:pt x="3296" y="3441"/>
                </a:lnTo>
                <a:lnTo>
                  <a:pt x="3262" y="3448"/>
                </a:lnTo>
                <a:lnTo>
                  <a:pt x="3228" y="3451"/>
                </a:lnTo>
                <a:lnTo>
                  <a:pt x="215" y="3451"/>
                </a:lnTo>
                <a:lnTo>
                  <a:pt x="180" y="3448"/>
                </a:lnTo>
                <a:lnTo>
                  <a:pt x="147" y="3441"/>
                </a:lnTo>
                <a:lnTo>
                  <a:pt x="116" y="3427"/>
                </a:lnTo>
                <a:lnTo>
                  <a:pt x="88" y="3409"/>
                </a:lnTo>
                <a:lnTo>
                  <a:pt x="63" y="3388"/>
                </a:lnTo>
                <a:lnTo>
                  <a:pt x="42" y="3363"/>
                </a:lnTo>
                <a:lnTo>
                  <a:pt x="24" y="3335"/>
                </a:lnTo>
                <a:lnTo>
                  <a:pt x="10" y="3304"/>
                </a:lnTo>
                <a:lnTo>
                  <a:pt x="3" y="3271"/>
                </a:lnTo>
                <a:lnTo>
                  <a:pt x="0" y="3236"/>
                </a:lnTo>
                <a:lnTo>
                  <a:pt x="0" y="215"/>
                </a:lnTo>
                <a:lnTo>
                  <a:pt x="3" y="180"/>
                </a:lnTo>
                <a:lnTo>
                  <a:pt x="10" y="147"/>
                </a:lnTo>
                <a:lnTo>
                  <a:pt x="24" y="116"/>
                </a:lnTo>
                <a:lnTo>
                  <a:pt x="42" y="88"/>
                </a:lnTo>
                <a:lnTo>
                  <a:pt x="63" y="63"/>
                </a:lnTo>
                <a:lnTo>
                  <a:pt x="88" y="41"/>
                </a:lnTo>
                <a:lnTo>
                  <a:pt x="116" y="24"/>
                </a:lnTo>
                <a:lnTo>
                  <a:pt x="147" y="11"/>
                </a:lnTo>
                <a:lnTo>
                  <a:pt x="180" y="2"/>
                </a:lnTo>
                <a:lnTo>
                  <a:pt x="215" y="0"/>
                </a:lnTo>
                <a:close/>
              </a:path>
            </a:pathLst>
          </a:custGeom>
          <a:solidFill>
            <a:schemeClr val="bg1"/>
          </a:solidFill>
          <a:ln w="0">
            <a:noFill/>
            <a:prstDash val="solid"/>
            <a:round/>
            <a:headEnd/>
            <a:tailEnd/>
          </a:ln>
        </p:spPr>
        <p:txBody>
          <a:bodyPr lIns="68544" tIns="34272" rIns="68544" bIns="34272"/>
          <a:lstStyle/>
          <a:p>
            <a:pPr>
              <a:defRPr/>
            </a:pPr>
            <a:endParaRPr lang="en-US" sz="1424">
              <a:cs typeface="Arial" panose="020B0604020202020204" pitchFamily="34" charset="0"/>
            </a:endParaRPr>
          </a:p>
        </p:txBody>
      </p:sp>
      <p:sp>
        <p:nvSpPr>
          <p:cNvPr id="16" name="Rectangle 15">
            <a:extLst>
              <a:ext uri="{FF2B5EF4-FFF2-40B4-BE49-F238E27FC236}">
                <a16:creationId xmlns:a16="http://schemas.microsoft.com/office/drawing/2014/main" id="{E74C27A2-7495-9849-866F-BEF054A9D165}"/>
              </a:ext>
            </a:extLst>
          </p:cNvPr>
          <p:cNvSpPr/>
          <p:nvPr/>
        </p:nvSpPr>
        <p:spPr>
          <a:xfrm>
            <a:off x="6113463" y="3302000"/>
            <a:ext cx="2414587" cy="246063"/>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44" tIns="81000" rIns="68544" bIns="34272" anchor="ctr"/>
          <a:lstStyle/>
          <a:p>
            <a:pPr algn="ctr">
              <a:lnSpc>
                <a:spcPct val="95000"/>
              </a:lnSpc>
              <a:defRPr/>
            </a:pPr>
            <a:r>
              <a:rPr lang="en-US" altLang="ja-JP" sz="1500" b="1">
                <a:solidFill>
                  <a:prstClr val="white"/>
                </a:solidFill>
                <a:latin typeface="メイリオ" panose="020B0604030504040204" pitchFamily="50" charset="-128"/>
                <a:ea typeface="メイリオ" panose="020B0604030504040204" pitchFamily="50" charset="-128"/>
                <a:cs typeface="MS Mincho"/>
              </a:rPr>
              <a:t>Cloud</a:t>
            </a:r>
            <a:endParaRPr lang="ja-JP" altLang="en-US" sz="1424" b="1">
              <a:solidFill>
                <a:prstClr val="white"/>
              </a:solidFill>
              <a:latin typeface="メイリオ" panose="020B0604030504040204" pitchFamily="50" charset="-128"/>
              <a:ea typeface="メイリオ" panose="020B0604030504040204" pitchFamily="50" charset="-128"/>
            </a:endParaRPr>
          </a:p>
        </p:txBody>
      </p:sp>
      <p:sp>
        <p:nvSpPr>
          <p:cNvPr id="17" name="Oval 16">
            <a:extLst>
              <a:ext uri="{FF2B5EF4-FFF2-40B4-BE49-F238E27FC236}">
                <a16:creationId xmlns:a16="http://schemas.microsoft.com/office/drawing/2014/main" id="{30D9231D-3948-CB41-AB8A-B27F6EC2A860}"/>
              </a:ext>
            </a:extLst>
          </p:cNvPr>
          <p:cNvSpPr/>
          <p:nvPr/>
        </p:nvSpPr>
        <p:spPr>
          <a:xfrm>
            <a:off x="6042025" y="3221038"/>
            <a:ext cx="409575" cy="409575"/>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algn="ctr">
              <a:lnSpc>
                <a:spcPct val="95000"/>
              </a:lnSpc>
              <a:defRPr/>
            </a:pPr>
            <a:endParaRPr lang="en-US" sz="1424"/>
          </a:p>
        </p:txBody>
      </p:sp>
      <p:sp>
        <p:nvSpPr>
          <p:cNvPr id="18" name="Freeform 40">
            <a:extLst>
              <a:ext uri="{FF2B5EF4-FFF2-40B4-BE49-F238E27FC236}">
                <a16:creationId xmlns:a16="http://schemas.microsoft.com/office/drawing/2014/main" id="{59943AB7-2D48-0742-AB59-7D3BA51B2CF5}"/>
              </a:ext>
            </a:extLst>
          </p:cNvPr>
          <p:cNvSpPr>
            <a:spLocks/>
          </p:cNvSpPr>
          <p:nvPr/>
        </p:nvSpPr>
        <p:spPr bwMode="auto">
          <a:xfrm>
            <a:off x="6080125" y="3317875"/>
            <a:ext cx="298450" cy="196850"/>
          </a:xfrm>
          <a:custGeom>
            <a:avLst/>
            <a:gdLst>
              <a:gd name="T0" fmla="*/ 2229 w 3455"/>
              <a:gd name="T1" fmla="*/ 14 h 2261"/>
              <a:gd name="T2" fmla="*/ 2429 w 3455"/>
              <a:gd name="T3" fmla="*/ 77 h 2261"/>
              <a:gd name="T4" fmla="*/ 2601 w 3455"/>
              <a:gd name="T5" fmla="*/ 186 h 2261"/>
              <a:gd name="T6" fmla="*/ 2743 w 3455"/>
              <a:gd name="T7" fmla="*/ 332 h 2261"/>
              <a:gd name="T8" fmla="*/ 2844 w 3455"/>
              <a:gd name="T9" fmla="*/ 508 h 2261"/>
              <a:gd name="T10" fmla="*/ 2902 w 3455"/>
              <a:gd name="T11" fmla="*/ 706 h 2261"/>
              <a:gd name="T12" fmla="*/ 2909 w 3455"/>
              <a:gd name="T13" fmla="*/ 917 h 2261"/>
              <a:gd name="T14" fmla="*/ 2924 w 3455"/>
              <a:gd name="T15" fmla="*/ 918 h 2261"/>
              <a:gd name="T16" fmla="*/ 2966 w 3455"/>
              <a:gd name="T17" fmla="*/ 924 h 2261"/>
              <a:gd name="T18" fmla="*/ 3027 w 3455"/>
              <a:gd name="T19" fmla="*/ 939 h 2261"/>
              <a:gd name="T20" fmla="*/ 3101 w 3455"/>
              <a:gd name="T21" fmla="*/ 964 h 2261"/>
              <a:gd name="T22" fmla="*/ 3182 w 3455"/>
              <a:gd name="T23" fmla="*/ 1006 h 2261"/>
              <a:gd name="T24" fmla="*/ 3263 w 3455"/>
              <a:gd name="T25" fmla="*/ 1068 h 2261"/>
              <a:gd name="T26" fmla="*/ 3337 w 3455"/>
              <a:gd name="T27" fmla="*/ 1153 h 2261"/>
              <a:gd name="T28" fmla="*/ 3398 w 3455"/>
              <a:gd name="T29" fmla="*/ 1265 h 2261"/>
              <a:gd name="T30" fmla="*/ 3439 w 3455"/>
              <a:gd name="T31" fmla="*/ 1408 h 2261"/>
              <a:gd name="T32" fmla="*/ 3455 w 3455"/>
              <a:gd name="T33" fmla="*/ 1586 h 2261"/>
              <a:gd name="T34" fmla="*/ 3429 w 3455"/>
              <a:gd name="T35" fmla="*/ 1776 h 2261"/>
              <a:gd name="T36" fmla="*/ 3353 w 3455"/>
              <a:gd name="T37" fmla="*/ 1945 h 2261"/>
              <a:gd name="T38" fmla="*/ 3237 w 3455"/>
              <a:gd name="T39" fmla="*/ 2084 h 2261"/>
              <a:gd name="T40" fmla="*/ 3088 w 3455"/>
              <a:gd name="T41" fmla="*/ 2189 h 2261"/>
              <a:gd name="T42" fmla="*/ 2914 w 3455"/>
              <a:gd name="T43" fmla="*/ 2248 h 2261"/>
              <a:gd name="T44" fmla="*/ 689 w 3455"/>
              <a:gd name="T45" fmla="*/ 2261 h 2261"/>
              <a:gd name="T46" fmla="*/ 504 w 3455"/>
              <a:gd name="T47" fmla="*/ 2236 h 2261"/>
              <a:gd name="T48" fmla="*/ 336 w 3455"/>
              <a:gd name="T49" fmla="*/ 2165 h 2261"/>
              <a:gd name="T50" fmla="*/ 193 w 3455"/>
              <a:gd name="T51" fmla="*/ 2055 h 2261"/>
              <a:gd name="T52" fmla="*/ 84 w 3455"/>
              <a:gd name="T53" fmla="*/ 1910 h 2261"/>
              <a:gd name="T54" fmla="*/ 17 w 3455"/>
              <a:gd name="T55" fmla="*/ 1740 h 2261"/>
              <a:gd name="T56" fmla="*/ 0 w 3455"/>
              <a:gd name="T57" fmla="*/ 1551 h 2261"/>
              <a:gd name="T58" fmla="*/ 35 w 3455"/>
              <a:gd name="T59" fmla="*/ 1368 h 2261"/>
              <a:gd name="T60" fmla="*/ 115 w 3455"/>
              <a:gd name="T61" fmla="*/ 1207 h 2261"/>
              <a:gd name="T62" fmla="*/ 235 w 3455"/>
              <a:gd name="T63" fmla="*/ 1074 h 2261"/>
              <a:gd name="T64" fmla="*/ 384 w 3455"/>
              <a:gd name="T65" fmla="*/ 977 h 2261"/>
              <a:gd name="T66" fmla="*/ 558 w 3455"/>
              <a:gd name="T67" fmla="*/ 922 h 2261"/>
              <a:gd name="T68" fmla="*/ 550 w 3455"/>
              <a:gd name="T69" fmla="*/ 848 h 2261"/>
              <a:gd name="T70" fmla="*/ 565 w 3455"/>
              <a:gd name="T71" fmla="*/ 728 h 2261"/>
              <a:gd name="T72" fmla="*/ 628 w 3455"/>
              <a:gd name="T73" fmla="*/ 593 h 2261"/>
              <a:gd name="T74" fmla="*/ 731 w 3455"/>
              <a:gd name="T75" fmla="*/ 487 h 2261"/>
              <a:gd name="T76" fmla="*/ 863 w 3455"/>
              <a:gd name="T77" fmla="*/ 421 h 2261"/>
              <a:gd name="T78" fmla="*/ 1011 w 3455"/>
              <a:gd name="T79" fmla="*/ 407 h 2261"/>
              <a:gd name="T80" fmla="*/ 1148 w 3455"/>
              <a:gd name="T81" fmla="*/ 440 h 2261"/>
              <a:gd name="T82" fmla="*/ 1264 w 3455"/>
              <a:gd name="T83" fmla="*/ 516 h 2261"/>
              <a:gd name="T84" fmla="*/ 1323 w 3455"/>
              <a:gd name="T85" fmla="*/ 485 h 2261"/>
              <a:gd name="T86" fmla="*/ 1430 w 3455"/>
              <a:gd name="T87" fmla="*/ 314 h 2261"/>
              <a:gd name="T88" fmla="*/ 1573 w 3455"/>
              <a:gd name="T89" fmla="*/ 173 h 2261"/>
              <a:gd name="T90" fmla="*/ 1746 w 3455"/>
              <a:gd name="T91" fmla="*/ 71 h 2261"/>
              <a:gd name="T92" fmla="*/ 1942 w 3455"/>
              <a:gd name="T93" fmla="*/ 12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5" h="2261">
                <a:moveTo>
                  <a:pt x="2082" y="0"/>
                </a:moveTo>
                <a:lnTo>
                  <a:pt x="2155" y="5"/>
                </a:lnTo>
                <a:lnTo>
                  <a:pt x="2229" y="14"/>
                </a:lnTo>
                <a:lnTo>
                  <a:pt x="2298" y="30"/>
                </a:lnTo>
                <a:lnTo>
                  <a:pt x="2365" y="51"/>
                </a:lnTo>
                <a:lnTo>
                  <a:pt x="2429" y="77"/>
                </a:lnTo>
                <a:lnTo>
                  <a:pt x="2489" y="108"/>
                </a:lnTo>
                <a:lnTo>
                  <a:pt x="2547" y="145"/>
                </a:lnTo>
                <a:lnTo>
                  <a:pt x="2601" y="186"/>
                </a:lnTo>
                <a:lnTo>
                  <a:pt x="2653" y="231"/>
                </a:lnTo>
                <a:lnTo>
                  <a:pt x="2700" y="280"/>
                </a:lnTo>
                <a:lnTo>
                  <a:pt x="2743" y="332"/>
                </a:lnTo>
                <a:lnTo>
                  <a:pt x="2782" y="388"/>
                </a:lnTo>
                <a:lnTo>
                  <a:pt x="2815" y="447"/>
                </a:lnTo>
                <a:lnTo>
                  <a:pt x="2844" y="508"/>
                </a:lnTo>
                <a:lnTo>
                  <a:pt x="2870" y="572"/>
                </a:lnTo>
                <a:lnTo>
                  <a:pt x="2888" y="638"/>
                </a:lnTo>
                <a:lnTo>
                  <a:pt x="2902" y="706"/>
                </a:lnTo>
                <a:lnTo>
                  <a:pt x="2910" y="776"/>
                </a:lnTo>
                <a:lnTo>
                  <a:pt x="2914" y="846"/>
                </a:lnTo>
                <a:lnTo>
                  <a:pt x="2909" y="917"/>
                </a:lnTo>
                <a:lnTo>
                  <a:pt x="2911" y="917"/>
                </a:lnTo>
                <a:lnTo>
                  <a:pt x="2917" y="918"/>
                </a:lnTo>
                <a:lnTo>
                  <a:pt x="2924" y="918"/>
                </a:lnTo>
                <a:lnTo>
                  <a:pt x="2936" y="920"/>
                </a:lnTo>
                <a:lnTo>
                  <a:pt x="2949" y="922"/>
                </a:lnTo>
                <a:lnTo>
                  <a:pt x="2966" y="924"/>
                </a:lnTo>
                <a:lnTo>
                  <a:pt x="2985" y="928"/>
                </a:lnTo>
                <a:lnTo>
                  <a:pt x="3005" y="933"/>
                </a:lnTo>
                <a:lnTo>
                  <a:pt x="3027" y="939"/>
                </a:lnTo>
                <a:lnTo>
                  <a:pt x="3051" y="945"/>
                </a:lnTo>
                <a:lnTo>
                  <a:pt x="3076" y="955"/>
                </a:lnTo>
                <a:lnTo>
                  <a:pt x="3101" y="964"/>
                </a:lnTo>
                <a:lnTo>
                  <a:pt x="3128" y="977"/>
                </a:lnTo>
                <a:lnTo>
                  <a:pt x="3154" y="990"/>
                </a:lnTo>
                <a:lnTo>
                  <a:pt x="3182" y="1006"/>
                </a:lnTo>
                <a:lnTo>
                  <a:pt x="3209" y="1025"/>
                </a:lnTo>
                <a:lnTo>
                  <a:pt x="3236" y="1045"/>
                </a:lnTo>
                <a:lnTo>
                  <a:pt x="3263" y="1068"/>
                </a:lnTo>
                <a:lnTo>
                  <a:pt x="3288" y="1093"/>
                </a:lnTo>
                <a:lnTo>
                  <a:pt x="3314" y="1121"/>
                </a:lnTo>
                <a:lnTo>
                  <a:pt x="3337" y="1153"/>
                </a:lnTo>
                <a:lnTo>
                  <a:pt x="3360" y="1187"/>
                </a:lnTo>
                <a:lnTo>
                  <a:pt x="3380" y="1224"/>
                </a:lnTo>
                <a:lnTo>
                  <a:pt x="3398" y="1265"/>
                </a:lnTo>
                <a:lnTo>
                  <a:pt x="3414" y="1309"/>
                </a:lnTo>
                <a:lnTo>
                  <a:pt x="3429" y="1357"/>
                </a:lnTo>
                <a:lnTo>
                  <a:pt x="3439" y="1408"/>
                </a:lnTo>
                <a:lnTo>
                  <a:pt x="3448" y="1463"/>
                </a:lnTo>
                <a:lnTo>
                  <a:pt x="3453" y="1522"/>
                </a:lnTo>
                <a:lnTo>
                  <a:pt x="3455" y="1586"/>
                </a:lnTo>
                <a:lnTo>
                  <a:pt x="3452" y="1651"/>
                </a:lnTo>
                <a:lnTo>
                  <a:pt x="3443" y="1714"/>
                </a:lnTo>
                <a:lnTo>
                  <a:pt x="3429" y="1776"/>
                </a:lnTo>
                <a:lnTo>
                  <a:pt x="3408" y="1835"/>
                </a:lnTo>
                <a:lnTo>
                  <a:pt x="3383" y="1891"/>
                </a:lnTo>
                <a:lnTo>
                  <a:pt x="3353" y="1945"/>
                </a:lnTo>
                <a:lnTo>
                  <a:pt x="3319" y="1995"/>
                </a:lnTo>
                <a:lnTo>
                  <a:pt x="3280" y="2041"/>
                </a:lnTo>
                <a:lnTo>
                  <a:pt x="3237" y="2084"/>
                </a:lnTo>
                <a:lnTo>
                  <a:pt x="3191" y="2124"/>
                </a:lnTo>
                <a:lnTo>
                  <a:pt x="3142" y="2158"/>
                </a:lnTo>
                <a:lnTo>
                  <a:pt x="3088" y="2189"/>
                </a:lnTo>
                <a:lnTo>
                  <a:pt x="3033" y="2214"/>
                </a:lnTo>
                <a:lnTo>
                  <a:pt x="2974" y="2234"/>
                </a:lnTo>
                <a:lnTo>
                  <a:pt x="2914" y="2248"/>
                </a:lnTo>
                <a:lnTo>
                  <a:pt x="2852" y="2258"/>
                </a:lnTo>
                <a:lnTo>
                  <a:pt x="2787" y="2261"/>
                </a:lnTo>
                <a:lnTo>
                  <a:pt x="689" y="2261"/>
                </a:lnTo>
                <a:lnTo>
                  <a:pt x="626" y="2258"/>
                </a:lnTo>
                <a:lnTo>
                  <a:pt x="565" y="2249"/>
                </a:lnTo>
                <a:lnTo>
                  <a:pt x="504" y="2236"/>
                </a:lnTo>
                <a:lnTo>
                  <a:pt x="446" y="2217"/>
                </a:lnTo>
                <a:lnTo>
                  <a:pt x="390" y="2193"/>
                </a:lnTo>
                <a:lnTo>
                  <a:pt x="336" y="2165"/>
                </a:lnTo>
                <a:lnTo>
                  <a:pt x="285" y="2132"/>
                </a:lnTo>
                <a:lnTo>
                  <a:pt x="238" y="2094"/>
                </a:lnTo>
                <a:lnTo>
                  <a:pt x="193" y="2055"/>
                </a:lnTo>
                <a:lnTo>
                  <a:pt x="153" y="2010"/>
                </a:lnTo>
                <a:lnTo>
                  <a:pt x="116" y="1961"/>
                </a:lnTo>
                <a:lnTo>
                  <a:pt x="84" y="1910"/>
                </a:lnTo>
                <a:lnTo>
                  <a:pt x="57" y="1857"/>
                </a:lnTo>
                <a:lnTo>
                  <a:pt x="35" y="1800"/>
                </a:lnTo>
                <a:lnTo>
                  <a:pt x="17" y="1740"/>
                </a:lnTo>
                <a:lnTo>
                  <a:pt x="5" y="1679"/>
                </a:lnTo>
                <a:lnTo>
                  <a:pt x="0" y="1616"/>
                </a:lnTo>
                <a:lnTo>
                  <a:pt x="0" y="1551"/>
                </a:lnTo>
                <a:lnTo>
                  <a:pt x="6" y="1488"/>
                </a:lnTo>
                <a:lnTo>
                  <a:pt x="18" y="1427"/>
                </a:lnTo>
                <a:lnTo>
                  <a:pt x="35" y="1368"/>
                </a:lnTo>
                <a:lnTo>
                  <a:pt x="57" y="1312"/>
                </a:lnTo>
                <a:lnTo>
                  <a:pt x="84" y="1257"/>
                </a:lnTo>
                <a:lnTo>
                  <a:pt x="115" y="1207"/>
                </a:lnTo>
                <a:lnTo>
                  <a:pt x="151" y="1159"/>
                </a:lnTo>
                <a:lnTo>
                  <a:pt x="191" y="1115"/>
                </a:lnTo>
                <a:lnTo>
                  <a:pt x="235" y="1074"/>
                </a:lnTo>
                <a:lnTo>
                  <a:pt x="281" y="1037"/>
                </a:lnTo>
                <a:lnTo>
                  <a:pt x="331" y="1005"/>
                </a:lnTo>
                <a:lnTo>
                  <a:pt x="384" y="977"/>
                </a:lnTo>
                <a:lnTo>
                  <a:pt x="440" y="954"/>
                </a:lnTo>
                <a:lnTo>
                  <a:pt x="498" y="936"/>
                </a:lnTo>
                <a:lnTo>
                  <a:pt x="558" y="922"/>
                </a:lnTo>
                <a:lnTo>
                  <a:pt x="558" y="922"/>
                </a:lnTo>
                <a:lnTo>
                  <a:pt x="552" y="886"/>
                </a:lnTo>
                <a:lnTo>
                  <a:pt x="550" y="848"/>
                </a:lnTo>
                <a:lnTo>
                  <a:pt x="551" y="809"/>
                </a:lnTo>
                <a:lnTo>
                  <a:pt x="556" y="769"/>
                </a:lnTo>
                <a:lnTo>
                  <a:pt x="565" y="728"/>
                </a:lnTo>
                <a:lnTo>
                  <a:pt x="581" y="680"/>
                </a:lnTo>
                <a:lnTo>
                  <a:pt x="602" y="635"/>
                </a:lnTo>
                <a:lnTo>
                  <a:pt x="628" y="593"/>
                </a:lnTo>
                <a:lnTo>
                  <a:pt x="659" y="553"/>
                </a:lnTo>
                <a:lnTo>
                  <a:pt x="692" y="518"/>
                </a:lnTo>
                <a:lnTo>
                  <a:pt x="731" y="487"/>
                </a:lnTo>
                <a:lnTo>
                  <a:pt x="772" y="460"/>
                </a:lnTo>
                <a:lnTo>
                  <a:pt x="816" y="438"/>
                </a:lnTo>
                <a:lnTo>
                  <a:pt x="863" y="421"/>
                </a:lnTo>
                <a:lnTo>
                  <a:pt x="911" y="411"/>
                </a:lnTo>
                <a:lnTo>
                  <a:pt x="961" y="406"/>
                </a:lnTo>
                <a:lnTo>
                  <a:pt x="1011" y="407"/>
                </a:lnTo>
                <a:lnTo>
                  <a:pt x="1059" y="413"/>
                </a:lnTo>
                <a:lnTo>
                  <a:pt x="1105" y="425"/>
                </a:lnTo>
                <a:lnTo>
                  <a:pt x="1148" y="440"/>
                </a:lnTo>
                <a:lnTo>
                  <a:pt x="1190" y="461"/>
                </a:lnTo>
                <a:lnTo>
                  <a:pt x="1228" y="486"/>
                </a:lnTo>
                <a:lnTo>
                  <a:pt x="1264" y="516"/>
                </a:lnTo>
                <a:lnTo>
                  <a:pt x="1297" y="548"/>
                </a:lnTo>
                <a:lnTo>
                  <a:pt x="1297" y="548"/>
                </a:lnTo>
                <a:lnTo>
                  <a:pt x="1323" y="485"/>
                </a:lnTo>
                <a:lnTo>
                  <a:pt x="1354" y="425"/>
                </a:lnTo>
                <a:lnTo>
                  <a:pt x="1390" y="368"/>
                </a:lnTo>
                <a:lnTo>
                  <a:pt x="1430" y="314"/>
                </a:lnTo>
                <a:lnTo>
                  <a:pt x="1474" y="263"/>
                </a:lnTo>
                <a:lnTo>
                  <a:pt x="1522" y="216"/>
                </a:lnTo>
                <a:lnTo>
                  <a:pt x="1573" y="173"/>
                </a:lnTo>
                <a:lnTo>
                  <a:pt x="1628" y="134"/>
                </a:lnTo>
                <a:lnTo>
                  <a:pt x="1685" y="100"/>
                </a:lnTo>
                <a:lnTo>
                  <a:pt x="1746" y="71"/>
                </a:lnTo>
                <a:lnTo>
                  <a:pt x="1809" y="45"/>
                </a:lnTo>
                <a:lnTo>
                  <a:pt x="1874" y="27"/>
                </a:lnTo>
                <a:lnTo>
                  <a:pt x="1942" y="12"/>
                </a:lnTo>
                <a:lnTo>
                  <a:pt x="2011" y="3"/>
                </a:lnTo>
                <a:lnTo>
                  <a:pt x="2082" y="0"/>
                </a:lnTo>
                <a:close/>
              </a:path>
            </a:pathLst>
          </a:custGeom>
          <a:solidFill>
            <a:schemeClr val="bg1"/>
          </a:solidFill>
          <a:ln w="0">
            <a:noFill/>
            <a:prstDash val="solid"/>
            <a:round/>
            <a:headEnd/>
            <a:tailEnd/>
          </a:ln>
        </p:spPr>
        <p:txBody>
          <a:bodyPr lIns="68562" tIns="34281" rIns="68562" bIns="34281"/>
          <a:lstStyle/>
          <a:p>
            <a:pPr>
              <a:defRPr/>
            </a:pPr>
            <a:endParaRPr lang="en-US" sz="1424">
              <a:solidFill>
                <a:schemeClr val="bg1"/>
              </a:solidFill>
            </a:endParaRPr>
          </a:p>
        </p:txBody>
      </p:sp>
      <p:grpSp>
        <p:nvGrpSpPr>
          <p:cNvPr id="123917" name="Group 18">
            <a:extLst>
              <a:ext uri="{FF2B5EF4-FFF2-40B4-BE49-F238E27FC236}">
                <a16:creationId xmlns:a16="http://schemas.microsoft.com/office/drawing/2014/main" id="{E1AC32A9-3E9A-446F-BBD4-7E55D86A50FE}"/>
              </a:ext>
            </a:extLst>
          </p:cNvPr>
          <p:cNvGrpSpPr>
            <a:grpSpLocks/>
          </p:cNvGrpSpPr>
          <p:nvPr/>
        </p:nvGrpSpPr>
        <p:grpSpPr bwMode="auto">
          <a:xfrm>
            <a:off x="6030913" y="2078038"/>
            <a:ext cx="2486025" cy="409575"/>
            <a:chOff x="4474741" y="2282112"/>
            <a:chExt cx="3314375" cy="545970"/>
          </a:xfrm>
        </p:grpSpPr>
        <p:grpSp>
          <p:nvGrpSpPr>
            <p:cNvPr id="123939" name="Group 19">
              <a:extLst>
                <a:ext uri="{FF2B5EF4-FFF2-40B4-BE49-F238E27FC236}">
                  <a16:creationId xmlns:a16="http://schemas.microsoft.com/office/drawing/2014/main" id="{B6828A1C-38D7-4D27-A22E-F4CAFA7DB114}"/>
                </a:ext>
              </a:extLst>
            </p:cNvPr>
            <p:cNvGrpSpPr>
              <a:grpSpLocks/>
            </p:cNvGrpSpPr>
            <p:nvPr/>
          </p:nvGrpSpPr>
          <p:grpSpPr bwMode="auto">
            <a:xfrm>
              <a:off x="4474741" y="2282112"/>
              <a:ext cx="3314375" cy="545970"/>
              <a:chOff x="4472549" y="1820482"/>
              <a:chExt cx="3314375" cy="545970"/>
            </a:xfrm>
          </p:grpSpPr>
          <p:sp>
            <p:nvSpPr>
              <p:cNvPr id="26" name="Rectangle 25">
                <a:extLst>
                  <a:ext uri="{FF2B5EF4-FFF2-40B4-BE49-F238E27FC236}">
                    <a16:creationId xmlns:a16="http://schemas.microsoft.com/office/drawing/2014/main" id="{8614D2BA-9A85-BE4A-BCD7-0C88C9F4BF6E}"/>
                  </a:ext>
                </a:extLst>
              </p:cNvPr>
              <p:cNvSpPr/>
              <p:nvPr/>
            </p:nvSpPr>
            <p:spPr>
              <a:xfrm>
                <a:off x="4567789" y="1928406"/>
                <a:ext cx="3219135" cy="330121"/>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44" tIns="81000" rIns="68544" bIns="34272" anchor="ctr"/>
              <a:lstStyle/>
              <a:p>
                <a:pPr algn="ctr">
                  <a:lnSpc>
                    <a:spcPct val="95000"/>
                  </a:lnSpc>
                  <a:defRPr/>
                </a:pPr>
                <a:r>
                  <a:rPr lang="en-US" altLang="ja-JP" sz="1500" b="1" dirty="0">
                    <a:solidFill>
                      <a:prstClr val="white"/>
                    </a:solidFill>
                    <a:latin typeface="メイリオ" panose="020B0604030504040204" pitchFamily="50" charset="-128"/>
                    <a:ea typeface="メイリオ" panose="020B0604030504040204" pitchFamily="50" charset="-128"/>
                    <a:cs typeface="MS Mincho"/>
                  </a:rPr>
                  <a:t>Core</a:t>
                </a:r>
                <a:endParaRPr lang="ja-JP" altLang="en-US" sz="1424" b="1" dirty="0">
                  <a:solidFill>
                    <a:prstClr val="white"/>
                  </a:solidFill>
                  <a:latin typeface="メイリオ" panose="020B0604030504040204" pitchFamily="50" charset="-128"/>
                  <a:ea typeface="メイリオ" panose="020B0604030504040204" pitchFamily="50" charset="-128"/>
                </a:endParaRPr>
              </a:p>
            </p:txBody>
          </p:sp>
          <p:sp>
            <p:nvSpPr>
              <p:cNvPr id="27" name="Oval 26">
                <a:extLst>
                  <a:ext uri="{FF2B5EF4-FFF2-40B4-BE49-F238E27FC236}">
                    <a16:creationId xmlns:a16="http://schemas.microsoft.com/office/drawing/2014/main" id="{A4AC8804-CEFB-A44F-80B7-579175212138}"/>
                  </a:ext>
                </a:extLst>
              </p:cNvPr>
              <p:cNvSpPr/>
              <p:nvPr/>
            </p:nvSpPr>
            <p:spPr>
              <a:xfrm>
                <a:off x="4472549" y="1820482"/>
                <a:ext cx="546046" cy="54597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algn="ctr">
                  <a:lnSpc>
                    <a:spcPct val="95000"/>
                  </a:lnSpc>
                  <a:defRPr/>
                </a:pPr>
                <a:endParaRPr lang="en-US" sz="1424"/>
              </a:p>
            </p:txBody>
          </p:sp>
        </p:grpSp>
        <p:grpSp>
          <p:nvGrpSpPr>
            <p:cNvPr id="123940" name="Group 54">
              <a:extLst>
                <a:ext uri="{FF2B5EF4-FFF2-40B4-BE49-F238E27FC236}">
                  <a16:creationId xmlns:a16="http://schemas.microsoft.com/office/drawing/2014/main" id="{FCAD3170-8FBE-4A9A-8249-F43D35DDEC74}"/>
                </a:ext>
              </a:extLst>
            </p:cNvPr>
            <p:cNvGrpSpPr>
              <a:grpSpLocks noChangeAspect="1"/>
            </p:cNvGrpSpPr>
            <p:nvPr/>
          </p:nvGrpSpPr>
          <p:grpSpPr bwMode="auto">
            <a:xfrm>
              <a:off x="4549314" y="2358879"/>
              <a:ext cx="392438" cy="392437"/>
              <a:chOff x="1222" y="2021"/>
              <a:chExt cx="575" cy="575"/>
            </a:xfrm>
          </p:grpSpPr>
          <p:sp>
            <p:nvSpPr>
              <p:cNvPr id="22" name="Freeform 56">
                <a:extLst>
                  <a:ext uri="{FF2B5EF4-FFF2-40B4-BE49-F238E27FC236}">
                    <a16:creationId xmlns:a16="http://schemas.microsoft.com/office/drawing/2014/main" id="{A981D5B8-AED1-674A-8561-9F02516BDC3B}"/>
                  </a:ext>
                </a:extLst>
              </p:cNvPr>
              <p:cNvSpPr>
                <a:spLocks/>
              </p:cNvSpPr>
              <p:nvPr/>
            </p:nvSpPr>
            <p:spPr bwMode="auto">
              <a:xfrm>
                <a:off x="1237" y="2020"/>
                <a:ext cx="530" cy="208"/>
              </a:xfrm>
              <a:custGeom>
                <a:avLst/>
                <a:gdLst>
                  <a:gd name="T0" fmla="*/ 1850 w 3184"/>
                  <a:gd name="T1" fmla="*/ 13 h 1251"/>
                  <a:gd name="T2" fmla="*/ 2151 w 3184"/>
                  <a:gd name="T3" fmla="*/ 77 h 1251"/>
                  <a:gd name="T4" fmla="*/ 2428 w 3184"/>
                  <a:gd name="T5" fmla="*/ 190 h 1251"/>
                  <a:gd name="T6" fmla="*/ 2681 w 3184"/>
                  <a:gd name="T7" fmla="*/ 349 h 1251"/>
                  <a:gd name="T8" fmla="*/ 2901 w 3184"/>
                  <a:gd name="T9" fmla="*/ 547 h 1251"/>
                  <a:gd name="T10" fmla="*/ 3084 w 3184"/>
                  <a:gd name="T11" fmla="*/ 779 h 1251"/>
                  <a:gd name="T12" fmla="*/ 3137 w 3184"/>
                  <a:gd name="T13" fmla="*/ 954 h 1251"/>
                  <a:gd name="T14" fmla="*/ 3004 w 3184"/>
                  <a:gd name="T15" fmla="*/ 988 h 1251"/>
                  <a:gd name="T16" fmla="*/ 2949 w 3184"/>
                  <a:gd name="T17" fmla="*/ 1013 h 1251"/>
                  <a:gd name="T18" fmla="*/ 2941 w 3184"/>
                  <a:gd name="T19" fmla="*/ 1018 h 1251"/>
                  <a:gd name="T20" fmla="*/ 2834 w 3184"/>
                  <a:gd name="T21" fmla="*/ 1097 h 1251"/>
                  <a:gd name="T22" fmla="*/ 2744 w 3184"/>
                  <a:gd name="T23" fmla="*/ 1188 h 1251"/>
                  <a:gd name="T24" fmla="*/ 2654 w 3184"/>
                  <a:gd name="T25" fmla="*/ 1240 h 1251"/>
                  <a:gd name="T26" fmla="*/ 2557 w 3184"/>
                  <a:gd name="T27" fmla="*/ 1248 h 1251"/>
                  <a:gd name="T28" fmla="*/ 2524 w 3184"/>
                  <a:gd name="T29" fmla="*/ 1240 h 1251"/>
                  <a:gd name="T30" fmla="*/ 2438 w 3184"/>
                  <a:gd name="T31" fmla="*/ 1192 h 1251"/>
                  <a:gd name="T32" fmla="*/ 2383 w 3184"/>
                  <a:gd name="T33" fmla="*/ 1134 h 1251"/>
                  <a:gd name="T34" fmla="*/ 2242 w 3184"/>
                  <a:gd name="T35" fmla="*/ 1021 h 1251"/>
                  <a:gd name="T36" fmla="*/ 2088 w 3184"/>
                  <a:gd name="T37" fmla="*/ 961 h 1251"/>
                  <a:gd name="T38" fmla="*/ 1947 w 3184"/>
                  <a:gd name="T39" fmla="*/ 951 h 1251"/>
                  <a:gd name="T40" fmla="*/ 1903 w 3184"/>
                  <a:gd name="T41" fmla="*/ 954 h 1251"/>
                  <a:gd name="T42" fmla="*/ 1748 w 3184"/>
                  <a:gd name="T43" fmla="*/ 996 h 1251"/>
                  <a:gd name="T44" fmla="*/ 1604 w 3184"/>
                  <a:gd name="T45" fmla="*/ 1091 h 1251"/>
                  <a:gd name="T46" fmla="*/ 1531 w 3184"/>
                  <a:gd name="T47" fmla="*/ 1168 h 1251"/>
                  <a:gd name="T48" fmla="*/ 1449 w 3184"/>
                  <a:gd name="T49" fmla="*/ 1229 h 1251"/>
                  <a:gd name="T50" fmla="*/ 1386 w 3184"/>
                  <a:gd name="T51" fmla="*/ 1248 h 1251"/>
                  <a:gd name="T52" fmla="*/ 1321 w 3184"/>
                  <a:gd name="T53" fmla="*/ 1249 h 1251"/>
                  <a:gd name="T54" fmla="*/ 1228 w 3184"/>
                  <a:gd name="T55" fmla="*/ 1211 h 1251"/>
                  <a:gd name="T56" fmla="*/ 1138 w 3184"/>
                  <a:gd name="T57" fmla="*/ 1123 h 1251"/>
                  <a:gd name="T58" fmla="*/ 1021 w 3184"/>
                  <a:gd name="T59" fmla="*/ 1023 h 1251"/>
                  <a:gd name="T60" fmla="*/ 976 w 3184"/>
                  <a:gd name="T61" fmla="*/ 999 h 1251"/>
                  <a:gd name="T62" fmla="*/ 919 w 3184"/>
                  <a:gd name="T63" fmla="*/ 977 h 1251"/>
                  <a:gd name="T64" fmla="*/ 772 w 3184"/>
                  <a:gd name="T65" fmla="*/ 951 h 1251"/>
                  <a:gd name="T66" fmla="*/ 622 w 3184"/>
                  <a:gd name="T67" fmla="*/ 970 h 1251"/>
                  <a:gd name="T68" fmla="*/ 519 w 3184"/>
                  <a:gd name="T69" fmla="*/ 1010 h 1251"/>
                  <a:gd name="T70" fmla="*/ 504 w 3184"/>
                  <a:gd name="T71" fmla="*/ 1018 h 1251"/>
                  <a:gd name="T72" fmla="*/ 397 w 3184"/>
                  <a:gd name="T73" fmla="*/ 1097 h 1251"/>
                  <a:gd name="T74" fmla="*/ 308 w 3184"/>
                  <a:gd name="T75" fmla="*/ 1188 h 1251"/>
                  <a:gd name="T76" fmla="*/ 218 w 3184"/>
                  <a:gd name="T77" fmla="*/ 1240 h 1251"/>
                  <a:gd name="T78" fmla="*/ 120 w 3184"/>
                  <a:gd name="T79" fmla="*/ 1248 h 1251"/>
                  <a:gd name="T80" fmla="*/ 87 w 3184"/>
                  <a:gd name="T81" fmla="*/ 1240 h 1251"/>
                  <a:gd name="T82" fmla="*/ 0 w 3184"/>
                  <a:gd name="T83" fmla="*/ 1190 h 1251"/>
                  <a:gd name="T84" fmla="*/ 115 w 3184"/>
                  <a:gd name="T85" fmla="*/ 919 h 1251"/>
                  <a:gd name="T86" fmla="*/ 272 w 3184"/>
                  <a:gd name="T87" fmla="*/ 674 h 1251"/>
                  <a:gd name="T88" fmla="*/ 468 w 3184"/>
                  <a:gd name="T89" fmla="*/ 460 h 1251"/>
                  <a:gd name="T90" fmla="*/ 697 w 3184"/>
                  <a:gd name="T91" fmla="*/ 281 h 1251"/>
                  <a:gd name="T92" fmla="*/ 955 w 3184"/>
                  <a:gd name="T93" fmla="*/ 142 h 1251"/>
                  <a:gd name="T94" fmla="*/ 1236 w 3184"/>
                  <a:gd name="T95" fmla="*/ 47 h 1251"/>
                  <a:gd name="T96" fmla="*/ 1537 w 3184"/>
                  <a:gd name="T97" fmla="*/ 3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4" h="1251">
                    <a:moveTo>
                      <a:pt x="1641" y="0"/>
                    </a:moveTo>
                    <a:lnTo>
                      <a:pt x="1747" y="3"/>
                    </a:lnTo>
                    <a:lnTo>
                      <a:pt x="1850" y="13"/>
                    </a:lnTo>
                    <a:lnTo>
                      <a:pt x="1953" y="29"/>
                    </a:lnTo>
                    <a:lnTo>
                      <a:pt x="2052" y="49"/>
                    </a:lnTo>
                    <a:lnTo>
                      <a:pt x="2151" y="77"/>
                    </a:lnTo>
                    <a:lnTo>
                      <a:pt x="2246" y="109"/>
                    </a:lnTo>
                    <a:lnTo>
                      <a:pt x="2338" y="147"/>
                    </a:lnTo>
                    <a:lnTo>
                      <a:pt x="2428" y="190"/>
                    </a:lnTo>
                    <a:lnTo>
                      <a:pt x="2516" y="238"/>
                    </a:lnTo>
                    <a:lnTo>
                      <a:pt x="2600" y="291"/>
                    </a:lnTo>
                    <a:lnTo>
                      <a:pt x="2681" y="349"/>
                    </a:lnTo>
                    <a:lnTo>
                      <a:pt x="2757" y="411"/>
                    </a:lnTo>
                    <a:lnTo>
                      <a:pt x="2831" y="477"/>
                    </a:lnTo>
                    <a:lnTo>
                      <a:pt x="2901" y="547"/>
                    </a:lnTo>
                    <a:lnTo>
                      <a:pt x="2966" y="620"/>
                    </a:lnTo>
                    <a:lnTo>
                      <a:pt x="3027" y="698"/>
                    </a:lnTo>
                    <a:lnTo>
                      <a:pt x="3084" y="779"/>
                    </a:lnTo>
                    <a:lnTo>
                      <a:pt x="3135" y="864"/>
                    </a:lnTo>
                    <a:lnTo>
                      <a:pt x="3184" y="951"/>
                    </a:lnTo>
                    <a:lnTo>
                      <a:pt x="3137" y="954"/>
                    </a:lnTo>
                    <a:lnTo>
                      <a:pt x="3092" y="962"/>
                    </a:lnTo>
                    <a:lnTo>
                      <a:pt x="3048" y="972"/>
                    </a:lnTo>
                    <a:lnTo>
                      <a:pt x="3004" y="988"/>
                    </a:lnTo>
                    <a:lnTo>
                      <a:pt x="2962" y="1007"/>
                    </a:lnTo>
                    <a:lnTo>
                      <a:pt x="2955" y="1010"/>
                    </a:lnTo>
                    <a:lnTo>
                      <a:pt x="2949" y="1013"/>
                    </a:lnTo>
                    <a:lnTo>
                      <a:pt x="2945" y="1016"/>
                    </a:lnTo>
                    <a:lnTo>
                      <a:pt x="2943" y="1017"/>
                    </a:lnTo>
                    <a:lnTo>
                      <a:pt x="2941" y="1018"/>
                    </a:lnTo>
                    <a:lnTo>
                      <a:pt x="2902" y="1042"/>
                    </a:lnTo>
                    <a:lnTo>
                      <a:pt x="2867" y="1068"/>
                    </a:lnTo>
                    <a:lnTo>
                      <a:pt x="2834" y="1097"/>
                    </a:lnTo>
                    <a:lnTo>
                      <a:pt x="2801" y="1127"/>
                    </a:lnTo>
                    <a:lnTo>
                      <a:pt x="2772" y="1161"/>
                    </a:lnTo>
                    <a:lnTo>
                      <a:pt x="2744" y="1188"/>
                    </a:lnTo>
                    <a:lnTo>
                      <a:pt x="2715" y="1211"/>
                    </a:lnTo>
                    <a:lnTo>
                      <a:pt x="2685" y="1228"/>
                    </a:lnTo>
                    <a:lnTo>
                      <a:pt x="2654" y="1240"/>
                    </a:lnTo>
                    <a:lnTo>
                      <a:pt x="2622" y="1249"/>
                    </a:lnTo>
                    <a:lnTo>
                      <a:pt x="2590" y="1251"/>
                    </a:lnTo>
                    <a:lnTo>
                      <a:pt x="2557" y="1248"/>
                    </a:lnTo>
                    <a:lnTo>
                      <a:pt x="2556" y="1248"/>
                    </a:lnTo>
                    <a:lnTo>
                      <a:pt x="2554" y="1248"/>
                    </a:lnTo>
                    <a:lnTo>
                      <a:pt x="2524" y="1240"/>
                    </a:lnTo>
                    <a:lnTo>
                      <a:pt x="2494" y="1229"/>
                    </a:lnTo>
                    <a:lnTo>
                      <a:pt x="2466" y="1213"/>
                    </a:lnTo>
                    <a:lnTo>
                      <a:pt x="2438" y="1192"/>
                    </a:lnTo>
                    <a:lnTo>
                      <a:pt x="2412" y="1168"/>
                    </a:lnTo>
                    <a:lnTo>
                      <a:pt x="2388" y="1139"/>
                    </a:lnTo>
                    <a:lnTo>
                      <a:pt x="2383" y="1134"/>
                    </a:lnTo>
                    <a:lnTo>
                      <a:pt x="2338" y="1090"/>
                    </a:lnTo>
                    <a:lnTo>
                      <a:pt x="2290" y="1053"/>
                    </a:lnTo>
                    <a:lnTo>
                      <a:pt x="2242" y="1021"/>
                    </a:lnTo>
                    <a:lnTo>
                      <a:pt x="2192" y="995"/>
                    </a:lnTo>
                    <a:lnTo>
                      <a:pt x="2140" y="975"/>
                    </a:lnTo>
                    <a:lnTo>
                      <a:pt x="2088" y="961"/>
                    </a:lnTo>
                    <a:lnTo>
                      <a:pt x="2034" y="953"/>
                    </a:lnTo>
                    <a:lnTo>
                      <a:pt x="1978" y="951"/>
                    </a:lnTo>
                    <a:lnTo>
                      <a:pt x="1947" y="951"/>
                    </a:lnTo>
                    <a:lnTo>
                      <a:pt x="1914" y="954"/>
                    </a:lnTo>
                    <a:lnTo>
                      <a:pt x="1909" y="953"/>
                    </a:lnTo>
                    <a:lnTo>
                      <a:pt x="1903" y="954"/>
                    </a:lnTo>
                    <a:lnTo>
                      <a:pt x="1850" y="963"/>
                    </a:lnTo>
                    <a:lnTo>
                      <a:pt x="1798" y="976"/>
                    </a:lnTo>
                    <a:lnTo>
                      <a:pt x="1748" y="996"/>
                    </a:lnTo>
                    <a:lnTo>
                      <a:pt x="1699" y="1022"/>
                    </a:lnTo>
                    <a:lnTo>
                      <a:pt x="1651" y="1054"/>
                    </a:lnTo>
                    <a:lnTo>
                      <a:pt x="1604" y="1091"/>
                    </a:lnTo>
                    <a:lnTo>
                      <a:pt x="1559" y="1134"/>
                    </a:lnTo>
                    <a:lnTo>
                      <a:pt x="1556" y="1139"/>
                    </a:lnTo>
                    <a:lnTo>
                      <a:pt x="1531" y="1168"/>
                    </a:lnTo>
                    <a:lnTo>
                      <a:pt x="1505" y="1192"/>
                    </a:lnTo>
                    <a:lnTo>
                      <a:pt x="1478" y="1213"/>
                    </a:lnTo>
                    <a:lnTo>
                      <a:pt x="1449" y="1229"/>
                    </a:lnTo>
                    <a:lnTo>
                      <a:pt x="1420" y="1240"/>
                    </a:lnTo>
                    <a:lnTo>
                      <a:pt x="1390" y="1248"/>
                    </a:lnTo>
                    <a:lnTo>
                      <a:pt x="1386" y="1248"/>
                    </a:lnTo>
                    <a:lnTo>
                      <a:pt x="1386" y="1248"/>
                    </a:lnTo>
                    <a:lnTo>
                      <a:pt x="1354" y="1251"/>
                    </a:lnTo>
                    <a:lnTo>
                      <a:pt x="1321" y="1249"/>
                    </a:lnTo>
                    <a:lnTo>
                      <a:pt x="1290" y="1240"/>
                    </a:lnTo>
                    <a:lnTo>
                      <a:pt x="1259" y="1228"/>
                    </a:lnTo>
                    <a:lnTo>
                      <a:pt x="1228" y="1211"/>
                    </a:lnTo>
                    <a:lnTo>
                      <a:pt x="1199" y="1188"/>
                    </a:lnTo>
                    <a:lnTo>
                      <a:pt x="1172" y="1161"/>
                    </a:lnTo>
                    <a:lnTo>
                      <a:pt x="1138" y="1123"/>
                    </a:lnTo>
                    <a:lnTo>
                      <a:pt x="1102" y="1087"/>
                    </a:lnTo>
                    <a:lnTo>
                      <a:pt x="1063" y="1054"/>
                    </a:lnTo>
                    <a:lnTo>
                      <a:pt x="1021" y="1023"/>
                    </a:lnTo>
                    <a:lnTo>
                      <a:pt x="1015" y="1019"/>
                    </a:lnTo>
                    <a:lnTo>
                      <a:pt x="1008" y="1015"/>
                    </a:lnTo>
                    <a:lnTo>
                      <a:pt x="976" y="999"/>
                    </a:lnTo>
                    <a:lnTo>
                      <a:pt x="973" y="998"/>
                    </a:lnTo>
                    <a:lnTo>
                      <a:pt x="966" y="995"/>
                    </a:lnTo>
                    <a:lnTo>
                      <a:pt x="919" y="977"/>
                    </a:lnTo>
                    <a:lnTo>
                      <a:pt x="871" y="964"/>
                    </a:lnTo>
                    <a:lnTo>
                      <a:pt x="822" y="955"/>
                    </a:lnTo>
                    <a:lnTo>
                      <a:pt x="772" y="951"/>
                    </a:lnTo>
                    <a:lnTo>
                      <a:pt x="721" y="952"/>
                    </a:lnTo>
                    <a:lnTo>
                      <a:pt x="671" y="958"/>
                    </a:lnTo>
                    <a:lnTo>
                      <a:pt x="622" y="970"/>
                    </a:lnTo>
                    <a:lnTo>
                      <a:pt x="573" y="986"/>
                    </a:lnTo>
                    <a:lnTo>
                      <a:pt x="526" y="1007"/>
                    </a:lnTo>
                    <a:lnTo>
                      <a:pt x="519" y="1010"/>
                    </a:lnTo>
                    <a:lnTo>
                      <a:pt x="513" y="1013"/>
                    </a:lnTo>
                    <a:lnTo>
                      <a:pt x="508" y="1016"/>
                    </a:lnTo>
                    <a:lnTo>
                      <a:pt x="504" y="1018"/>
                    </a:lnTo>
                    <a:lnTo>
                      <a:pt x="466" y="1042"/>
                    </a:lnTo>
                    <a:lnTo>
                      <a:pt x="430" y="1068"/>
                    </a:lnTo>
                    <a:lnTo>
                      <a:pt x="397" y="1097"/>
                    </a:lnTo>
                    <a:lnTo>
                      <a:pt x="365" y="1127"/>
                    </a:lnTo>
                    <a:lnTo>
                      <a:pt x="335" y="1161"/>
                    </a:lnTo>
                    <a:lnTo>
                      <a:pt x="308" y="1188"/>
                    </a:lnTo>
                    <a:lnTo>
                      <a:pt x="278" y="1211"/>
                    </a:lnTo>
                    <a:lnTo>
                      <a:pt x="248" y="1228"/>
                    </a:lnTo>
                    <a:lnTo>
                      <a:pt x="218" y="1240"/>
                    </a:lnTo>
                    <a:lnTo>
                      <a:pt x="185" y="1249"/>
                    </a:lnTo>
                    <a:lnTo>
                      <a:pt x="153" y="1251"/>
                    </a:lnTo>
                    <a:lnTo>
                      <a:pt x="120" y="1248"/>
                    </a:lnTo>
                    <a:lnTo>
                      <a:pt x="120" y="1248"/>
                    </a:lnTo>
                    <a:lnTo>
                      <a:pt x="117" y="1248"/>
                    </a:lnTo>
                    <a:lnTo>
                      <a:pt x="87" y="1240"/>
                    </a:lnTo>
                    <a:lnTo>
                      <a:pt x="56" y="1228"/>
                    </a:lnTo>
                    <a:lnTo>
                      <a:pt x="28" y="1211"/>
                    </a:lnTo>
                    <a:lnTo>
                      <a:pt x="0" y="1190"/>
                    </a:lnTo>
                    <a:lnTo>
                      <a:pt x="33" y="1097"/>
                    </a:lnTo>
                    <a:lnTo>
                      <a:pt x="71" y="1007"/>
                    </a:lnTo>
                    <a:lnTo>
                      <a:pt x="115" y="919"/>
                    </a:lnTo>
                    <a:lnTo>
                      <a:pt x="163" y="834"/>
                    </a:lnTo>
                    <a:lnTo>
                      <a:pt x="216" y="752"/>
                    </a:lnTo>
                    <a:lnTo>
                      <a:pt x="272" y="674"/>
                    </a:lnTo>
                    <a:lnTo>
                      <a:pt x="334" y="599"/>
                    </a:lnTo>
                    <a:lnTo>
                      <a:pt x="399" y="527"/>
                    </a:lnTo>
                    <a:lnTo>
                      <a:pt x="468" y="460"/>
                    </a:lnTo>
                    <a:lnTo>
                      <a:pt x="541" y="396"/>
                    </a:lnTo>
                    <a:lnTo>
                      <a:pt x="618" y="336"/>
                    </a:lnTo>
                    <a:lnTo>
                      <a:pt x="697" y="281"/>
                    </a:lnTo>
                    <a:lnTo>
                      <a:pt x="780" y="230"/>
                    </a:lnTo>
                    <a:lnTo>
                      <a:pt x="866" y="184"/>
                    </a:lnTo>
                    <a:lnTo>
                      <a:pt x="955" y="142"/>
                    </a:lnTo>
                    <a:lnTo>
                      <a:pt x="1046" y="105"/>
                    </a:lnTo>
                    <a:lnTo>
                      <a:pt x="1140" y="74"/>
                    </a:lnTo>
                    <a:lnTo>
                      <a:pt x="1236" y="47"/>
                    </a:lnTo>
                    <a:lnTo>
                      <a:pt x="1334" y="27"/>
                    </a:lnTo>
                    <a:lnTo>
                      <a:pt x="1435" y="12"/>
                    </a:lnTo>
                    <a:lnTo>
                      <a:pt x="1537" y="3"/>
                    </a:lnTo>
                    <a:lnTo>
                      <a:pt x="1641" y="0"/>
                    </a:lnTo>
                    <a:close/>
                  </a:path>
                </a:pathLst>
              </a:custGeom>
              <a:solidFill>
                <a:schemeClr val="bg1"/>
              </a:solidFill>
              <a:ln w="0">
                <a:noFill/>
                <a:prstDash val="solid"/>
                <a:round/>
                <a:headEnd/>
                <a:tailEnd/>
              </a:ln>
            </p:spPr>
            <p:txBody>
              <a:bodyPr lIns="68544" tIns="34272" rIns="68544" bIns="34272"/>
              <a:lstStyle/>
              <a:p>
                <a:pPr>
                  <a:defRPr/>
                </a:pPr>
                <a:endParaRPr lang="en-US" sz="1424"/>
              </a:p>
            </p:txBody>
          </p:sp>
          <p:sp>
            <p:nvSpPr>
              <p:cNvPr id="23" name="Freeform 57">
                <a:extLst>
                  <a:ext uri="{FF2B5EF4-FFF2-40B4-BE49-F238E27FC236}">
                    <a16:creationId xmlns:a16="http://schemas.microsoft.com/office/drawing/2014/main" id="{2B8324C6-943D-9440-A76F-40A4353869FF}"/>
                  </a:ext>
                </a:extLst>
              </p:cNvPr>
              <p:cNvSpPr>
                <a:spLocks/>
              </p:cNvSpPr>
              <p:nvPr/>
            </p:nvSpPr>
            <p:spPr bwMode="auto">
              <a:xfrm>
                <a:off x="1634" y="2364"/>
                <a:ext cx="34" cy="50"/>
              </a:xfrm>
              <a:custGeom>
                <a:avLst/>
                <a:gdLst>
                  <a:gd name="T0" fmla="*/ 101 w 204"/>
                  <a:gd name="T1" fmla="*/ 0 h 303"/>
                  <a:gd name="T2" fmla="*/ 122 w 204"/>
                  <a:gd name="T3" fmla="*/ 3 h 303"/>
                  <a:gd name="T4" fmla="*/ 142 w 204"/>
                  <a:gd name="T5" fmla="*/ 11 h 303"/>
                  <a:gd name="T6" fmla="*/ 160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4 w 204"/>
                  <a:gd name="T33" fmla="*/ 300 h 303"/>
                  <a:gd name="T34" fmla="*/ 103 w 204"/>
                  <a:gd name="T35" fmla="*/ 303 h 303"/>
                  <a:gd name="T36" fmla="*/ 81 w 204"/>
                  <a:gd name="T37" fmla="*/ 300 h 303"/>
                  <a:gd name="T38" fmla="*/ 62 w 204"/>
                  <a:gd name="T39" fmla="*/ 291 h 303"/>
                  <a:gd name="T40" fmla="*/ 45 w 204"/>
                  <a:gd name="T41" fmla="*/ 279 h 303"/>
                  <a:gd name="T42" fmla="*/ 29 w 204"/>
                  <a:gd name="T43" fmla="*/ 261 h 303"/>
                  <a:gd name="T44" fmla="*/ 16 w 204"/>
                  <a:gd name="T45" fmla="*/ 239 h 303"/>
                  <a:gd name="T46" fmla="*/ 8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6 w 204"/>
                  <a:gd name="T59" fmla="*/ 63 h 303"/>
                  <a:gd name="T60" fmla="*/ 28 w 204"/>
                  <a:gd name="T61" fmla="*/ 41 h 303"/>
                  <a:gd name="T62" fmla="*/ 44 w 204"/>
                  <a:gd name="T63" fmla="*/ 23 h 303"/>
                  <a:gd name="T64" fmla="*/ 60 w 204"/>
                  <a:gd name="T65" fmla="*/ 11 h 303"/>
                  <a:gd name="T66" fmla="*/ 80 w 204"/>
                  <a:gd name="T67" fmla="*/ 3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1"/>
                    </a:lnTo>
                    <a:lnTo>
                      <a:pt x="160"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4" y="300"/>
                    </a:lnTo>
                    <a:lnTo>
                      <a:pt x="103" y="303"/>
                    </a:lnTo>
                    <a:lnTo>
                      <a:pt x="81" y="300"/>
                    </a:lnTo>
                    <a:lnTo>
                      <a:pt x="62" y="291"/>
                    </a:lnTo>
                    <a:lnTo>
                      <a:pt x="45" y="279"/>
                    </a:lnTo>
                    <a:lnTo>
                      <a:pt x="29" y="261"/>
                    </a:lnTo>
                    <a:lnTo>
                      <a:pt x="16" y="239"/>
                    </a:lnTo>
                    <a:lnTo>
                      <a:pt x="8" y="213"/>
                    </a:lnTo>
                    <a:lnTo>
                      <a:pt x="2" y="183"/>
                    </a:lnTo>
                    <a:lnTo>
                      <a:pt x="0" y="151"/>
                    </a:lnTo>
                    <a:lnTo>
                      <a:pt x="0" y="149"/>
                    </a:lnTo>
                    <a:lnTo>
                      <a:pt x="2" y="117"/>
                    </a:lnTo>
                    <a:lnTo>
                      <a:pt x="7" y="88"/>
                    </a:lnTo>
                    <a:lnTo>
                      <a:pt x="16" y="63"/>
                    </a:lnTo>
                    <a:lnTo>
                      <a:pt x="28" y="41"/>
                    </a:lnTo>
                    <a:lnTo>
                      <a:pt x="44" y="23"/>
                    </a:lnTo>
                    <a:lnTo>
                      <a:pt x="60" y="11"/>
                    </a:lnTo>
                    <a:lnTo>
                      <a:pt x="80" y="3"/>
                    </a:lnTo>
                    <a:lnTo>
                      <a:pt x="101" y="0"/>
                    </a:lnTo>
                    <a:close/>
                  </a:path>
                </a:pathLst>
              </a:custGeom>
              <a:solidFill>
                <a:schemeClr val="bg1"/>
              </a:solidFill>
              <a:ln w="0">
                <a:noFill/>
                <a:prstDash val="solid"/>
                <a:round/>
                <a:headEnd/>
                <a:tailEnd/>
              </a:ln>
            </p:spPr>
            <p:txBody>
              <a:bodyPr lIns="68544" tIns="34272" rIns="68544" bIns="34272"/>
              <a:lstStyle/>
              <a:p>
                <a:pPr>
                  <a:defRPr/>
                </a:pPr>
                <a:endParaRPr lang="en-US" sz="1424"/>
              </a:p>
            </p:txBody>
          </p:sp>
          <p:sp>
            <p:nvSpPr>
              <p:cNvPr id="24" name="Freeform 58">
                <a:extLst>
                  <a:ext uri="{FF2B5EF4-FFF2-40B4-BE49-F238E27FC236}">
                    <a16:creationId xmlns:a16="http://schemas.microsoft.com/office/drawing/2014/main" id="{811D5898-84A6-3F40-86A5-131BA7529B0D}"/>
                  </a:ext>
                </a:extLst>
              </p:cNvPr>
              <p:cNvSpPr>
                <a:spLocks/>
              </p:cNvSpPr>
              <p:nvPr/>
            </p:nvSpPr>
            <p:spPr bwMode="auto">
              <a:xfrm>
                <a:off x="1432" y="2364"/>
                <a:ext cx="34" cy="50"/>
              </a:xfrm>
              <a:custGeom>
                <a:avLst/>
                <a:gdLst>
                  <a:gd name="T0" fmla="*/ 102 w 204"/>
                  <a:gd name="T1" fmla="*/ 0 h 303"/>
                  <a:gd name="T2" fmla="*/ 122 w 204"/>
                  <a:gd name="T3" fmla="*/ 3 h 303"/>
                  <a:gd name="T4" fmla="*/ 142 w 204"/>
                  <a:gd name="T5" fmla="*/ 11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5 w 204"/>
                  <a:gd name="T33" fmla="*/ 300 h 303"/>
                  <a:gd name="T34" fmla="*/ 103 w 204"/>
                  <a:gd name="T35" fmla="*/ 303 h 303"/>
                  <a:gd name="T36" fmla="*/ 82 w 204"/>
                  <a:gd name="T37" fmla="*/ 300 h 303"/>
                  <a:gd name="T38" fmla="*/ 62 w 204"/>
                  <a:gd name="T39" fmla="*/ 291 h 303"/>
                  <a:gd name="T40" fmla="*/ 45 w 204"/>
                  <a:gd name="T41" fmla="*/ 279 h 303"/>
                  <a:gd name="T42" fmla="*/ 29 w 204"/>
                  <a:gd name="T43" fmla="*/ 261 h 303"/>
                  <a:gd name="T44" fmla="*/ 17 w 204"/>
                  <a:gd name="T45" fmla="*/ 239 h 303"/>
                  <a:gd name="T46" fmla="*/ 7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7 w 204"/>
                  <a:gd name="T59" fmla="*/ 63 h 303"/>
                  <a:gd name="T60" fmla="*/ 28 w 204"/>
                  <a:gd name="T61" fmla="*/ 41 h 303"/>
                  <a:gd name="T62" fmla="*/ 43 w 204"/>
                  <a:gd name="T63" fmla="*/ 23 h 303"/>
                  <a:gd name="T64" fmla="*/ 61 w 204"/>
                  <a:gd name="T65" fmla="*/ 11 h 303"/>
                  <a:gd name="T66" fmla="*/ 80 w 204"/>
                  <a:gd name="T67" fmla="*/ 3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2" y="3"/>
                    </a:lnTo>
                    <a:lnTo>
                      <a:pt x="142" y="11"/>
                    </a:lnTo>
                    <a:lnTo>
                      <a:pt x="159"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5" y="300"/>
                    </a:lnTo>
                    <a:lnTo>
                      <a:pt x="103" y="303"/>
                    </a:lnTo>
                    <a:lnTo>
                      <a:pt x="82" y="300"/>
                    </a:lnTo>
                    <a:lnTo>
                      <a:pt x="62" y="291"/>
                    </a:lnTo>
                    <a:lnTo>
                      <a:pt x="45" y="279"/>
                    </a:lnTo>
                    <a:lnTo>
                      <a:pt x="29" y="261"/>
                    </a:lnTo>
                    <a:lnTo>
                      <a:pt x="17" y="239"/>
                    </a:lnTo>
                    <a:lnTo>
                      <a:pt x="7" y="213"/>
                    </a:lnTo>
                    <a:lnTo>
                      <a:pt x="2" y="183"/>
                    </a:lnTo>
                    <a:lnTo>
                      <a:pt x="0" y="151"/>
                    </a:lnTo>
                    <a:lnTo>
                      <a:pt x="0" y="149"/>
                    </a:lnTo>
                    <a:lnTo>
                      <a:pt x="2" y="117"/>
                    </a:lnTo>
                    <a:lnTo>
                      <a:pt x="7" y="88"/>
                    </a:lnTo>
                    <a:lnTo>
                      <a:pt x="17" y="63"/>
                    </a:lnTo>
                    <a:lnTo>
                      <a:pt x="28" y="41"/>
                    </a:lnTo>
                    <a:lnTo>
                      <a:pt x="43" y="23"/>
                    </a:lnTo>
                    <a:lnTo>
                      <a:pt x="61" y="11"/>
                    </a:lnTo>
                    <a:lnTo>
                      <a:pt x="80" y="3"/>
                    </a:lnTo>
                    <a:lnTo>
                      <a:pt x="102" y="0"/>
                    </a:lnTo>
                    <a:close/>
                  </a:path>
                </a:pathLst>
              </a:custGeom>
              <a:solidFill>
                <a:schemeClr val="bg1"/>
              </a:solidFill>
              <a:ln w="0">
                <a:noFill/>
                <a:prstDash val="solid"/>
                <a:round/>
                <a:headEnd/>
                <a:tailEnd/>
              </a:ln>
            </p:spPr>
            <p:txBody>
              <a:bodyPr lIns="68544" tIns="34272" rIns="68544" bIns="34272"/>
              <a:lstStyle/>
              <a:p>
                <a:pPr>
                  <a:defRPr/>
                </a:pPr>
                <a:endParaRPr lang="en-US" sz="1424"/>
              </a:p>
            </p:txBody>
          </p:sp>
          <p:sp>
            <p:nvSpPr>
              <p:cNvPr id="25" name="Freeform 59">
                <a:extLst>
                  <a:ext uri="{FF2B5EF4-FFF2-40B4-BE49-F238E27FC236}">
                    <a16:creationId xmlns:a16="http://schemas.microsoft.com/office/drawing/2014/main" id="{0EBA7398-2781-0F44-B207-71422E4EE2A3}"/>
                  </a:ext>
                </a:extLst>
              </p:cNvPr>
              <p:cNvSpPr>
                <a:spLocks noEditPoints="1"/>
              </p:cNvSpPr>
              <p:nvPr/>
            </p:nvSpPr>
            <p:spPr bwMode="auto">
              <a:xfrm>
                <a:off x="1221" y="2231"/>
                <a:ext cx="577" cy="366"/>
              </a:xfrm>
              <a:custGeom>
                <a:avLst/>
                <a:gdLst>
                  <a:gd name="T0" fmla="*/ 1830 w 3451"/>
                  <a:gd name="T1" fmla="*/ 662 h 2194"/>
                  <a:gd name="T2" fmla="*/ 1812 w 3451"/>
                  <a:gd name="T3" fmla="*/ 791 h 2194"/>
                  <a:gd name="T4" fmla="*/ 1883 w 3451"/>
                  <a:gd name="T5" fmla="*/ 827 h 2194"/>
                  <a:gd name="T6" fmla="*/ 1925 w 3451"/>
                  <a:gd name="T7" fmla="*/ 1237 h 2194"/>
                  <a:gd name="T8" fmla="*/ 1981 w 3451"/>
                  <a:gd name="T9" fmla="*/ 1285 h 2194"/>
                  <a:gd name="T10" fmla="*/ 2129 w 3451"/>
                  <a:gd name="T11" fmla="*/ 1237 h 2194"/>
                  <a:gd name="T12" fmla="*/ 2100 w 3451"/>
                  <a:gd name="T13" fmla="*/ 618 h 2194"/>
                  <a:gd name="T14" fmla="*/ 750 w 3451"/>
                  <a:gd name="T15" fmla="*/ 615 h 2194"/>
                  <a:gd name="T16" fmla="*/ 569 w 3451"/>
                  <a:gd name="T17" fmla="*/ 703 h 2194"/>
                  <a:gd name="T18" fmla="*/ 627 w 3451"/>
                  <a:gd name="T19" fmla="*/ 824 h 2194"/>
                  <a:gd name="T20" fmla="*/ 699 w 3451"/>
                  <a:gd name="T21" fmla="*/ 857 h 2194"/>
                  <a:gd name="T22" fmla="*/ 730 w 3451"/>
                  <a:gd name="T23" fmla="*/ 1273 h 2194"/>
                  <a:gd name="T24" fmla="*/ 898 w 3451"/>
                  <a:gd name="T25" fmla="*/ 1261 h 2194"/>
                  <a:gd name="T26" fmla="*/ 894 w 3451"/>
                  <a:gd name="T27" fmla="*/ 629 h 2194"/>
                  <a:gd name="T28" fmla="*/ 2535 w 3451"/>
                  <a:gd name="T29" fmla="*/ 612 h 2194"/>
                  <a:gd name="T30" fmla="*/ 2349 w 3451"/>
                  <a:gd name="T31" fmla="*/ 712 h 2194"/>
                  <a:gd name="T32" fmla="*/ 2272 w 3451"/>
                  <a:gd name="T33" fmla="*/ 912 h 2194"/>
                  <a:gd name="T34" fmla="*/ 2296 w 3451"/>
                  <a:gd name="T35" fmla="*/ 1098 h 2194"/>
                  <a:gd name="T36" fmla="*/ 2428 w 3451"/>
                  <a:gd name="T37" fmla="*/ 1256 h 2194"/>
                  <a:gd name="T38" fmla="*/ 2655 w 3451"/>
                  <a:gd name="T39" fmla="*/ 1282 h 2194"/>
                  <a:gd name="T40" fmla="*/ 2823 w 3451"/>
                  <a:gd name="T41" fmla="*/ 1160 h 2194"/>
                  <a:gd name="T42" fmla="*/ 2882 w 3451"/>
                  <a:gd name="T43" fmla="*/ 950 h 2194"/>
                  <a:gd name="T44" fmla="*/ 2842 w 3451"/>
                  <a:gd name="T45" fmla="*/ 770 h 2194"/>
                  <a:gd name="T46" fmla="*/ 2691 w 3451"/>
                  <a:gd name="T47" fmla="*/ 630 h 2194"/>
                  <a:gd name="T48" fmla="*/ 1285 w 3451"/>
                  <a:gd name="T49" fmla="*/ 619 h 2194"/>
                  <a:gd name="T50" fmla="*/ 1115 w 3451"/>
                  <a:gd name="T51" fmla="*/ 740 h 2194"/>
                  <a:gd name="T52" fmla="*/ 1057 w 3451"/>
                  <a:gd name="T53" fmla="*/ 950 h 2194"/>
                  <a:gd name="T54" fmla="*/ 1096 w 3451"/>
                  <a:gd name="T55" fmla="*/ 1131 h 2194"/>
                  <a:gd name="T56" fmla="*/ 1247 w 3451"/>
                  <a:gd name="T57" fmla="*/ 1270 h 2194"/>
                  <a:gd name="T58" fmla="*/ 1477 w 3451"/>
                  <a:gd name="T59" fmla="*/ 1270 h 2194"/>
                  <a:gd name="T60" fmla="*/ 1629 w 3451"/>
                  <a:gd name="T61" fmla="*/ 1129 h 2194"/>
                  <a:gd name="T62" fmla="*/ 1669 w 3451"/>
                  <a:gd name="T63" fmla="*/ 948 h 2194"/>
                  <a:gd name="T64" fmla="*/ 1612 w 3451"/>
                  <a:gd name="T65" fmla="*/ 739 h 2194"/>
                  <a:gd name="T66" fmla="*/ 1443 w 3451"/>
                  <a:gd name="T67" fmla="*/ 619 h 2194"/>
                  <a:gd name="T68" fmla="*/ 940 w 3451"/>
                  <a:gd name="T69" fmla="*/ 26 h 2194"/>
                  <a:gd name="T70" fmla="*/ 1136 w 3451"/>
                  <a:gd name="T71" fmla="*/ 200 h 2194"/>
                  <a:gd name="T72" fmla="*/ 1415 w 3451"/>
                  <a:gd name="T73" fmla="*/ 299 h 2194"/>
                  <a:gd name="T74" fmla="*/ 1494 w 3451"/>
                  <a:gd name="T75" fmla="*/ 299 h 2194"/>
                  <a:gd name="T76" fmla="*/ 1796 w 3451"/>
                  <a:gd name="T77" fmla="*/ 177 h 2194"/>
                  <a:gd name="T78" fmla="*/ 1971 w 3451"/>
                  <a:gd name="T79" fmla="*/ 25 h 2194"/>
                  <a:gd name="T80" fmla="*/ 2156 w 3451"/>
                  <a:gd name="T81" fmla="*/ 25 h 2194"/>
                  <a:gd name="T82" fmla="*/ 2331 w 3451"/>
                  <a:gd name="T83" fmla="*/ 177 h 2194"/>
                  <a:gd name="T84" fmla="*/ 2633 w 3451"/>
                  <a:gd name="T85" fmla="*/ 299 h 2194"/>
                  <a:gd name="T86" fmla="*/ 2889 w 3451"/>
                  <a:gd name="T87" fmla="*/ 252 h 2194"/>
                  <a:gd name="T88" fmla="*/ 3112 w 3451"/>
                  <a:gd name="T89" fmla="*/ 72 h 2194"/>
                  <a:gd name="T90" fmla="*/ 3306 w 3451"/>
                  <a:gd name="T91" fmla="*/ 2 h 2194"/>
                  <a:gd name="T92" fmla="*/ 3442 w 3451"/>
                  <a:gd name="T93" fmla="*/ 292 h 2194"/>
                  <a:gd name="T94" fmla="*/ 3403 w 3451"/>
                  <a:gd name="T95" fmla="*/ 879 h 2194"/>
                  <a:gd name="T96" fmla="*/ 3163 w 3451"/>
                  <a:gd name="T97" fmla="*/ 1423 h 2194"/>
                  <a:gd name="T98" fmla="*/ 2761 w 3451"/>
                  <a:gd name="T99" fmla="*/ 1849 h 2194"/>
                  <a:gd name="T100" fmla="*/ 2233 w 3451"/>
                  <a:gd name="T101" fmla="*/ 2119 h 2194"/>
                  <a:gd name="T102" fmla="*/ 1620 w 3451"/>
                  <a:gd name="T103" fmla="*/ 2191 h 2194"/>
                  <a:gd name="T104" fmla="*/ 1031 w 3451"/>
                  <a:gd name="T105" fmla="*/ 2048 h 2194"/>
                  <a:gd name="T106" fmla="*/ 540 w 3451"/>
                  <a:gd name="T107" fmla="*/ 1723 h 2194"/>
                  <a:gd name="T108" fmla="*/ 189 w 3451"/>
                  <a:gd name="T109" fmla="*/ 1253 h 2194"/>
                  <a:gd name="T110" fmla="*/ 13 w 3451"/>
                  <a:gd name="T111" fmla="*/ 677 h 2194"/>
                  <a:gd name="T112" fmla="*/ 57 w 3451"/>
                  <a:gd name="T113" fmla="*/ 270 h 2194"/>
                  <a:gd name="T114" fmla="*/ 311 w 3451"/>
                  <a:gd name="T115" fmla="*/ 295 h 2194"/>
                  <a:gd name="T116" fmla="*/ 582 w 3451"/>
                  <a:gd name="T117" fmla="*/ 166 h 2194"/>
                  <a:gd name="T118" fmla="*/ 770 w 3451"/>
                  <a:gd name="T119" fmla="*/ 11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51" h="2194">
                    <a:moveTo>
                      <a:pt x="1985" y="616"/>
                    </a:moveTo>
                    <a:lnTo>
                      <a:pt x="1981" y="617"/>
                    </a:lnTo>
                    <a:lnTo>
                      <a:pt x="1977" y="618"/>
                    </a:lnTo>
                    <a:lnTo>
                      <a:pt x="1974" y="620"/>
                    </a:lnTo>
                    <a:lnTo>
                      <a:pt x="1971" y="621"/>
                    </a:lnTo>
                    <a:lnTo>
                      <a:pt x="1830" y="662"/>
                    </a:lnTo>
                    <a:lnTo>
                      <a:pt x="1815" y="668"/>
                    </a:lnTo>
                    <a:lnTo>
                      <a:pt x="1804" y="679"/>
                    </a:lnTo>
                    <a:lnTo>
                      <a:pt x="1796" y="692"/>
                    </a:lnTo>
                    <a:lnTo>
                      <a:pt x="1793" y="708"/>
                    </a:lnTo>
                    <a:lnTo>
                      <a:pt x="1794" y="724"/>
                    </a:lnTo>
                    <a:lnTo>
                      <a:pt x="1812" y="791"/>
                    </a:lnTo>
                    <a:lnTo>
                      <a:pt x="1817" y="805"/>
                    </a:lnTo>
                    <a:lnTo>
                      <a:pt x="1826" y="817"/>
                    </a:lnTo>
                    <a:lnTo>
                      <a:pt x="1838" y="825"/>
                    </a:lnTo>
                    <a:lnTo>
                      <a:pt x="1852" y="828"/>
                    </a:lnTo>
                    <a:lnTo>
                      <a:pt x="1867" y="828"/>
                    </a:lnTo>
                    <a:lnTo>
                      <a:pt x="1883" y="827"/>
                    </a:lnTo>
                    <a:lnTo>
                      <a:pt x="1897" y="830"/>
                    </a:lnTo>
                    <a:lnTo>
                      <a:pt x="1908" y="838"/>
                    </a:lnTo>
                    <a:lnTo>
                      <a:pt x="1917" y="849"/>
                    </a:lnTo>
                    <a:lnTo>
                      <a:pt x="1923" y="862"/>
                    </a:lnTo>
                    <a:lnTo>
                      <a:pt x="1925" y="878"/>
                    </a:lnTo>
                    <a:lnTo>
                      <a:pt x="1925" y="1237"/>
                    </a:lnTo>
                    <a:lnTo>
                      <a:pt x="1927" y="1250"/>
                    </a:lnTo>
                    <a:lnTo>
                      <a:pt x="1933" y="1262"/>
                    </a:lnTo>
                    <a:lnTo>
                      <a:pt x="1943" y="1271"/>
                    </a:lnTo>
                    <a:lnTo>
                      <a:pt x="1954" y="1279"/>
                    </a:lnTo>
                    <a:lnTo>
                      <a:pt x="1968" y="1283"/>
                    </a:lnTo>
                    <a:lnTo>
                      <a:pt x="1981" y="1285"/>
                    </a:lnTo>
                    <a:lnTo>
                      <a:pt x="2086" y="1285"/>
                    </a:lnTo>
                    <a:lnTo>
                      <a:pt x="2102" y="1282"/>
                    </a:lnTo>
                    <a:lnTo>
                      <a:pt x="2113" y="1276"/>
                    </a:lnTo>
                    <a:lnTo>
                      <a:pt x="2122" y="1266"/>
                    </a:lnTo>
                    <a:lnTo>
                      <a:pt x="2127" y="1253"/>
                    </a:lnTo>
                    <a:lnTo>
                      <a:pt x="2129" y="1237"/>
                    </a:lnTo>
                    <a:lnTo>
                      <a:pt x="2129" y="673"/>
                    </a:lnTo>
                    <a:lnTo>
                      <a:pt x="2128" y="659"/>
                    </a:lnTo>
                    <a:lnTo>
                      <a:pt x="2124" y="646"/>
                    </a:lnTo>
                    <a:lnTo>
                      <a:pt x="2119" y="634"/>
                    </a:lnTo>
                    <a:lnTo>
                      <a:pt x="2110" y="624"/>
                    </a:lnTo>
                    <a:lnTo>
                      <a:pt x="2100" y="618"/>
                    </a:lnTo>
                    <a:lnTo>
                      <a:pt x="2086" y="616"/>
                    </a:lnTo>
                    <a:lnTo>
                      <a:pt x="1985" y="616"/>
                    </a:lnTo>
                    <a:close/>
                    <a:moveTo>
                      <a:pt x="760" y="611"/>
                    </a:moveTo>
                    <a:lnTo>
                      <a:pt x="756" y="612"/>
                    </a:lnTo>
                    <a:lnTo>
                      <a:pt x="753" y="613"/>
                    </a:lnTo>
                    <a:lnTo>
                      <a:pt x="750" y="615"/>
                    </a:lnTo>
                    <a:lnTo>
                      <a:pt x="747" y="616"/>
                    </a:lnTo>
                    <a:lnTo>
                      <a:pt x="605" y="657"/>
                    </a:lnTo>
                    <a:lnTo>
                      <a:pt x="591" y="663"/>
                    </a:lnTo>
                    <a:lnTo>
                      <a:pt x="580" y="673"/>
                    </a:lnTo>
                    <a:lnTo>
                      <a:pt x="572" y="687"/>
                    </a:lnTo>
                    <a:lnTo>
                      <a:pt x="569" y="703"/>
                    </a:lnTo>
                    <a:lnTo>
                      <a:pt x="570" y="718"/>
                    </a:lnTo>
                    <a:lnTo>
                      <a:pt x="588" y="785"/>
                    </a:lnTo>
                    <a:lnTo>
                      <a:pt x="593" y="800"/>
                    </a:lnTo>
                    <a:lnTo>
                      <a:pt x="602" y="812"/>
                    </a:lnTo>
                    <a:lnTo>
                      <a:pt x="614" y="820"/>
                    </a:lnTo>
                    <a:lnTo>
                      <a:pt x="627" y="824"/>
                    </a:lnTo>
                    <a:lnTo>
                      <a:pt x="643" y="823"/>
                    </a:lnTo>
                    <a:lnTo>
                      <a:pt x="658" y="822"/>
                    </a:lnTo>
                    <a:lnTo>
                      <a:pt x="672" y="825"/>
                    </a:lnTo>
                    <a:lnTo>
                      <a:pt x="684" y="833"/>
                    </a:lnTo>
                    <a:lnTo>
                      <a:pt x="692" y="844"/>
                    </a:lnTo>
                    <a:lnTo>
                      <a:pt x="699" y="857"/>
                    </a:lnTo>
                    <a:lnTo>
                      <a:pt x="701" y="872"/>
                    </a:lnTo>
                    <a:lnTo>
                      <a:pt x="701" y="1232"/>
                    </a:lnTo>
                    <a:lnTo>
                      <a:pt x="703" y="1245"/>
                    </a:lnTo>
                    <a:lnTo>
                      <a:pt x="709" y="1257"/>
                    </a:lnTo>
                    <a:lnTo>
                      <a:pt x="718" y="1266"/>
                    </a:lnTo>
                    <a:lnTo>
                      <a:pt x="730" y="1273"/>
                    </a:lnTo>
                    <a:lnTo>
                      <a:pt x="744" y="1278"/>
                    </a:lnTo>
                    <a:lnTo>
                      <a:pt x="757" y="1280"/>
                    </a:lnTo>
                    <a:lnTo>
                      <a:pt x="862" y="1280"/>
                    </a:lnTo>
                    <a:lnTo>
                      <a:pt x="878" y="1278"/>
                    </a:lnTo>
                    <a:lnTo>
                      <a:pt x="889" y="1270"/>
                    </a:lnTo>
                    <a:lnTo>
                      <a:pt x="898" y="1261"/>
                    </a:lnTo>
                    <a:lnTo>
                      <a:pt x="903" y="1247"/>
                    </a:lnTo>
                    <a:lnTo>
                      <a:pt x="905" y="1232"/>
                    </a:lnTo>
                    <a:lnTo>
                      <a:pt x="905" y="668"/>
                    </a:lnTo>
                    <a:lnTo>
                      <a:pt x="904" y="655"/>
                    </a:lnTo>
                    <a:lnTo>
                      <a:pt x="900" y="641"/>
                    </a:lnTo>
                    <a:lnTo>
                      <a:pt x="894" y="629"/>
                    </a:lnTo>
                    <a:lnTo>
                      <a:pt x="886" y="619"/>
                    </a:lnTo>
                    <a:lnTo>
                      <a:pt x="876" y="613"/>
                    </a:lnTo>
                    <a:lnTo>
                      <a:pt x="862" y="611"/>
                    </a:lnTo>
                    <a:lnTo>
                      <a:pt x="760" y="611"/>
                    </a:lnTo>
                    <a:close/>
                    <a:moveTo>
                      <a:pt x="2577" y="609"/>
                    </a:moveTo>
                    <a:lnTo>
                      <a:pt x="2535" y="612"/>
                    </a:lnTo>
                    <a:lnTo>
                      <a:pt x="2498" y="619"/>
                    </a:lnTo>
                    <a:lnTo>
                      <a:pt x="2462" y="630"/>
                    </a:lnTo>
                    <a:lnTo>
                      <a:pt x="2430" y="645"/>
                    </a:lnTo>
                    <a:lnTo>
                      <a:pt x="2399" y="665"/>
                    </a:lnTo>
                    <a:lnTo>
                      <a:pt x="2373" y="687"/>
                    </a:lnTo>
                    <a:lnTo>
                      <a:pt x="2349" y="712"/>
                    </a:lnTo>
                    <a:lnTo>
                      <a:pt x="2328" y="740"/>
                    </a:lnTo>
                    <a:lnTo>
                      <a:pt x="2310" y="771"/>
                    </a:lnTo>
                    <a:lnTo>
                      <a:pt x="2296" y="804"/>
                    </a:lnTo>
                    <a:lnTo>
                      <a:pt x="2284" y="839"/>
                    </a:lnTo>
                    <a:lnTo>
                      <a:pt x="2276" y="874"/>
                    </a:lnTo>
                    <a:lnTo>
                      <a:pt x="2272" y="912"/>
                    </a:lnTo>
                    <a:lnTo>
                      <a:pt x="2269" y="950"/>
                    </a:lnTo>
                    <a:lnTo>
                      <a:pt x="2269" y="952"/>
                    </a:lnTo>
                    <a:lnTo>
                      <a:pt x="2272" y="991"/>
                    </a:lnTo>
                    <a:lnTo>
                      <a:pt x="2276" y="1027"/>
                    </a:lnTo>
                    <a:lnTo>
                      <a:pt x="2284" y="1064"/>
                    </a:lnTo>
                    <a:lnTo>
                      <a:pt x="2296" y="1098"/>
                    </a:lnTo>
                    <a:lnTo>
                      <a:pt x="2310" y="1131"/>
                    </a:lnTo>
                    <a:lnTo>
                      <a:pt x="2327" y="1161"/>
                    </a:lnTo>
                    <a:lnTo>
                      <a:pt x="2348" y="1189"/>
                    </a:lnTo>
                    <a:lnTo>
                      <a:pt x="2372" y="1214"/>
                    </a:lnTo>
                    <a:lnTo>
                      <a:pt x="2398" y="1237"/>
                    </a:lnTo>
                    <a:lnTo>
                      <a:pt x="2428" y="1256"/>
                    </a:lnTo>
                    <a:lnTo>
                      <a:pt x="2460" y="1270"/>
                    </a:lnTo>
                    <a:lnTo>
                      <a:pt x="2496" y="1282"/>
                    </a:lnTo>
                    <a:lnTo>
                      <a:pt x="2534" y="1288"/>
                    </a:lnTo>
                    <a:lnTo>
                      <a:pt x="2575" y="1291"/>
                    </a:lnTo>
                    <a:lnTo>
                      <a:pt x="2616" y="1288"/>
                    </a:lnTo>
                    <a:lnTo>
                      <a:pt x="2655" y="1282"/>
                    </a:lnTo>
                    <a:lnTo>
                      <a:pt x="2689" y="1270"/>
                    </a:lnTo>
                    <a:lnTo>
                      <a:pt x="2723" y="1255"/>
                    </a:lnTo>
                    <a:lnTo>
                      <a:pt x="2752" y="1236"/>
                    </a:lnTo>
                    <a:lnTo>
                      <a:pt x="2779" y="1214"/>
                    </a:lnTo>
                    <a:lnTo>
                      <a:pt x="2803" y="1188"/>
                    </a:lnTo>
                    <a:lnTo>
                      <a:pt x="2823" y="1160"/>
                    </a:lnTo>
                    <a:lnTo>
                      <a:pt x="2841" y="1129"/>
                    </a:lnTo>
                    <a:lnTo>
                      <a:pt x="2856" y="1096"/>
                    </a:lnTo>
                    <a:lnTo>
                      <a:pt x="2867" y="1062"/>
                    </a:lnTo>
                    <a:lnTo>
                      <a:pt x="2876" y="1025"/>
                    </a:lnTo>
                    <a:lnTo>
                      <a:pt x="2881" y="989"/>
                    </a:lnTo>
                    <a:lnTo>
                      <a:pt x="2882" y="950"/>
                    </a:lnTo>
                    <a:lnTo>
                      <a:pt x="2882" y="948"/>
                    </a:lnTo>
                    <a:lnTo>
                      <a:pt x="2881" y="910"/>
                    </a:lnTo>
                    <a:lnTo>
                      <a:pt x="2876" y="872"/>
                    </a:lnTo>
                    <a:lnTo>
                      <a:pt x="2867" y="837"/>
                    </a:lnTo>
                    <a:lnTo>
                      <a:pt x="2857" y="802"/>
                    </a:lnTo>
                    <a:lnTo>
                      <a:pt x="2842" y="770"/>
                    </a:lnTo>
                    <a:lnTo>
                      <a:pt x="2824" y="739"/>
                    </a:lnTo>
                    <a:lnTo>
                      <a:pt x="2804" y="711"/>
                    </a:lnTo>
                    <a:lnTo>
                      <a:pt x="2781" y="686"/>
                    </a:lnTo>
                    <a:lnTo>
                      <a:pt x="2753" y="664"/>
                    </a:lnTo>
                    <a:lnTo>
                      <a:pt x="2724" y="645"/>
                    </a:lnTo>
                    <a:lnTo>
                      <a:pt x="2691" y="630"/>
                    </a:lnTo>
                    <a:lnTo>
                      <a:pt x="2656" y="619"/>
                    </a:lnTo>
                    <a:lnTo>
                      <a:pt x="2618" y="612"/>
                    </a:lnTo>
                    <a:lnTo>
                      <a:pt x="2577" y="609"/>
                    </a:lnTo>
                    <a:close/>
                    <a:moveTo>
                      <a:pt x="1364" y="609"/>
                    </a:moveTo>
                    <a:lnTo>
                      <a:pt x="1323" y="612"/>
                    </a:lnTo>
                    <a:lnTo>
                      <a:pt x="1285" y="619"/>
                    </a:lnTo>
                    <a:lnTo>
                      <a:pt x="1249" y="630"/>
                    </a:lnTo>
                    <a:lnTo>
                      <a:pt x="1217" y="645"/>
                    </a:lnTo>
                    <a:lnTo>
                      <a:pt x="1187" y="665"/>
                    </a:lnTo>
                    <a:lnTo>
                      <a:pt x="1160" y="687"/>
                    </a:lnTo>
                    <a:lnTo>
                      <a:pt x="1136" y="712"/>
                    </a:lnTo>
                    <a:lnTo>
                      <a:pt x="1115" y="740"/>
                    </a:lnTo>
                    <a:lnTo>
                      <a:pt x="1098" y="771"/>
                    </a:lnTo>
                    <a:lnTo>
                      <a:pt x="1083" y="804"/>
                    </a:lnTo>
                    <a:lnTo>
                      <a:pt x="1071" y="839"/>
                    </a:lnTo>
                    <a:lnTo>
                      <a:pt x="1063" y="874"/>
                    </a:lnTo>
                    <a:lnTo>
                      <a:pt x="1058" y="912"/>
                    </a:lnTo>
                    <a:lnTo>
                      <a:pt x="1057" y="950"/>
                    </a:lnTo>
                    <a:lnTo>
                      <a:pt x="1057" y="952"/>
                    </a:lnTo>
                    <a:lnTo>
                      <a:pt x="1058" y="991"/>
                    </a:lnTo>
                    <a:lnTo>
                      <a:pt x="1063" y="1027"/>
                    </a:lnTo>
                    <a:lnTo>
                      <a:pt x="1071" y="1064"/>
                    </a:lnTo>
                    <a:lnTo>
                      <a:pt x="1083" y="1098"/>
                    </a:lnTo>
                    <a:lnTo>
                      <a:pt x="1096" y="1131"/>
                    </a:lnTo>
                    <a:lnTo>
                      <a:pt x="1114" y="1161"/>
                    </a:lnTo>
                    <a:lnTo>
                      <a:pt x="1135" y="1189"/>
                    </a:lnTo>
                    <a:lnTo>
                      <a:pt x="1158" y="1214"/>
                    </a:lnTo>
                    <a:lnTo>
                      <a:pt x="1186" y="1237"/>
                    </a:lnTo>
                    <a:lnTo>
                      <a:pt x="1215" y="1256"/>
                    </a:lnTo>
                    <a:lnTo>
                      <a:pt x="1247" y="1270"/>
                    </a:lnTo>
                    <a:lnTo>
                      <a:pt x="1283" y="1282"/>
                    </a:lnTo>
                    <a:lnTo>
                      <a:pt x="1321" y="1288"/>
                    </a:lnTo>
                    <a:lnTo>
                      <a:pt x="1363" y="1291"/>
                    </a:lnTo>
                    <a:lnTo>
                      <a:pt x="1403" y="1288"/>
                    </a:lnTo>
                    <a:lnTo>
                      <a:pt x="1441" y="1282"/>
                    </a:lnTo>
                    <a:lnTo>
                      <a:pt x="1477" y="1270"/>
                    </a:lnTo>
                    <a:lnTo>
                      <a:pt x="1509" y="1255"/>
                    </a:lnTo>
                    <a:lnTo>
                      <a:pt x="1539" y="1236"/>
                    </a:lnTo>
                    <a:lnTo>
                      <a:pt x="1566" y="1214"/>
                    </a:lnTo>
                    <a:lnTo>
                      <a:pt x="1590" y="1188"/>
                    </a:lnTo>
                    <a:lnTo>
                      <a:pt x="1611" y="1160"/>
                    </a:lnTo>
                    <a:lnTo>
                      <a:pt x="1629" y="1129"/>
                    </a:lnTo>
                    <a:lnTo>
                      <a:pt x="1643" y="1096"/>
                    </a:lnTo>
                    <a:lnTo>
                      <a:pt x="1655" y="1062"/>
                    </a:lnTo>
                    <a:lnTo>
                      <a:pt x="1663" y="1025"/>
                    </a:lnTo>
                    <a:lnTo>
                      <a:pt x="1668" y="989"/>
                    </a:lnTo>
                    <a:lnTo>
                      <a:pt x="1669" y="950"/>
                    </a:lnTo>
                    <a:lnTo>
                      <a:pt x="1669" y="948"/>
                    </a:lnTo>
                    <a:lnTo>
                      <a:pt x="1668" y="910"/>
                    </a:lnTo>
                    <a:lnTo>
                      <a:pt x="1663" y="872"/>
                    </a:lnTo>
                    <a:lnTo>
                      <a:pt x="1655" y="837"/>
                    </a:lnTo>
                    <a:lnTo>
                      <a:pt x="1643" y="802"/>
                    </a:lnTo>
                    <a:lnTo>
                      <a:pt x="1630" y="770"/>
                    </a:lnTo>
                    <a:lnTo>
                      <a:pt x="1612" y="739"/>
                    </a:lnTo>
                    <a:lnTo>
                      <a:pt x="1591" y="711"/>
                    </a:lnTo>
                    <a:lnTo>
                      <a:pt x="1568" y="686"/>
                    </a:lnTo>
                    <a:lnTo>
                      <a:pt x="1541" y="664"/>
                    </a:lnTo>
                    <a:lnTo>
                      <a:pt x="1511" y="645"/>
                    </a:lnTo>
                    <a:lnTo>
                      <a:pt x="1479" y="630"/>
                    </a:lnTo>
                    <a:lnTo>
                      <a:pt x="1443" y="619"/>
                    </a:lnTo>
                    <a:lnTo>
                      <a:pt x="1405" y="612"/>
                    </a:lnTo>
                    <a:lnTo>
                      <a:pt x="1364" y="609"/>
                    </a:lnTo>
                    <a:close/>
                    <a:moveTo>
                      <a:pt x="839" y="0"/>
                    </a:moveTo>
                    <a:lnTo>
                      <a:pt x="873" y="3"/>
                    </a:lnTo>
                    <a:lnTo>
                      <a:pt x="907" y="11"/>
                    </a:lnTo>
                    <a:lnTo>
                      <a:pt x="940" y="26"/>
                    </a:lnTo>
                    <a:lnTo>
                      <a:pt x="972" y="46"/>
                    </a:lnTo>
                    <a:lnTo>
                      <a:pt x="1001" y="72"/>
                    </a:lnTo>
                    <a:lnTo>
                      <a:pt x="1032" y="104"/>
                    </a:lnTo>
                    <a:lnTo>
                      <a:pt x="1062" y="136"/>
                    </a:lnTo>
                    <a:lnTo>
                      <a:pt x="1094" y="166"/>
                    </a:lnTo>
                    <a:lnTo>
                      <a:pt x="1136" y="200"/>
                    </a:lnTo>
                    <a:lnTo>
                      <a:pt x="1179" y="228"/>
                    </a:lnTo>
                    <a:lnTo>
                      <a:pt x="1224" y="252"/>
                    </a:lnTo>
                    <a:lnTo>
                      <a:pt x="1270" y="271"/>
                    </a:lnTo>
                    <a:lnTo>
                      <a:pt x="1319" y="286"/>
                    </a:lnTo>
                    <a:lnTo>
                      <a:pt x="1366" y="295"/>
                    </a:lnTo>
                    <a:lnTo>
                      <a:pt x="1415" y="299"/>
                    </a:lnTo>
                    <a:lnTo>
                      <a:pt x="1463" y="299"/>
                    </a:lnTo>
                    <a:lnTo>
                      <a:pt x="1468" y="299"/>
                    </a:lnTo>
                    <a:lnTo>
                      <a:pt x="1474" y="299"/>
                    </a:lnTo>
                    <a:lnTo>
                      <a:pt x="1477" y="299"/>
                    </a:lnTo>
                    <a:lnTo>
                      <a:pt x="1477" y="299"/>
                    </a:lnTo>
                    <a:lnTo>
                      <a:pt x="1494" y="299"/>
                    </a:lnTo>
                    <a:lnTo>
                      <a:pt x="1550" y="292"/>
                    </a:lnTo>
                    <a:lnTo>
                      <a:pt x="1604" y="280"/>
                    </a:lnTo>
                    <a:lnTo>
                      <a:pt x="1656" y="262"/>
                    </a:lnTo>
                    <a:lnTo>
                      <a:pt x="1705" y="239"/>
                    </a:lnTo>
                    <a:lnTo>
                      <a:pt x="1751" y="210"/>
                    </a:lnTo>
                    <a:lnTo>
                      <a:pt x="1796" y="177"/>
                    </a:lnTo>
                    <a:lnTo>
                      <a:pt x="1829" y="147"/>
                    </a:lnTo>
                    <a:lnTo>
                      <a:pt x="1860" y="115"/>
                    </a:lnTo>
                    <a:lnTo>
                      <a:pt x="1890" y="83"/>
                    </a:lnTo>
                    <a:lnTo>
                      <a:pt x="1915" y="59"/>
                    </a:lnTo>
                    <a:lnTo>
                      <a:pt x="1943" y="40"/>
                    </a:lnTo>
                    <a:lnTo>
                      <a:pt x="1971" y="25"/>
                    </a:lnTo>
                    <a:lnTo>
                      <a:pt x="2001" y="14"/>
                    </a:lnTo>
                    <a:lnTo>
                      <a:pt x="2032" y="7"/>
                    </a:lnTo>
                    <a:lnTo>
                      <a:pt x="2063" y="4"/>
                    </a:lnTo>
                    <a:lnTo>
                      <a:pt x="2095" y="7"/>
                    </a:lnTo>
                    <a:lnTo>
                      <a:pt x="2126" y="14"/>
                    </a:lnTo>
                    <a:lnTo>
                      <a:pt x="2156" y="25"/>
                    </a:lnTo>
                    <a:lnTo>
                      <a:pt x="2185" y="40"/>
                    </a:lnTo>
                    <a:lnTo>
                      <a:pt x="2212" y="59"/>
                    </a:lnTo>
                    <a:lnTo>
                      <a:pt x="2237" y="83"/>
                    </a:lnTo>
                    <a:lnTo>
                      <a:pt x="2267" y="115"/>
                    </a:lnTo>
                    <a:lnTo>
                      <a:pt x="2299" y="147"/>
                    </a:lnTo>
                    <a:lnTo>
                      <a:pt x="2331" y="177"/>
                    </a:lnTo>
                    <a:lnTo>
                      <a:pt x="2376" y="210"/>
                    </a:lnTo>
                    <a:lnTo>
                      <a:pt x="2422" y="239"/>
                    </a:lnTo>
                    <a:lnTo>
                      <a:pt x="2472" y="262"/>
                    </a:lnTo>
                    <a:lnTo>
                      <a:pt x="2523" y="280"/>
                    </a:lnTo>
                    <a:lnTo>
                      <a:pt x="2577" y="292"/>
                    </a:lnTo>
                    <a:lnTo>
                      <a:pt x="2633" y="299"/>
                    </a:lnTo>
                    <a:lnTo>
                      <a:pt x="2651" y="299"/>
                    </a:lnTo>
                    <a:lnTo>
                      <a:pt x="2699" y="299"/>
                    </a:lnTo>
                    <a:lnTo>
                      <a:pt x="2747" y="295"/>
                    </a:lnTo>
                    <a:lnTo>
                      <a:pt x="2795" y="286"/>
                    </a:lnTo>
                    <a:lnTo>
                      <a:pt x="2842" y="271"/>
                    </a:lnTo>
                    <a:lnTo>
                      <a:pt x="2889" y="252"/>
                    </a:lnTo>
                    <a:lnTo>
                      <a:pt x="2934" y="228"/>
                    </a:lnTo>
                    <a:lnTo>
                      <a:pt x="2977" y="200"/>
                    </a:lnTo>
                    <a:lnTo>
                      <a:pt x="3019" y="166"/>
                    </a:lnTo>
                    <a:lnTo>
                      <a:pt x="3051" y="136"/>
                    </a:lnTo>
                    <a:lnTo>
                      <a:pt x="3081" y="104"/>
                    </a:lnTo>
                    <a:lnTo>
                      <a:pt x="3112" y="72"/>
                    </a:lnTo>
                    <a:lnTo>
                      <a:pt x="3142" y="46"/>
                    </a:lnTo>
                    <a:lnTo>
                      <a:pt x="3173" y="26"/>
                    </a:lnTo>
                    <a:lnTo>
                      <a:pt x="3207" y="11"/>
                    </a:lnTo>
                    <a:lnTo>
                      <a:pt x="3240" y="3"/>
                    </a:lnTo>
                    <a:lnTo>
                      <a:pt x="3275" y="0"/>
                    </a:lnTo>
                    <a:lnTo>
                      <a:pt x="3306" y="2"/>
                    </a:lnTo>
                    <a:lnTo>
                      <a:pt x="3338" y="10"/>
                    </a:lnTo>
                    <a:lnTo>
                      <a:pt x="3368" y="22"/>
                    </a:lnTo>
                    <a:lnTo>
                      <a:pt x="3397" y="39"/>
                    </a:lnTo>
                    <a:lnTo>
                      <a:pt x="3416" y="121"/>
                    </a:lnTo>
                    <a:lnTo>
                      <a:pt x="3431" y="206"/>
                    </a:lnTo>
                    <a:lnTo>
                      <a:pt x="3442" y="292"/>
                    </a:lnTo>
                    <a:lnTo>
                      <a:pt x="3449" y="380"/>
                    </a:lnTo>
                    <a:lnTo>
                      <a:pt x="3451" y="468"/>
                    </a:lnTo>
                    <a:lnTo>
                      <a:pt x="3448" y="574"/>
                    </a:lnTo>
                    <a:lnTo>
                      <a:pt x="3438" y="677"/>
                    </a:lnTo>
                    <a:lnTo>
                      <a:pt x="3424" y="779"/>
                    </a:lnTo>
                    <a:lnTo>
                      <a:pt x="3403" y="879"/>
                    </a:lnTo>
                    <a:lnTo>
                      <a:pt x="3375" y="976"/>
                    </a:lnTo>
                    <a:lnTo>
                      <a:pt x="3343" y="1070"/>
                    </a:lnTo>
                    <a:lnTo>
                      <a:pt x="3305" y="1163"/>
                    </a:lnTo>
                    <a:lnTo>
                      <a:pt x="3263" y="1253"/>
                    </a:lnTo>
                    <a:lnTo>
                      <a:pt x="3215" y="1339"/>
                    </a:lnTo>
                    <a:lnTo>
                      <a:pt x="3163" y="1423"/>
                    </a:lnTo>
                    <a:lnTo>
                      <a:pt x="3106" y="1504"/>
                    </a:lnTo>
                    <a:lnTo>
                      <a:pt x="3045" y="1580"/>
                    </a:lnTo>
                    <a:lnTo>
                      <a:pt x="2979" y="1654"/>
                    </a:lnTo>
                    <a:lnTo>
                      <a:pt x="2910" y="1723"/>
                    </a:lnTo>
                    <a:lnTo>
                      <a:pt x="2837" y="1788"/>
                    </a:lnTo>
                    <a:lnTo>
                      <a:pt x="2761" y="1849"/>
                    </a:lnTo>
                    <a:lnTo>
                      <a:pt x="2680" y="1906"/>
                    </a:lnTo>
                    <a:lnTo>
                      <a:pt x="2596" y="1958"/>
                    </a:lnTo>
                    <a:lnTo>
                      <a:pt x="2509" y="2005"/>
                    </a:lnTo>
                    <a:lnTo>
                      <a:pt x="2420" y="2048"/>
                    </a:lnTo>
                    <a:lnTo>
                      <a:pt x="2328" y="2086"/>
                    </a:lnTo>
                    <a:lnTo>
                      <a:pt x="2233" y="2119"/>
                    </a:lnTo>
                    <a:lnTo>
                      <a:pt x="2135" y="2145"/>
                    </a:lnTo>
                    <a:lnTo>
                      <a:pt x="2036" y="2166"/>
                    </a:lnTo>
                    <a:lnTo>
                      <a:pt x="1934" y="2181"/>
                    </a:lnTo>
                    <a:lnTo>
                      <a:pt x="1831" y="2191"/>
                    </a:lnTo>
                    <a:lnTo>
                      <a:pt x="1726" y="2194"/>
                    </a:lnTo>
                    <a:lnTo>
                      <a:pt x="1620" y="2191"/>
                    </a:lnTo>
                    <a:lnTo>
                      <a:pt x="1516" y="2181"/>
                    </a:lnTo>
                    <a:lnTo>
                      <a:pt x="1415" y="2166"/>
                    </a:lnTo>
                    <a:lnTo>
                      <a:pt x="1315" y="2145"/>
                    </a:lnTo>
                    <a:lnTo>
                      <a:pt x="1218" y="2119"/>
                    </a:lnTo>
                    <a:lnTo>
                      <a:pt x="1124" y="2086"/>
                    </a:lnTo>
                    <a:lnTo>
                      <a:pt x="1031" y="2048"/>
                    </a:lnTo>
                    <a:lnTo>
                      <a:pt x="941" y="2005"/>
                    </a:lnTo>
                    <a:lnTo>
                      <a:pt x="855" y="1958"/>
                    </a:lnTo>
                    <a:lnTo>
                      <a:pt x="771" y="1906"/>
                    </a:lnTo>
                    <a:lnTo>
                      <a:pt x="690" y="1849"/>
                    </a:lnTo>
                    <a:lnTo>
                      <a:pt x="614" y="1788"/>
                    </a:lnTo>
                    <a:lnTo>
                      <a:pt x="540" y="1723"/>
                    </a:lnTo>
                    <a:lnTo>
                      <a:pt x="471" y="1654"/>
                    </a:lnTo>
                    <a:lnTo>
                      <a:pt x="406" y="1580"/>
                    </a:lnTo>
                    <a:lnTo>
                      <a:pt x="345" y="1504"/>
                    </a:lnTo>
                    <a:lnTo>
                      <a:pt x="288" y="1423"/>
                    </a:lnTo>
                    <a:lnTo>
                      <a:pt x="236" y="1339"/>
                    </a:lnTo>
                    <a:lnTo>
                      <a:pt x="189" y="1253"/>
                    </a:lnTo>
                    <a:lnTo>
                      <a:pt x="146" y="1163"/>
                    </a:lnTo>
                    <a:lnTo>
                      <a:pt x="108" y="1070"/>
                    </a:lnTo>
                    <a:lnTo>
                      <a:pt x="75" y="976"/>
                    </a:lnTo>
                    <a:lnTo>
                      <a:pt x="49" y="879"/>
                    </a:lnTo>
                    <a:lnTo>
                      <a:pt x="28" y="779"/>
                    </a:lnTo>
                    <a:lnTo>
                      <a:pt x="13" y="677"/>
                    </a:lnTo>
                    <a:lnTo>
                      <a:pt x="3" y="574"/>
                    </a:lnTo>
                    <a:lnTo>
                      <a:pt x="0" y="468"/>
                    </a:lnTo>
                    <a:lnTo>
                      <a:pt x="1" y="396"/>
                    </a:lnTo>
                    <a:lnTo>
                      <a:pt x="6" y="324"/>
                    </a:lnTo>
                    <a:lnTo>
                      <a:pt x="14" y="252"/>
                    </a:lnTo>
                    <a:lnTo>
                      <a:pt x="57" y="270"/>
                    </a:lnTo>
                    <a:lnTo>
                      <a:pt x="102" y="284"/>
                    </a:lnTo>
                    <a:lnTo>
                      <a:pt x="148" y="293"/>
                    </a:lnTo>
                    <a:lnTo>
                      <a:pt x="196" y="299"/>
                    </a:lnTo>
                    <a:lnTo>
                      <a:pt x="214" y="299"/>
                    </a:lnTo>
                    <a:lnTo>
                      <a:pt x="262" y="299"/>
                    </a:lnTo>
                    <a:lnTo>
                      <a:pt x="311" y="295"/>
                    </a:lnTo>
                    <a:lnTo>
                      <a:pt x="359" y="286"/>
                    </a:lnTo>
                    <a:lnTo>
                      <a:pt x="406" y="271"/>
                    </a:lnTo>
                    <a:lnTo>
                      <a:pt x="452" y="252"/>
                    </a:lnTo>
                    <a:lnTo>
                      <a:pt x="497" y="228"/>
                    </a:lnTo>
                    <a:lnTo>
                      <a:pt x="541" y="200"/>
                    </a:lnTo>
                    <a:lnTo>
                      <a:pt x="582" y="166"/>
                    </a:lnTo>
                    <a:lnTo>
                      <a:pt x="615" y="136"/>
                    </a:lnTo>
                    <a:lnTo>
                      <a:pt x="645" y="104"/>
                    </a:lnTo>
                    <a:lnTo>
                      <a:pt x="675" y="72"/>
                    </a:lnTo>
                    <a:lnTo>
                      <a:pt x="705" y="46"/>
                    </a:lnTo>
                    <a:lnTo>
                      <a:pt x="736" y="26"/>
                    </a:lnTo>
                    <a:lnTo>
                      <a:pt x="770" y="11"/>
                    </a:lnTo>
                    <a:lnTo>
                      <a:pt x="804" y="3"/>
                    </a:lnTo>
                    <a:lnTo>
                      <a:pt x="839" y="0"/>
                    </a:lnTo>
                    <a:close/>
                  </a:path>
                </a:pathLst>
              </a:custGeom>
              <a:solidFill>
                <a:schemeClr val="bg1"/>
              </a:solidFill>
              <a:ln w="0">
                <a:noFill/>
                <a:prstDash val="solid"/>
                <a:round/>
                <a:headEnd/>
                <a:tailEnd/>
              </a:ln>
            </p:spPr>
            <p:txBody>
              <a:bodyPr lIns="68544" tIns="34272" rIns="68544" bIns="34272"/>
              <a:lstStyle/>
              <a:p>
                <a:pPr>
                  <a:defRPr/>
                </a:pPr>
                <a:endParaRPr lang="en-US" sz="1424"/>
              </a:p>
            </p:txBody>
          </p:sp>
        </p:grpSp>
      </p:grpSp>
      <p:sp>
        <p:nvSpPr>
          <p:cNvPr id="31" name="Rectangle 30">
            <a:extLst>
              <a:ext uri="{FF2B5EF4-FFF2-40B4-BE49-F238E27FC236}">
                <a16:creationId xmlns:a16="http://schemas.microsoft.com/office/drawing/2014/main" id="{12CF9AB4-1D0F-9A4C-91F4-68E18FA9DC65}"/>
              </a:ext>
            </a:extLst>
          </p:cNvPr>
          <p:cNvSpPr/>
          <p:nvPr/>
        </p:nvSpPr>
        <p:spPr>
          <a:xfrm>
            <a:off x="385764" y="4199471"/>
            <a:ext cx="4831408" cy="523220"/>
          </a:xfrm>
          <a:prstGeom prst="rect">
            <a:avLst/>
          </a:prstGeom>
        </p:spPr>
        <p:txBody>
          <a:bodyPr wrap="square" lIns="0" tIns="0" rIns="0" bIns="0" anchor="ctr">
            <a:spAutoFit/>
          </a:bodyPr>
          <a:lstStyle/>
          <a:p>
            <a:pPr>
              <a:spcBef>
                <a:spcPts val="600"/>
              </a:spcBef>
              <a:spcAft>
                <a:spcPts val="600"/>
              </a:spcAft>
              <a:defRPr/>
            </a:pPr>
            <a:r>
              <a:rPr lang="en-US" sz="1800" b="1" dirty="0">
                <a:solidFill>
                  <a:srgbClr val="000000"/>
                </a:solidFill>
              </a:rPr>
              <a:t>Non-stop operations for your applications </a:t>
            </a:r>
            <a:br>
              <a:rPr lang="en-US" sz="1600" b="1" dirty="0">
                <a:solidFill>
                  <a:schemeClr val="dk1"/>
                </a:solidFill>
              </a:rPr>
            </a:br>
            <a:r>
              <a:rPr lang="en-US" sz="1200" dirty="0">
                <a:solidFill>
                  <a:schemeClr val="dk1"/>
                </a:solidFill>
              </a:rPr>
              <a:t>with built-in HA, data protection, and security–including multi-site HA</a:t>
            </a:r>
            <a:r>
              <a:rPr lang="en-US" sz="1600" b="1" i="1" dirty="0">
                <a:solidFill>
                  <a:schemeClr val="dk1"/>
                </a:solidFill>
              </a:rPr>
              <a:t> </a:t>
            </a:r>
          </a:p>
        </p:txBody>
      </p:sp>
      <p:sp>
        <p:nvSpPr>
          <p:cNvPr id="43" name="Freeform 29">
            <a:extLst>
              <a:ext uri="{FF2B5EF4-FFF2-40B4-BE49-F238E27FC236}">
                <a16:creationId xmlns:a16="http://schemas.microsoft.com/office/drawing/2014/main" id="{450B82D1-A309-4E53-97FC-BA6C464AFCE9}"/>
              </a:ext>
            </a:extLst>
          </p:cNvPr>
          <p:cNvSpPr>
            <a:spLocks noEditPoints="1"/>
          </p:cNvSpPr>
          <p:nvPr/>
        </p:nvSpPr>
        <p:spPr bwMode="auto">
          <a:xfrm>
            <a:off x="6442075" y="1695450"/>
            <a:ext cx="288925" cy="179388"/>
          </a:xfrm>
          <a:custGeom>
            <a:avLst/>
            <a:gdLst>
              <a:gd name="T0" fmla="*/ 2787 w 3453"/>
              <a:gd name="T1" fmla="*/ 1234 h 2686"/>
              <a:gd name="T2" fmla="*/ 2682 w 3453"/>
              <a:gd name="T3" fmla="*/ 1375 h 2686"/>
              <a:gd name="T4" fmla="*/ 2695 w 3453"/>
              <a:gd name="T5" fmla="*/ 1557 h 2686"/>
              <a:gd name="T6" fmla="*/ 2819 w 3453"/>
              <a:gd name="T7" fmla="*/ 1681 h 2686"/>
              <a:gd name="T8" fmla="*/ 3000 w 3453"/>
              <a:gd name="T9" fmla="*/ 1693 h 2686"/>
              <a:gd name="T10" fmla="*/ 3141 w 3453"/>
              <a:gd name="T11" fmla="*/ 1588 h 2686"/>
              <a:gd name="T12" fmla="*/ 3179 w 3453"/>
              <a:gd name="T13" fmla="*/ 1411 h 2686"/>
              <a:gd name="T14" fmla="*/ 3094 w 3453"/>
              <a:gd name="T15" fmla="*/ 1256 h 2686"/>
              <a:gd name="T16" fmla="*/ 2927 w 3453"/>
              <a:gd name="T17" fmla="*/ 1193 h 2686"/>
              <a:gd name="T18" fmla="*/ 387 w 3453"/>
              <a:gd name="T19" fmla="*/ 1234 h 2686"/>
              <a:gd name="T20" fmla="*/ 282 w 3453"/>
              <a:gd name="T21" fmla="*/ 1375 h 2686"/>
              <a:gd name="T22" fmla="*/ 294 w 3453"/>
              <a:gd name="T23" fmla="*/ 1557 h 2686"/>
              <a:gd name="T24" fmla="*/ 418 w 3453"/>
              <a:gd name="T25" fmla="*/ 1681 h 2686"/>
              <a:gd name="T26" fmla="*/ 600 w 3453"/>
              <a:gd name="T27" fmla="*/ 1693 h 2686"/>
              <a:gd name="T28" fmla="*/ 741 w 3453"/>
              <a:gd name="T29" fmla="*/ 1588 h 2686"/>
              <a:gd name="T30" fmla="*/ 779 w 3453"/>
              <a:gd name="T31" fmla="*/ 1411 h 2686"/>
              <a:gd name="T32" fmla="*/ 694 w 3453"/>
              <a:gd name="T33" fmla="*/ 1256 h 2686"/>
              <a:gd name="T34" fmla="*/ 527 w 3453"/>
              <a:gd name="T35" fmla="*/ 1193 h 2686"/>
              <a:gd name="T36" fmla="*/ 890 w 3453"/>
              <a:gd name="T37" fmla="*/ 368 h 2686"/>
              <a:gd name="T38" fmla="*/ 698 w 3453"/>
              <a:gd name="T39" fmla="*/ 974 h 2686"/>
              <a:gd name="T40" fmla="*/ 782 w 3453"/>
              <a:gd name="T41" fmla="*/ 1030 h 2686"/>
              <a:gd name="T42" fmla="*/ 1864 w 3453"/>
              <a:gd name="T43" fmla="*/ 996 h 2686"/>
              <a:gd name="T44" fmla="*/ 2029 w 3453"/>
              <a:gd name="T45" fmla="*/ 903 h 2686"/>
              <a:gd name="T46" fmla="*/ 1956 w 3453"/>
              <a:gd name="T47" fmla="*/ 732 h 2686"/>
              <a:gd name="T48" fmla="*/ 2029 w 3453"/>
              <a:gd name="T49" fmla="*/ 562 h 2686"/>
              <a:gd name="T50" fmla="*/ 2204 w 3453"/>
              <a:gd name="T51" fmla="*/ 497 h 2686"/>
              <a:gd name="T52" fmla="*/ 2358 w 3453"/>
              <a:gd name="T53" fmla="*/ 565 h 2686"/>
              <a:gd name="T54" fmla="*/ 2429 w 3453"/>
              <a:gd name="T55" fmla="*/ 719 h 2686"/>
              <a:gd name="T56" fmla="*/ 2378 w 3453"/>
              <a:gd name="T57" fmla="*/ 878 h 2686"/>
              <a:gd name="T58" fmla="*/ 2503 w 3453"/>
              <a:gd name="T59" fmla="*/ 972 h 2686"/>
              <a:gd name="T60" fmla="*/ 2600 w 3453"/>
              <a:gd name="T61" fmla="*/ 1030 h 2686"/>
              <a:gd name="T62" fmla="*/ 2745 w 3453"/>
              <a:gd name="T63" fmla="*/ 992 h 2686"/>
              <a:gd name="T64" fmla="*/ 2574 w 3453"/>
              <a:gd name="T65" fmla="*/ 389 h 2686"/>
              <a:gd name="T66" fmla="*/ 2488 w 3453"/>
              <a:gd name="T67" fmla="*/ 328 h 2686"/>
              <a:gd name="T68" fmla="*/ 2764 w 3453"/>
              <a:gd name="T69" fmla="*/ 10 h 2686"/>
              <a:gd name="T70" fmla="*/ 3137 w 3453"/>
              <a:gd name="T71" fmla="*/ 990 h 2686"/>
              <a:gd name="T72" fmla="*/ 3325 w 3453"/>
              <a:gd name="T73" fmla="*/ 1030 h 2686"/>
              <a:gd name="T74" fmla="*/ 3431 w 3453"/>
              <a:gd name="T75" fmla="*/ 1087 h 2686"/>
              <a:gd name="T76" fmla="*/ 3450 w 3453"/>
              <a:gd name="T77" fmla="*/ 2133 h 2686"/>
              <a:gd name="T78" fmla="*/ 3362 w 3453"/>
              <a:gd name="T79" fmla="*/ 2201 h 2686"/>
              <a:gd name="T80" fmla="*/ 3267 w 3453"/>
              <a:gd name="T81" fmla="*/ 2245 h 2686"/>
              <a:gd name="T82" fmla="*/ 3242 w 3453"/>
              <a:gd name="T83" fmla="*/ 2641 h 2686"/>
              <a:gd name="T84" fmla="*/ 2890 w 3453"/>
              <a:gd name="T85" fmla="*/ 2686 h 2686"/>
              <a:gd name="T86" fmla="*/ 2802 w 3453"/>
              <a:gd name="T87" fmla="*/ 2619 h 2686"/>
              <a:gd name="T88" fmla="*/ 2772 w 3453"/>
              <a:gd name="T89" fmla="*/ 2227 h 2686"/>
              <a:gd name="T90" fmla="*/ 711 w 3453"/>
              <a:gd name="T91" fmla="*/ 2204 h 2686"/>
              <a:gd name="T92" fmla="*/ 644 w 3453"/>
              <a:gd name="T93" fmla="*/ 2291 h 2686"/>
              <a:gd name="T94" fmla="*/ 599 w 3453"/>
              <a:gd name="T95" fmla="*/ 2673 h 2686"/>
              <a:gd name="T96" fmla="*/ 233 w 3453"/>
              <a:gd name="T97" fmla="*/ 2673 h 2686"/>
              <a:gd name="T98" fmla="*/ 188 w 3453"/>
              <a:gd name="T99" fmla="*/ 2291 h 2686"/>
              <a:gd name="T100" fmla="*/ 121 w 3453"/>
              <a:gd name="T101" fmla="*/ 2204 h 2686"/>
              <a:gd name="T102" fmla="*/ 26 w 3453"/>
              <a:gd name="T103" fmla="*/ 2173 h 2686"/>
              <a:gd name="T104" fmla="*/ 2 w 3453"/>
              <a:gd name="T105" fmla="*/ 1130 h 2686"/>
              <a:gd name="T106" fmla="*/ 77 w 3453"/>
              <a:gd name="T107" fmla="*/ 1041 h 2686"/>
              <a:gd name="T108" fmla="*/ 284 w 3453"/>
              <a:gd name="T109" fmla="*/ 1020 h 2686"/>
              <a:gd name="T110" fmla="*/ 657 w 3453"/>
              <a:gd name="T111" fmla="*/ 40 h 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53" h="2686">
                <a:moveTo>
                  <a:pt x="2927" y="1193"/>
                </a:moveTo>
                <a:lnTo>
                  <a:pt x="2889" y="1196"/>
                </a:lnTo>
                <a:lnTo>
                  <a:pt x="2853" y="1204"/>
                </a:lnTo>
                <a:lnTo>
                  <a:pt x="2819" y="1217"/>
                </a:lnTo>
                <a:lnTo>
                  <a:pt x="2787" y="1234"/>
                </a:lnTo>
                <a:lnTo>
                  <a:pt x="2759" y="1256"/>
                </a:lnTo>
                <a:lnTo>
                  <a:pt x="2733" y="1281"/>
                </a:lnTo>
                <a:lnTo>
                  <a:pt x="2712" y="1310"/>
                </a:lnTo>
                <a:lnTo>
                  <a:pt x="2695" y="1341"/>
                </a:lnTo>
                <a:lnTo>
                  <a:pt x="2682" y="1375"/>
                </a:lnTo>
                <a:lnTo>
                  <a:pt x="2674" y="1411"/>
                </a:lnTo>
                <a:lnTo>
                  <a:pt x="2671" y="1448"/>
                </a:lnTo>
                <a:lnTo>
                  <a:pt x="2674" y="1486"/>
                </a:lnTo>
                <a:lnTo>
                  <a:pt x="2682" y="1523"/>
                </a:lnTo>
                <a:lnTo>
                  <a:pt x="2695" y="1557"/>
                </a:lnTo>
                <a:lnTo>
                  <a:pt x="2712" y="1588"/>
                </a:lnTo>
                <a:lnTo>
                  <a:pt x="2733" y="1617"/>
                </a:lnTo>
                <a:lnTo>
                  <a:pt x="2759" y="1642"/>
                </a:lnTo>
                <a:lnTo>
                  <a:pt x="2787" y="1663"/>
                </a:lnTo>
                <a:lnTo>
                  <a:pt x="2819" y="1681"/>
                </a:lnTo>
                <a:lnTo>
                  <a:pt x="2853" y="1693"/>
                </a:lnTo>
                <a:lnTo>
                  <a:pt x="2889" y="1702"/>
                </a:lnTo>
                <a:lnTo>
                  <a:pt x="2927" y="1704"/>
                </a:lnTo>
                <a:lnTo>
                  <a:pt x="2965" y="1702"/>
                </a:lnTo>
                <a:lnTo>
                  <a:pt x="3000" y="1693"/>
                </a:lnTo>
                <a:lnTo>
                  <a:pt x="3034" y="1681"/>
                </a:lnTo>
                <a:lnTo>
                  <a:pt x="3066" y="1663"/>
                </a:lnTo>
                <a:lnTo>
                  <a:pt x="3094" y="1642"/>
                </a:lnTo>
                <a:lnTo>
                  <a:pt x="3119" y="1617"/>
                </a:lnTo>
                <a:lnTo>
                  <a:pt x="3141" y="1588"/>
                </a:lnTo>
                <a:lnTo>
                  <a:pt x="3158" y="1557"/>
                </a:lnTo>
                <a:lnTo>
                  <a:pt x="3172" y="1523"/>
                </a:lnTo>
                <a:lnTo>
                  <a:pt x="3179" y="1486"/>
                </a:lnTo>
                <a:lnTo>
                  <a:pt x="3182" y="1448"/>
                </a:lnTo>
                <a:lnTo>
                  <a:pt x="3179" y="1411"/>
                </a:lnTo>
                <a:lnTo>
                  <a:pt x="3172" y="1375"/>
                </a:lnTo>
                <a:lnTo>
                  <a:pt x="3158" y="1341"/>
                </a:lnTo>
                <a:lnTo>
                  <a:pt x="3141" y="1310"/>
                </a:lnTo>
                <a:lnTo>
                  <a:pt x="3119" y="1281"/>
                </a:lnTo>
                <a:lnTo>
                  <a:pt x="3094" y="1256"/>
                </a:lnTo>
                <a:lnTo>
                  <a:pt x="3066" y="1234"/>
                </a:lnTo>
                <a:lnTo>
                  <a:pt x="3034" y="1217"/>
                </a:lnTo>
                <a:lnTo>
                  <a:pt x="3000" y="1204"/>
                </a:lnTo>
                <a:lnTo>
                  <a:pt x="2965" y="1196"/>
                </a:lnTo>
                <a:lnTo>
                  <a:pt x="2927" y="1193"/>
                </a:lnTo>
                <a:close/>
                <a:moveTo>
                  <a:pt x="527" y="1193"/>
                </a:moveTo>
                <a:lnTo>
                  <a:pt x="489" y="1196"/>
                </a:lnTo>
                <a:lnTo>
                  <a:pt x="453" y="1204"/>
                </a:lnTo>
                <a:lnTo>
                  <a:pt x="418" y="1217"/>
                </a:lnTo>
                <a:lnTo>
                  <a:pt x="387" y="1234"/>
                </a:lnTo>
                <a:lnTo>
                  <a:pt x="358" y="1256"/>
                </a:lnTo>
                <a:lnTo>
                  <a:pt x="333" y="1281"/>
                </a:lnTo>
                <a:lnTo>
                  <a:pt x="312" y="1310"/>
                </a:lnTo>
                <a:lnTo>
                  <a:pt x="294" y="1341"/>
                </a:lnTo>
                <a:lnTo>
                  <a:pt x="282" y="1375"/>
                </a:lnTo>
                <a:lnTo>
                  <a:pt x="273" y="1411"/>
                </a:lnTo>
                <a:lnTo>
                  <a:pt x="271" y="1448"/>
                </a:lnTo>
                <a:lnTo>
                  <a:pt x="273" y="1486"/>
                </a:lnTo>
                <a:lnTo>
                  <a:pt x="282" y="1523"/>
                </a:lnTo>
                <a:lnTo>
                  <a:pt x="294" y="1557"/>
                </a:lnTo>
                <a:lnTo>
                  <a:pt x="312" y="1588"/>
                </a:lnTo>
                <a:lnTo>
                  <a:pt x="333" y="1617"/>
                </a:lnTo>
                <a:lnTo>
                  <a:pt x="358" y="1642"/>
                </a:lnTo>
                <a:lnTo>
                  <a:pt x="387" y="1663"/>
                </a:lnTo>
                <a:lnTo>
                  <a:pt x="418" y="1681"/>
                </a:lnTo>
                <a:lnTo>
                  <a:pt x="453" y="1693"/>
                </a:lnTo>
                <a:lnTo>
                  <a:pt x="489" y="1702"/>
                </a:lnTo>
                <a:lnTo>
                  <a:pt x="527" y="1704"/>
                </a:lnTo>
                <a:lnTo>
                  <a:pt x="564" y="1702"/>
                </a:lnTo>
                <a:lnTo>
                  <a:pt x="600" y="1693"/>
                </a:lnTo>
                <a:lnTo>
                  <a:pt x="634" y="1681"/>
                </a:lnTo>
                <a:lnTo>
                  <a:pt x="665" y="1663"/>
                </a:lnTo>
                <a:lnTo>
                  <a:pt x="694" y="1642"/>
                </a:lnTo>
                <a:lnTo>
                  <a:pt x="719" y="1617"/>
                </a:lnTo>
                <a:lnTo>
                  <a:pt x="741" y="1588"/>
                </a:lnTo>
                <a:lnTo>
                  <a:pt x="758" y="1557"/>
                </a:lnTo>
                <a:lnTo>
                  <a:pt x="771" y="1523"/>
                </a:lnTo>
                <a:lnTo>
                  <a:pt x="779" y="1486"/>
                </a:lnTo>
                <a:lnTo>
                  <a:pt x="782" y="1448"/>
                </a:lnTo>
                <a:lnTo>
                  <a:pt x="779" y="1411"/>
                </a:lnTo>
                <a:lnTo>
                  <a:pt x="771" y="1375"/>
                </a:lnTo>
                <a:lnTo>
                  <a:pt x="758" y="1341"/>
                </a:lnTo>
                <a:lnTo>
                  <a:pt x="741" y="1310"/>
                </a:lnTo>
                <a:lnTo>
                  <a:pt x="719" y="1281"/>
                </a:lnTo>
                <a:lnTo>
                  <a:pt x="694" y="1256"/>
                </a:lnTo>
                <a:lnTo>
                  <a:pt x="665" y="1234"/>
                </a:lnTo>
                <a:lnTo>
                  <a:pt x="634" y="1217"/>
                </a:lnTo>
                <a:lnTo>
                  <a:pt x="600" y="1204"/>
                </a:lnTo>
                <a:lnTo>
                  <a:pt x="564" y="1196"/>
                </a:lnTo>
                <a:lnTo>
                  <a:pt x="527" y="1193"/>
                </a:lnTo>
                <a:close/>
                <a:moveTo>
                  <a:pt x="966" y="328"/>
                </a:moveTo>
                <a:lnTo>
                  <a:pt x="943" y="331"/>
                </a:lnTo>
                <a:lnTo>
                  <a:pt x="922" y="339"/>
                </a:lnTo>
                <a:lnTo>
                  <a:pt x="904" y="352"/>
                </a:lnTo>
                <a:lnTo>
                  <a:pt x="890" y="368"/>
                </a:lnTo>
                <a:lnTo>
                  <a:pt x="880" y="389"/>
                </a:lnTo>
                <a:lnTo>
                  <a:pt x="696" y="909"/>
                </a:lnTo>
                <a:lnTo>
                  <a:pt x="691" y="932"/>
                </a:lnTo>
                <a:lnTo>
                  <a:pt x="691" y="954"/>
                </a:lnTo>
                <a:lnTo>
                  <a:pt x="698" y="974"/>
                </a:lnTo>
                <a:lnTo>
                  <a:pt x="707" y="992"/>
                </a:lnTo>
                <a:lnTo>
                  <a:pt x="722" y="1008"/>
                </a:lnTo>
                <a:lnTo>
                  <a:pt x="739" y="1020"/>
                </a:lnTo>
                <a:lnTo>
                  <a:pt x="760" y="1028"/>
                </a:lnTo>
                <a:lnTo>
                  <a:pt x="782" y="1030"/>
                </a:lnTo>
                <a:lnTo>
                  <a:pt x="1790" y="1030"/>
                </a:lnTo>
                <a:lnTo>
                  <a:pt x="1812" y="1028"/>
                </a:lnTo>
                <a:lnTo>
                  <a:pt x="1832" y="1021"/>
                </a:lnTo>
                <a:lnTo>
                  <a:pt x="1850" y="1010"/>
                </a:lnTo>
                <a:lnTo>
                  <a:pt x="1864" y="996"/>
                </a:lnTo>
                <a:lnTo>
                  <a:pt x="1887" y="972"/>
                </a:lnTo>
                <a:lnTo>
                  <a:pt x="1915" y="951"/>
                </a:lnTo>
                <a:lnTo>
                  <a:pt x="1948" y="933"/>
                </a:lnTo>
                <a:lnTo>
                  <a:pt x="1987" y="917"/>
                </a:lnTo>
                <a:lnTo>
                  <a:pt x="2029" y="903"/>
                </a:lnTo>
                <a:lnTo>
                  <a:pt x="2005" y="876"/>
                </a:lnTo>
                <a:lnTo>
                  <a:pt x="1984" y="844"/>
                </a:lnTo>
                <a:lnTo>
                  <a:pt x="1969" y="810"/>
                </a:lnTo>
                <a:lnTo>
                  <a:pt x="1960" y="772"/>
                </a:lnTo>
                <a:lnTo>
                  <a:pt x="1956" y="732"/>
                </a:lnTo>
                <a:lnTo>
                  <a:pt x="1960" y="693"/>
                </a:lnTo>
                <a:lnTo>
                  <a:pt x="1969" y="655"/>
                </a:lnTo>
                <a:lnTo>
                  <a:pt x="1984" y="621"/>
                </a:lnTo>
                <a:lnTo>
                  <a:pt x="2004" y="589"/>
                </a:lnTo>
                <a:lnTo>
                  <a:pt x="2029" y="562"/>
                </a:lnTo>
                <a:lnTo>
                  <a:pt x="2058" y="538"/>
                </a:lnTo>
                <a:lnTo>
                  <a:pt x="2090" y="519"/>
                </a:lnTo>
                <a:lnTo>
                  <a:pt x="2126" y="506"/>
                </a:lnTo>
                <a:lnTo>
                  <a:pt x="2164" y="498"/>
                </a:lnTo>
                <a:lnTo>
                  <a:pt x="2204" y="497"/>
                </a:lnTo>
                <a:lnTo>
                  <a:pt x="2238" y="501"/>
                </a:lnTo>
                <a:lnTo>
                  <a:pt x="2272" y="510"/>
                </a:lnTo>
                <a:lnTo>
                  <a:pt x="2304" y="524"/>
                </a:lnTo>
                <a:lnTo>
                  <a:pt x="2333" y="543"/>
                </a:lnTo>
                <a:lnTo>
                  <a:pt x="2358" y="565"/>
                </a:lnTo>
                <a:lnTo>
                  <a:pt x="2381" y="590"/>
                </a:lnTo>
                <a:lnTo>
                  <a:pt x="2399" y="620"/>
                </a:lnTo>
                <a:lnTo>
                  <a:pt x="2414" y="651"/>
                </a:lnTo>
                <a:lnTo>
                  <a:pt x="2424" y="684"/>
                </a:lnTo>
                <a:lnTo>
                  <a:pt x="2429" y="719"/>
                </a:lnTo>
                <a:lnTo>
                  <a:pt x="2428" y="754"/>
                </a:lnTo>
                <a:lnTo>
                  <a:pt x="2422" y="789"/>
                </a:lnTo>
                <a:lnTo>
                  <a:pt x="2412" y="820"/>
                </a:lnTo>
                <a:lnTo>
                  <a:pt x="2397" y="851"/>
                </a:lnTo>
                <a:lnTo>
                  <a:pt x="2378" y="878"/>
                </a:lnTo>
                <a:lnTo>
                  <a:pt x="2356" y="902"/>
                </a:lnTo>
                <a:lnTo>
                  <a:pt x="2400" y="916"/>
                </a:lnTo>
                <a:lnTo>
                  <a:pt x="2439" y="932"/>
                </a:lnTo>
                <a:lnTo>
                  <a:pt x="2474" y="950"/>
                </a:lnTo>
                <a:lnTo>
                  <a:pt x="2503" y="972"/>
                </a:lnTo>
                <a:lnTo>
                  <a:pt x="2526" y="996"/>
                </a:lnTo>
                <a:lnTo>
                  <a:pt x="2541" y="1010"/>
                </a:lnTo>
                <a:lnTo>
                  <a:pt x="2559" y="1022"/>
                </a:lnTo>
                <a:lnTo>
                  <a:pt x="2579" y="1028"/>
                </a:lnTo>
                <a:lnTo>
                  <a:pt x="2600" y="1030"/>
                </a:lnTo>
                <a:lnTo>
                  <a:pt x="2671" y="1030"/>
                </a:lnTo>
                <a:lnTo>
                  <a:pt x="2693" y="1028"/>
                </a:lnTo>
                <a:lnTo>
                  <a:pt x="2713" y="1020"/>
                </a:lnTo>
                <a:lnTo>
                  <a:pt x="2731" y="1008"/>
                </a:lnTo>
                <a:lnTo>
                  <a:pt x="2745" y="992"/>
                </a:lnTo>
                <a:lnTo>
                  <a:pt x="2755" y="974"/>
                </a:lnTo>
                <a:lnTo>
                  <a:pt x="2761" y="954"/>
                </a:lnTo>
                <a:lnTo>
                  <a:pt x="2762" y="932"/>
                </a:lnTo>
                <a:lnTo>
                  <a:pt x="2757" y="909"/>
                </a:lnTo>
                <a:lnTo>
                  <a:pt x="2574" y="389"/>
                </a:lnTo>
                <a:lnTo>
                  <a:pt x="2563" y="368"/>
                </a:lnTo>
                <a:lnTo>
                  <a:pt x="2548" y="352"/>
                </a:lnTo>
                <a:lnTo>
                  <a:pt x="2531" y="339"/>
                </a:lnTo>
                <a:lnTo>
                  <a:pt x="2511" y="331"/>
                </a:lnTo>
                <a:lnTo>
                  <a:pt x="2488" y="328"/>
                </a:lnTo>
                <a:lnTo>
                  <a:pt x="966" y="328"/>
                </a:lnTo>
                <a:close/>
                <a:moveTo>
                  <a:pt x="732" y="0"/>
                </a:moveTo>
                <a:lnTo>
                  <a:pt x="2721" y="0"/>
                </a:lnTo>
                <a:lnTo>
                  <a:pt x="2743" y="2"/>
                </a:lnTo>
                <a:lnTo>
                  <a:pt x="2764" y="10"/>
                </a:lnTo>
                <a:lnTo>
                  <a:pt x="2782" y="23"/>
                </a:lnTo>
                <a:lnTo>
                  <a:pt x="2796" y="40"/>
                </a:lnTo>
                <a:lnTo>
                  <a:pt x="2807" y="61"/>
                </a:lnTo>
                <a:lnTo>
                  <a:pt x="3126" y="969"/>
                </a:lnTo>
                <a:lnTo>
                  <a:pt x="3137" y="990"/>
                </a:lnTo>
                <a:lnTo>
                  <a:pt x="3152" y="1007"/>
                </a:lnTo>
                <a:lnTo>
                  <a:pt x="3170" y="1020"/>
                </a:lnTo>
                <a:lnTo>
                  <a:pt x="3191" y="1028"/>
                </a:lnTo>
                <a:lnTo>
                  <a:pt x="3213" y="1030"/>
                </a:lnTo>
                <a:lnTo>
                  <a:pt x="3325" y="1030"/>
                </a:lnTo>
                <a:lnTo>
                  <a:pt x="3351" y="1033"/>
                </a:lnTo>
                <a:lnTo>
                  <a:pt x="3374" y="1041"/>
                </a:lnTo>
                <a:lnTo>
                  <a:pt x="3397" y="1052"/>
                </a:lnTo>
                <a:lnTo>
                  <a:pt x="3415" y="1068"/>
                </a:lnTo>
                <a:lnTo>
                  <a:pt x="3431" y="1087"/>
                </a:lnTo>
                <a:lnTo>
                  <a:pt x="3443" y="1109"/>
                </a:lnTo>
                <a:lnTo>
                  <a:pt x="3450" y="1133"/>
                </a:lnTo>
                <a:lnTo>
                  <a:pt x="3453" y="1158"/>
                </a:lnTo>
                <a:lnTo>
                  <a:pt x="3453" y="2109"/>
                </a:lnTo>
                <a:lnTo>
                  <a:pt x="3450" y="2133"/>
                </a:lnTo>
                <a:lnTo>
                  <a:pt x="3441" y="2155"/>
                </a:lnTo>
                <a:lnTo>
                  <a:pt x="3426" y="2173"/>
                </a:lnTo>
                <a:lnTo>
                  <a:pt x="3408" y="2188"/>
                </a:lnTo>
                <a:lnTo>
                  <a:pt x="3386" y="2196"/>
                </a:lnTo>
                <a:lnTo>
                  <a:pt x="3362" y="2201"/>
                </a:lnTo>
                <a:lnTo>
                  <a:pt x="3346" y="2201"/>
                </a:lnTo>
                <a:lnTo>
                  <a:pt x="3322" y="2204"/>
                </a:lnTo>
                <a:lnTo>
                  <a:pt x="3300" y="2212"/>
                </a:lnTo>
                <a:lnTo>
                  <a:pt x="3282" y="2227"/>
                </a:lnTo>
                <a:lnTo>
                  <a:pt x="3267" y="2245"/>
                </a:lnTo>
                <a:lnTo>
                  <a:pt x="3258" y="2267"/>
                </a:lnTo>
                <a:lnTo>
                  <a:pt x="3255" y="2291"/>
                </a:lnTo>
                <a:lnTo>
                  <a:pt x="3255" y="2595"/>
                </a:lnTo>
                <a:lnTo>
                  <a:pt x="3252" y="2619"/>
                </a:lnTo>
                <a:lnTo>
                  <a:pt x="3242" y="2641"/>
                </a:lnTo>
                <a:lnTo>
                  <a:pt x="3228" y="2660"/>
                </a:lnTo>
                <a:lnTo>
                  <a:pt x="3209" y="2673"/>
                </a:lnTo>
                <a:lnTo>
                  <a:pt x="3188" y="2683"/>
                </a:lnTo>
                <a:lnTo>
                  <a:pt x="3163" y="2686"/>
                </a:lnTo>
                <a:lnTo>
                  <a:pt x="2890" y="2686"/>
                </a:lnTo>
                <a:lnTo>
                  <a:pt x="2866" y="2683"/>
                </a:lnTo>
                <a:lnTo>
                  <a:pt x="2844" y="2673"/>
                </a:lnTo>
                <a:lnTo>
                  <a:pt x="2826" y="2660"/>
                </a:lnTo>
                <a:lnTo>
                  <a:pt x="2811" y="2641"/>
                </a:lnTo>
                <a:lnTo>
                  <a:pt x="2802" y="2619"/>
                </a:lnTo>
                <a:lnTo>
                  <a:pt x="2799" y="2595"/>
                </a:lnTo>
                <a:lnTo>
                  <a:pt x="2799" y="2291"/>
                </a:lnTo>
                <a:lnTo>
                  <a:pt x="2795" y="2267"/>
                </a:lnTo>
                <a:lnTo>
                  <a:pt x="2786" y="2245"/>
                </a:lnTo>
                <a:lnTo>
                  <a:pt x="2772" y="2227"/>
                </a:lnTo>
                <a:lnTo>
                  <a:pt x="2753" y="2212"/>
                </a:lnTo>
                <a:lnTo>
                  <a:pt x="2732" y="2204"/>
                </a:lnTo>
                <a:lnTo>
                  <a:pt x="2708" y="2201"/>
                </a:lnTo>
                <a:lnTo>
                  <a:pt x="736" y="2201"/>
                </a:lnTo>
                <a:lnTo>
                  <a:pt x="711" y="2204"/>
                </a:lnTo>
                <a:lnTo>
                  <a:pt x="689" y="2212"/>
                </a:lnTo>
                <a:lnTo>
                  <a:pt x="670" y="2227"/>
                </a:lnTo>
                <a:lnTo>
                  <a:pt x="657" y="2245"/>
                </a:lnTo>
                <a:lnTo>
                  <a:pt x="647" y="2267"/>
                </a:lnTo>
                <a:lnTo>
                  <a:pt x="644" y="2291"/>
                </a:lnTo>
                <a:lnTo>
                  <a:pt x="644" y="2595"/>
                </a:lnTo>
                <a:lnTo>
                  <a:pt x="641" y="2619"/>
                </a:lnTo>
                <a:lnTo>
                  <a:pt x="632" y="2641"/>
                </a:lnTo>
                <a:lnTo>
                  <a:pt x="618" y="2660"/>
                </a:lnTo>
                <a:lnTo>
                  <a:pt x="599" y="2673"/>
                </a:lnTo>
                <a:lnTo>
                  <a:pt x="577" y="2683"/>
                </a:lnTo>
                <a:lnTo>
                  <a:pt x="553" y="2686"/>
                </a:lnTo>
                <a:lnTo>
                  <a:pt x="280" y="2686"/>
                </a:lnTo>
                <a:lnTo>
                  <a:pt x="255" y="2683"/>
                </a:lnTo>
                <a:lnTo>
                  <a:pt x="233" y="2673"/>
                </a:lnTo>
                <a:lnTo>
                  <a:pt x="214" y="2660"/>
                </a:lnTo>
                <a:lnTo>
                  <a:pt x="201" y="2641"/>
                </a:lnTo>
                <a:lnTo>
                  <a:pt x="191" y="2619"/>
                </a:lnTo>
                <a:lnTo>
                  <a:pt x="188" y="2595"/>
                </a:lnTo>
                <a:lnTo>
                  <a:pt x="188" y="2291"/>
                </a:lnTo>
                <a:lnTo>
                  <a:pt x="185" y="2267"/>
                </a:lnTo>
                <a:lnTo>
                  <a:pt x="176" y="2245"/>
                </a:lnTo>
                <a:lnTo>
                  <a:pt x="162" y="2227"/>
                </a:lnTo>
                <a:lnTo>
                  <a:pt x="143" y="2212"/>
                </a:lnTo>
                <a:lnTo>
                  <a:pt x="121" y="2204"/>
                </a:lnTo>
                <a:lnTo>
                  <a:pt x="97" y="2201"/>
                </a:lnTo>
                <a:lnTo>
                  <a:pt x="91" y="2201"/>
                </a:lnTo>
                <a:lnTo>
                  <a:pt x="67" y="2196"/>
                </a:lnTo>
                <a:lnTo>
                  <a:pt x="45" y="2188"/>
                </a:lnTo>
                <a:lnTo>
                  <a:pt x="26" y="2173"/>
                </a:lnTo>
                <a:lnTo>
                  <a:pt x="13" y="2155"/>
                </a:lnTo>
                <a:lnTo>
                  <a:pt x="3" y="2133"/>
                </a:lnTo>
                <a:lnTo>
                  <a:pt x="0" y="2109"/>
                </a:lnTo>
                <a:lnTo>
                  <a:pt x="0" y="1155"/>
                </a:lnTo>
                <a:lnTo>
                  <a:pt x="2" y="1130"/>
                </a:lnTo>
                <a:lnTo>
                  <a:pt x="9" y="1107"/>
                </a:lnTo>
                <a:lnTo>
                  <a:pt x="21" y="1086"/>
                </a:lnTo>
                <a:lnTo>
                  <a:pt x="37" y="1067"/>
                </a:lnTo>
                <a:lnTo>
                  <a:pt x="55" y="1052"/>
                </a:lnTo>
                <a:lnTo>
                  <a:pt x="77" y="1041"/>
                </a:lnTo>
                <a:lnTo>
                  <a:pt x="100" y="1033"/>
                </a:lnTo>
                <a:lnTo>
                  <a:pt x="125" y="1030"/>
                </a:lnTo>
                <a:lnTo>
                  <a:pt x="240" y="1030"/>
                </a:lnTo>
                <a:lnTo>
                  <a:pt x="263" y="1028"/>
                </a:lnTo>
                <a:lnTo>
                  <a:pt x="284" y="1020"/>
                </a:lnTo>
                <a:lnTo>
                  <a:pt x="302" y="1007"/>
                </a:lnTo>
                <a:lnTo>
                  <a:pt x="316" y="990"/>
                </a:lnTo>
                <a:lnTo>
                  <a:pt x="326" y="969"/>
                </a:lnTo>
                <a:lnTo>
                  <a:pt x="646" y="61"/>
                </a:lnTo>
                <a:lnTo>
                  <a:pt x="657" y="40"/>
                </a:lnTo>
                <a:lnTo>
                  <a:pt x="672" y="23"/>
                </a:lnTo>
                <a:lnTo>
                  <a:pt x="689" y="10"/>
                </a:lnTo>
                <a:lnTo>
                  <a:pt x="710" y="2"/>
                </a:lnTo>
                <a:lnTo>
                  <a:pt x="732" y="0"/>
                </a:lnTo>
                <a:close/>
              </a:path>
            </a:pathLst>
          </a:custGeom>
          <a:solidFill>
            <a:srgbClr val="0067C5">
              <a:lumMod val="75000"/>
            </a:srgbClr>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nvGrpSpPr>
          <p:cNvPr id="44" name="Group 13">
            <a:extLst>
              <a:ext uri="{FF2B5EF4-FFF2-40B4-BE49-F238E27FC236}">
                <a16:creationId xmlns:a16="http://schemas.microsoft.com/office/drawing/2014/main" id="{7509E7AE-9382-42BF-8C40-7C0B57BEC9FA}"/>
              </a:ext>
            </a:extLst>
          </p:cNvPr>
          <p:cNvGrpSpPr>
            <a:grpSpLocks noChangeAspect="1"/>
          </p:cNvGrpSpPr>
          <p:nvPr/>
        </p:nvGrpSpPr>
        <p:grpSpPr bwMode="auto">
          <a:xfrm>
            <a:off x="6816491" y="1667715"/>
            <a:ext cx="347958" cy="235335"/>
            <a:chOff x="1222" y="1092"/>
            <a:chExt cx="576" cy="455"/>
          </a:xfrm>
          <a:solidFill>
            <a:srgbClr val="0067C5">
              <a:lumMod val="75000"/>
            </a:srgbClr>
          </a:solidFill>
        </p:grpSpPr>
        <p:sp>
          <p:nvSpPr>
            <p:cNvPr id="53" name="Freeform 15">
              <a:extLst>
                <a:ext uri="{FF2B5EF4-FFF2-40B4-BE49-F238E27FC236}">
                  <a16:creationId xmlns:a16="http://schemas.microsoft.com/office/drawing/2014/main" id="{78866903-077C-47D4-812D-E426E35A0C7A}"/>
                </a:ext>
              </a:extLst>
            </p:cNvPr>
            <p:cNvSpPr>
              <a:spLocks noEditPoints="1"/>
            </p:cNvSpPr>
            <p:nvPr/>
          </p:nvSpPr>
          <p:spPr bwMode="auto">
            <a:xfrm>
              <a:off x="1400" y="1168"/>
              <a:ext cx="220" cy="221"/>
            </a:xfrm>
            <a:custGeom>
              <a:avLst/>
              <a:gdLst>
                <a:gd name="T0" fmla="*/ 551 w 1318"/>
                <a:gd name="T1" fmla="*/ 454 h 1324"/>
                <a:gd name="T2" fmla="*/ 450 w 1318"/>
                <a:gd name="T3" fmla="*/ 555 h 1324"/>
                <a:gd name="T4" fmla="*/ 427 w 1318"/>
                <a:gd name="T5" fmla="*/ 702 h 1324"/>
                <a:gd name="T6" fmla="*/ 492 w 1318"/>
                <a:gd name="T7" fmla="*/ 831 h 1324"/>
                <a:gd name="T8" fmla="*/ 621 w 1318"/>
                <a:gd name="T9" fmla="*/ 897 h 1324"/>
                <a:gd name="T10" fmla="*/ 768 w 1318"/>
                <a:gd name="T11" fmla="*/ 874 h 1324"/>
                <a:gd name="T12" fmla="*/ 870 w 1318"/>
                <a:gd name="T13" fmla="*/ 772 h 1324"/>
                <a:gd name="T14" fmla="*/ 893 w 1318"/>
                <a:gd name="T15" fmla="*/ 626 h 1324"/>
                <a:gd name="T16" fmla="*/ 827 w 1318"/>
                <a:gd name="T17" fmla="*/ 497 h 1324"/>
                <a:gd name="T18" fmla="*/ 698 w 1318"/>
                <a:gd name="T19" fmla="*/ 430 h 1324"/>
                <a:gd name="T20" fmla="*/ 769 w 1318"/>
                <a:gd name="T21" fmla="*/ 2 h 1324"/>
                <a:gd name="T22" fmla="*/ 804 w 1318"/>
                <a:gd name="T23" fmla="*/ 49 h 1324"/>
                <a:gd name="T24" fmla="*/ 819 w 1318"/>
                <a:gd name="T25" fmla="*/ 153 h 1324"/>
                <a:gd name="T26" fmla="*/ 927 w 1318"/>
                <a:gd name="T27" fmla="*/ 192 h 1324"/>
                <a:gd name="T28" fmla="*/ 1020 w 1318"/>
                <a:gd name="T29" fmla="*/ 115 h 1324"/>
                <a:gd name="T30" fmla="*/ 1194 w 1318"/>
                <a:gd name="T31" fmla="*/ 262 h 1324"/>
                <a:gd name="T32" fmla="*/ 1204 w 1318"/>
                <a:gd name="T33" fmla="*/ 317 h 1324"/>
                <a:gd name="T34" fmla="*/ 1129 w 1318"/>
                <a:gd name="T35" fmla="*/ 406 h 1324"/>
                <a:gd name="T36" fmla="*/ 1174 w 1318"/>
                <a:gd name="T37" fmla="*/ 513 h 1324"/>
                <a:gd name="T38" fmla="*/ 1288 w 1318"/>
                <a:gd name="T39" fmla="*/ 523 h 1324"/>
                <a:gd name="T40" fmla="*/ 1318 w 1318"/>
                <a:gd name="T41" fmla="*/ 569 h 1324"/>
                <a:gd name="T42" fmla="*/ 1301 w 1318"/>
                <a:gd name="T43" fmla="*/ 794 h 1324"/>
                <a:gd name="T44" fmla="*/ 1182 w 1318"/>
                <a:gd name="T45" fmla="*/ 805 h 1324"/>
                <a:gd name="T46" fmla="*/ 1146 w 1318"/>
                <a:gd name="T47" fmla="*/ 882 h 1324"/>
                <a:gd name="T48" fmla="*/ 1137 w 1318"/>
                <a:gd name="T49" fmla="*/ 940 h 1324"/>
                <a:gd name="T50" fmla="*/ 1208 w 1318"/>
                <a:gd name="T51" fmla="*/ 1038 h 1324"/>
                <a:gd name="T52" fmla="*/ 1049 w 1318"/>
                <a:gd name="T53" fmla="*/ 1207 h 1324"/>
                <a:gd name="T54" fmla="*/ 994 w 1318"/>
                <a:gd name="T55" fmla="*/ 1199 h 1324"/>
                <a:gd name="T56" fmla="*/ 908 w 1318"/>
                <a:gd name="T57" fmla="*/ 1136 h 1324"/>
                <a:gd name="T58" fmla="*/ 806 w 1318"/>
                <a:gd name="T59" fmla="*/ 1186 h 1324"/>
                <a:gd name="T60" fmla="*/ 793 w 1318"/>
                <a:gd name="T61" fmla="*/ 1305 h 1324"/>
                <a:gd name="T62" fmla="*/ 565 w 1318"/>
                <a:gd name="T63" fmla="*/ 1324 h 1324"/>
                <a:gd name="T64" fmla="*/ 518 w 1318"/>
                <a:gd name="T65" fmla="*/ 1293 h 1324"/>
                <a:gd name="T66" fmla="*/ 508 w 1318"/>
                <a:gd name="T67" fmla="*/ 1179 h 1324"/>
                <a:gd name="T68" fmla="*/ 411 w 1318"/>
                <a:gd name="T69" fmla="*/ 1136 h 1324"/>
                <a:gd name="T70" fmla="*/ 325 w 1318"/>
                <a:gd name="T71" fmla="*/ 1199 h 1324"/>
                <a:gd name="T72" fmla="*/ 270 w 1318"/>
                <a:gd name="T73" fmla="*/ 1207 h 1324"/>
                <a:gd name="T74" fmla="*/ 111 w 1318"/>
                <a:gd name="T75" fmla="*/ 1038 h 1324"/>
                <a:gd name="T76" fmla="*/ 182 w 1318"/>
                <a:gd name="T77" fmla="*/ 939 h 1324"/>
                <a:gd name="T78" fmla="*/ 166 w 1318"/>
                <a:gd name="T79" fmla="*/ 867 h 1324"/>
                <a:gd name="T80" fmla="*/ 127 w 1318"/>
                <a:gd name="T81" fmla="*/ 802 h 1324"/>
                <a:gd name="T82" fmla="*/ 9 w 1318"/>
                <a:gd name="T83" fmla="*/ 785 h 1324"/>
                <a:gd name="T84" fmla="*/ 2 w 1318"/>
                <a:gd name="T85" fmla="*/ 553 h 1324"/>
                <a:gd name="T86" fmla="*/ 44 w 1318"/>
                <a:gd name="T87" fmla="*/ 521 h 1324"/>
                <a:gd name="T88" fmla="*/ 149 w 1318"/>
                <a:gd name="T89" fmla="*/ 504 h 1324"/>
                <a:gd name="T90" fmla="*/ 188 w 1318"/>
                <a:gd name="T91" fmla="*/ 395 h 1324"/>
                <a:gd name="T92" fmla="*/ 111 w 1318"/>
                <a:gd name="T93" fmla="*/ 303 h 1324"/>
                <a:gd name="T94" fmla="*/ 258 w 1318"/>
                <a:gd name="T95" fmla="*/ 128 h 1324"/>
                <a:gd name="T96" fmla="*/ 312 w 1318"/>
                <a:gd name="T97" fmla="*/ 120 h 1324"/>
                <a:gd name="T98" fmla="*/ 401 w 1318"/>
                <a:gd name="T99" fmla="*/ 193 h 1324"/>
                <a:gd name="T100" fmla="*/ 508 w 1318"/>
                <a:gd name="T101" fmla="*/ 149 h 1324"/>
                <a:gd name="T102" fmla="*/ 518 w 1318"/>
                <a:gd name="T103" fmla="*/ 34 h 1324"/>
                <a:gd name="T104" fmla="*/ 565 w 1318"/>
                <a:gd name="T105" fmla="*/ 0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8" h="1324">
                  <a:moveTo>
                    <a:pt x="660" y="427"/>
                  </a:moveTo>
                  <a:lnTo>
                    <a:pt x="621" y="430"/>
                  </a:lnTo>
                  <a:lnTo>
                    <a:pt x="585" y="439"/>
                  </a:lnTo>
                  <a:lnTo>
                    <a:pt x="551" y="454"/>
                  </a:lnTo>
                  <a:lnTo>
                    <a:pt x="520" y="473"/>
                  </a:lnTo>
                  <a:lnTo>
                    <a:pt x="492" y="497"/>
                  </a:lnTo>
                  <a:lnTo>
                    <a:pt x="468" y="524"/>
                  </a:lnTo>
                  <a:lnTo>
                    <a:pt x="450" y="555"/>
                  </a:lnTo>
                  <a:lnTo>
                    <a:pt x="435" y="589"/>
                  </a:lnTo>
                  <a:lnTo>
                    <a:pt x="427" y="626"/>
                  </a:lnTo>
                  <a:lnTo>
                    <a:pt x="423" y="663"/>
                  </a:lnTo>
                  <a:lnTo>
                    <a:pt x="427" y="702"/>
                  </a:lnTo>
                  <a:lnTo>
                    <a:pt x="435" y="739"/>
                  </a:lnTo>
                  <a:lnTo>
                    <a:pt x="450" y="772"/>
                  </a:lnTo>
                  <a:lnTo>
                    <a:pt x="468" y="804"/>
                  </a:lnTo>
                  <a:lnTo>
                    <a:pt x="492" y="831"/>
                  </a:lnTo>
                  <a:lnTo>
                    <a:pt x="520" y="854"/>
                  </a:lnTo>
                  <a:lnTo>
                    <a:pt x="551" y="874"/>
                  </a:lnTo>
                  <a:lnTo>
                    <a:pt x="585" y="888"/>
                  </a:lnTo>
                  <a:lnTo>
                    <a:pt x="621" y="897"/>
                  </a:lnTo>
                  <a:lnTo>
                    <a:pt x="660" y="900"/>
                  </a:lnTo>
                  <a:lnTo>
                    <a:pt x="698" y="897"/>
                  </a:lnTo>
                  <a:lnTo>
                    <a:pt x="734" y="888"/>
                  </a:lnTo>
                  <a:lnTo>
                    <a:pt x="768" y="874"/>
                  </a:lnTo>
                  <a:lnTo>
                    <a:pt x="799" y="854"/>
                  </a:lnTo>
                  <a:lnTo>
                    <a:pt x="827" y="831"/>
                  </a:lnTo>
                  <a:lnTo>
                    <a:pt x="851" y="804"/>
                  </a:lnTo>
                  <a:lnTo>
                    <a:pt x="870" y="772"/>
                  </a:lnTo>
                  <a:lnTo>
                    <a:pt x="884" y="739"/>
                  </a:lnTo>
                  <a:lnTo>
                    <a:pt x="893" y="702"/>
                  </a:lnTo>
                  <a:lnTo>
                    <a:pt x="896" y="663"/>
                  </a:lnTo>
                  <a:lnTo>
                    <a:pt x="893" y="626"/>
                  </a:lnTo>
                  <a:lnTo>
                    <a:pt x="884" y="589"/>
                  </a:lnTo>
                  <a:lnTo>
                    <a:pt x="870" y="555"/>
                  </a:lnTo>
                  <a:lnTo>
                    <a:pt x="851" y="524"/>
                  </a:lnTo>
                  <a:lnTo>
                    <a:pt x="827" y="497"/>
                  </a:lnTo>
                  <a:lnTo>
                    <a:pt x="799" y="473"/>
                  </a:lnTo>
                  <a:lnTo>
                    <a:pt x="768" y="454"/>
                  </a:lnTo>
                  <a:lnTo>
                    <a:pt x="734" y="439"/>
                  </a:lnTo>
                  <a:lnTo>
                    <a:pt x="698" y="430"/>
                  </a:lnTo>
                  <a:lnTo>
                    <a:pt x="660" y="427"/>
                  </a:lnTo>
                  <a:close/>
                  <a:moveTo>
                    <a:pt x="565" y="0"/>
                  </a:moveTo>
                  <a:lnTo>
                    <a:pt x="754" y="0"/>
                  </a:lnTo>
                  <a:lnTo>
                    <a:pt x="769" y="2"/>
                  </a:lnTo>
                  <a:lnTo>
                    <a:pt x="783" y="9"/>
                  </a:lnTo>
                  <a:lnTo>
                    <a:pt x="793" y="20"/>
                  </a:lnTo>
                  <a:lnTo>
                    <a:pt x="800" y="34"/>
                  </a:lnTo>
                  <a:lnTo>
                    <a:pt x="804" y="49"/>
                  </a:lnTo>
                  <a:lnTo>
                    <a:pt x="804" y="131"/>
                  </a:lnTo>
                  <a:lnTo>
                    <a:pt x="806" y="141"/>
                  </a:lnTo>
                  <a:lnTo>
                    <a:pt x="811" y="149"/>
                  </a:lnTo>
                  <a:lnTo>
                    <a:pt x="819" y="153"/>
                  </a:lnTo>
                  <a:lnTo>
                    <a:pt x="864" y="170"/>
                  </a:lnTo>
                  <a:lnTo>
                    <a:pt x="907" y="191"/>
                  </a:lnTo>
                  <a:lnTo>
                    <a:pt x="918" y="193"/>
                  </a:lnTo>
                  <a:lnTo>
                    <a:pt x="927" y="192"/>
                  </a:lnTo>
                  <a:lnTo>
                    <a:pt x="935" y="187"/>
                  </a:lnTo>
                  <a:lnTo>
                    <a:pt x="994" y="128"/>
                  </a:lnTo>
                  <a:lnTo>
                    <a:pt x="1006" y="120"/>
                  </a:lnTo>
                  <a:lnTo>
                    <a:pt x="1020" y="115"/>
                  </a:lnTo>
                  <a:lnTo>
                    <a:pt x="1034" y="115"/>
                  </a:lnTo>
                  <a:lnTo>
                    <a:pt x="1049" y="120"/>
                  </a:lnTo>
                  <a:lnTo>
                    <a:pt x="1060" y="128"/>
                  </a:lnTo>
                  <a:lnTo>
                    <a:pt x="1194" y="262"/>
                  </a:lnTo>
                  <a:lnTo>
                    <a:pt x="1204" y="275"/>
                  </a:lnTo>
                  <a:lnTo>
                    <a:pt x="1208" y="289"/>
                  </a:lnTo>
                  <a:lnTo>
                    <a:pt x="1208" y="303"/>
                  </a:lnTo>
                  <a:lnTo>
                    <a:pt x="1204" y="317"/>
                  </a:lnTo>
                  <a:lnTo>
                    <a:pt x="1194" y="329"/>
                  </a:lnTo>
                  <a:lnTo>
                    <a:pt x="1136" y="387"/>
                  </a:lnTo>
                  <a:lnTo>
                    <a:pt x="1130" y="395"/>
                  </a:lnTo>
                  <a:lnTo>
                    <a:pt x="1129" y="406"/>
                  </a:lnTo>
                  <a:lnTo>
                    <a:pt x="1132" y="415"/>
                  </a:lnTo>
                  <a:lnTo>
                    <a:pt x="1152" y="459"/>
                  </a:lnTo>
                  <a:lnTo>
                    <a:pt x="1169" y="504"/>
                  </a:lnTo>
                  <a:lnTo>
                    <a:pt x="1174" y="513"/>
                  </a:lnTo>
                  <a:lnTo>
                    <a:pt x="1182" y="519"/>
                  </a:lnTo>
                  <a:lnTo>
                    <a:pt x="1192" y="521"/>
                  </a:lnTo>
                  <a:lnTo>
                    <a:pt x="1274" y="521"/>
                  </a:lnTo>
                  <a:lnTo>
                    <a:pt x="1288" y="523"/>
                  </a:lnTo>
                  <a:lnTo>
                    <a:pt x="1301" y="530"/>
                  </a:lnTo>
                  <a:lnTo>
                    <a:pt x="1310" y="541"/>
                  </a:lnTo>
                  <a:lnTo>
                    <a:pt x="1316" y="553"/>
                  </a:lnTo>
                  <a:lnTo>
                    <a:pt x="1318" y="569"/>
                  </a:lnTo>
                  <a:lnTo>
                    <a:pt x="1318" y="758"/>
                  </a:lnTo>
                  <a:lnTo>
                    <a:pt x="1316" y="772"/>
                  </a:lnTo>
                  <a:lnTo>
                    <a:pt x="1310" y="785"/>
                  </a:lnTo>
                  <a:lnTo>
                    <a:pt x="1301" y="794"/>
                  </a:lnTo>
                  <a:lnTo>
                    <a:pt x="1288" y="800"/>
                  </a:lnTo>
                  <a:lnTo>
                    <a:pt x="1274" y="802"/>
                  </a:lnTo>
                  <a:lnTo>
                    <a:pt x="1192" y="802"/>
                  </a:lnTo>
                  <a:lnTo>
                    <a:pt x="1182" y="805"/>
                  </a:lnTo>
                  <a:lnTo>
                    <a:pt x="1174" y="811"/>
                  </a:lnTo>
                  <a:lnTo>
                    <a:pt x="1169" y="821"/>
                  </a:lnTo>
                  <a:lnTo>
                    <a:pt x="1159" y="852"/>
                  </a:lnTo>
                  <a:lnTo>
                    <a:pt x="1146" y="882"/>
                  </a:lnTo>
                  <a:lnTo>
                    <a:pt x="1132" y="912"/>
                  </a:lnTo>
                  <a:lnTo>
                    <a:pt x="1129" y="921"/>
                  </a:lnTo>
                  <a:lnTo>
                    <a:pt x="1130" y="932"/>
                  </a:lnTo>
                  <a:lnTo>
                    <a:pt x="1137" y="940"/>
                  </a:lnTo>
                  <a:lnTo>
                    <a:pt x="1194" y="997"/>
                  </a:lnTo>
                  <a:lnTo>
                    <a:pt x="1204" y="1010"/>
                  </a:lnTo>
                  <a:lnTo>
                    <a:pt x="1208" y="1024"/>
                  </a:lnTo>
                  <a:lnTo>
                    <a:pt x="1208" y="1038"/>
                  </a:lnTo>
                  <a:lnTo>
                    <a:pt x="1204" y="1052"/>
                  </a:lnTo>
                  <a:lnTo>
                    <a:pt x="1194" y="1065"/>
                  </a:lnTo>
                  <a:lnTo>
                    <a:pt x="1061" y="1199"/>
                  </a:lnTo>
                  <a:lnTo>
                    <a:pt x="1049" y="1207"/>
                  </a:lnTo>
                  <a:lnTo>
                    <a:pt x="1035" y="1212"/>
                  </a:lnTo>
                  <a:lnTo>
                    <a:pt x="1020" y="1212"/>
                  </a:lnTo>
                  <a:lnTo>
                    <a:pt x="1007" y="1207"/>
                  </a:lnTo>
                  <a:lnTo>
                    <a:pt x="994" y="1199"/>
                  </a:lnTo>
                  <a:lnTo>
                    <a:pt x="935" y="1140"/>
                  </a:lnTo>
                  <a:lnTo>
                    <a:pt x="927" y="1135"/>
                  </a:lnTo>
                  <a:lnTo>
                    <a:pt x="918" y="1134"/>
                  </a:lnTo>
                  <a:lnTo>
                    <a:pt x="908" y="1136"/>
                  </a:lnTo>
                  <a:lnTo>
                    <a:pt x="864" y="1157"/>
                  </a:lnTo>
                  <a:lnTo>
                    <a:pt x="819" y="1173"/>
                  </a:lnTo>
                  <a:lnTo>
                    <a:pt x="811" y="1179"/>
                  </a:lnTo>
                  <a:lnTo>
                    <a:pt x="806" y="1186"/>
                  </a:lnTo>
                  <a:lnTo>
                    <a:pt x="804" y="1195"/>
                  </a:lnTo>
                  <a:lnTo>
                    <a:pt x="804" y="1278"/>
                  </a:lnTo>
                  <a:lnTo>
                    <a:pt x="800" y="1293"/>
                  </a:lnTo>
                  <a:lnTo>
                    <a:pt x="793" y="1305"/>
                  </a:lnTo>
                  <a:lnTo>
                    <a:pt x="783" y="1316"/>
                  </a:lnTo>
                  <a:lnTo>
                    <a:pt x="769" y="1322"/>
                  </a:lnTo>
                  <a:lnTo>
                    <a:pt x="754" y="1324"/>
                  </a:lnTo>
                  <a:lnTo>
                    <a:pt x="565" y="1324"/>
                  </a:lnTo>
                  <a:lnTo>
                    <a:pt x="550" y="1322"/>
                  </a:lnTo>
                  <a:lnTo>
                    <a:pt x="536" y="1316"/>
                  </a:lnTo>
                  <a:lnTo>
                    <a:pt x="525" y="1305"/>
                  </a:lnTo>
                  <a:lnTo>
                    <a:pt x="518" y="1293"/>
                  </a:lnTo>
                  <a:lnTo>
                    <a:pt x="514" y="1278"/>
                  </a:lnTo>
                  <a:lnTo>
                    <a:pt x="514" y="1195"/>
                  </a:lnTo>
                  <a:lnTo>
                    <a:pt x="513" y="1186"/>
                  </a:lnTo>
                  <a:lnTo>
                    <a:pt x="508" y="1179"/>
                  </a:lnTo>
                  <a:lnTo>
                    <a:pt x="499" y="1173"/>
                  </a:lnTo>
                  <a:lnTo>
                    <a:pt x="468" y="1163"/>
                  </a:lnTo>
                  <a:lnTo>
                    <a:pt x="439" y="1150"/>
                  </a:lnTo>
                  <a:lnTo>
                    <a:pt x="411" y="1136"/>
                  </a:lnTo>
                  <a:lnTo>
                    <a:pt x="401" y="1134"/>
                  </a:lnTo>
                  <a:lnTo>
                    <a:pt x="392" y="1135"/>
                  </a:lnTo>
                  <a:lnTo>
                    <a:pt x="383" y="1140"/>
                  </a:lnTo>
                  <a:lnTo>
                    <a:pt x="325" y="1199"/>
                  </a:lnTo>
                  <a:lnTo>
                    <a:pt x="312" y="1207"/>
                  </a:lnTo>
                  <a:lnTo>
                    <a:pt x="299" y="1211"/>
                  </a:lnTo>
                  <a:lnTo>
                    <a:pt x="284" y="1211"/>
                  </a:lnTo>
                  <a:lnTo>
                    <a:pt x="270" y="1207"/>
                  </a:lnTo>
                  <a:lnTo>
                    <a:pt x="258" y="1199"/>
                  </a:lnTo>
                  <a:lnTo>
                    <a:pt x="125" y="1065"/>
                  </a:lnTo>
                  <a:lnTo>
                    <a:pt x="115" y="1052"/>
                  </a:lnTo>
                  <a:lnTo>
                    <a:pt x="111" y="1038"/>
                  </a:lnTo>
                  <a:lnTo>
                    <a:pt x="111" y="1024"/>
                  </a:lnTo>
                  <a:lnTo>
                    <a:pt x="115" y="1010"/>
                  </a:lnTo>
                  <a:lnTo>
                    <a:pt x="125" y="997"/>
                  </a:lnTo>
                  <a:lnTo>
                    <a:pt x="182" y="939"/>
                  </a:lnTo>
                  <a:lnTo>
                    <a:pt x="188" y="930"/>
                  </a:lnTo>
                  <a:lnTo>
                    <a:pt x="190" y="921"/>
                  </a:lnTo>
                  <a:lnTo>
                    <a:pt x="187" y="911"/>
                  </a:lnTo>
                  <a:lnTo>
                    <a:pt x="166" y="867"/>
                  </a:lnTo>
                  <a:lnTo>
                    <a:pt x="149" y="821"/>
                  </a:lnTo>
                  <a:lnTo>
                    <a:pt x="145" y="811"/>
                  </a:lnTo>
                  <a:lnTo>
                    <a:pt x="136" y="805"/>
                  </a:lnTo>
                  <a:lnTo>
                    <a:pt x="127" y="802"/>
                  </a:lnTo>
                  <a:lnTo>
                    <a:pt x="44" y="802"/>
                  </a:lnTo>
                  <a:lnTo>
                    <a:pt x="30" y="800"/>
                  </a:lnTo>
                  <a:lnTo>
                    <a:pt x="18" y="794"/>
                  </a:lnTo>
                  <a:lnTo>
                    <a:pt x="9" y="785"/>
                  </a:lnTo>
                  <a:lnTo>
                    <a:pt x="2" y="772"/>
                  </a:lnTo>
                  <a:lnTo>
                    <a:pt x="0" y="758"/>
                  </a:lnTo>
                  <a:lnTo>
                    <a:pt x="0" y="569"/>
                  </a:lnTo>
                  <a:lnTo>
                    <a:pt x="2" y="553"/>
                  </a:lnTo>
                  <a:lnTo>
                    <a:pt x="9" y="541"/>
                  </a:lnTo>
                  <a:lnTo>
                    <a:pt x="18" y="530"/>
                  </a:lnTo>
                  <a:lnTo>
                    <a:pt x="30" y="523"/>
                  </a:lnTo>
                  <a:lnTo>
                    <a:pt x="44" y="521"/>
                  </a:lnTo>
                  <a:lnTo>
                    <a:pt x="127" y="521"/>
                  </a:lnTo>
                  <a:lnTo>
                    <a:pt x="136" y="519"/>
                  </a:lnTo>
                  <a:lnTo>
                    <a:pt x="145" y="513"/>
                  </a:lnTo>
                  <a:lnTo>
                    <a:pt x="149" y="504"/>
                  </a:lnTo>
                  <a:lnTo>
                    <a:pt x="166" y="458"/>
                  </a:lnTo>
                  <a:lnTo>
                    <a:pt x="187" y="415"/>
                  </a:lnTo>
                  <a:lnTo>
                    <a:pt x="190" y="406"/>
                  </a:lnTo>
                  <a:lnTo>
                    <a:pt x="188" y="395"/>
                  </a:lnTo>
                  <a:lnTo>
                    <a:pt x="182" y="387"/>
                  </a:lnTo>
                  <a:lnTo>
                    <a:pt x="125" y="329"/>
                  </a:lnTo>
                  <a:lnTo>
                    <a:pt x="115" y="317"/>
                  </a:lnTo>
                  <a:lnTo>
                    <a:pt x="111" y="303"/>
                  </a:lnTo>
                  <a:lnTo>
                    <a:pt x="111" y="289"/>
                  </a:lnTo>
                  <a:lnTo>
                    <a:pt x="115" y="275"/>
                  </a:lnTo>
                  <a:lnTo>
                    <a:pt x="125" y="262"/>
                  </a:lnTo>
                  <a:lnTo>
                    <a:pt x="258" y="128"/>
                  </a:lnTo>
                  <a:lnTo>
                    <a:pt x="270" y="120"/>
                  </a:lnTo>
                  <a:lnTo>
                    <a:pt x="284" y="116"/>
                  </a:lnTo>
                  <a:lnTo>
                    <a:pt x="299" y="116"/>
                  </a:lnTo>
                  <a:lnTo>
                    <a:pt x="312" y="120"/>
                  </a:lnTo>
                  <a:lnTo>
                    <a:pt x="325" y="128"/>
                  </a:lnTo>
                  <a:lnTo>
                    <a:pt x="383" y="187"/>
                  </a:lnTo>
                  <a:lnTo>
                    <a:pt x="391" y="192"/>
                  </a:lnTo>
                  <a:lnTo>
                    <a:pt x="401" y="193"/>
                  </a:lnTo>
                  <a:lnTo>
                    <a:pt x="411" y="191"/>
                  </a:lnTo>
                  <a:lnTo>
                    <a:pt x="454" y="170"/>
                  </a:lnTo>
                  <a:lnTo>
                    <a:pt x="499" y="153"/>
                  </a:lnTo>
                  <a:lnTo>
                    <a:pt x="508" y="149"/>
                  </a:lnTo>
                  <a:lnTo>
                    <a:pt x="513" y="141"/>
                  </a:lnTo>
                  <a:lnTo>
                    <a:pt x="514" y="131"/>
                  </a:lnTo>
                  <a:lnTo>
                    <a:pt x="514" y="49"/>
                  </a:lnTo>
                  <a:lnTo>
                    <a:pt x="518" y="34"/>
                  </a:lnTo>
                  <a:lnTo>
                    <a:pt x="525" y="20"/>
                  </a:lnTo>
                  <a:lnTo>
                    <a:pt x="536" y="9"/>
                  </a:lnTo>
                  <a:lnTo>
                    <a:pt x="550" y="2"/>
                  </a:lnTo>
                  <a:lnTo>
                    <a:pt x="565"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54" name="Freeform 16">
              <a:extLst>
                <a:ext uri="{FF2B5EF4-FFF2-40B4-BE49-F238E27FC236}">
                  <a16:creationId xmlns:a16="http://schemas.microsoft.com/office/drawing/2014/main" id="{6D107D61-9CB9-43D8-B685-D2B9204F1EFF}"/>
                </a:ext>
              </a:extLst>
            </p:cNvPr>
            <p:cNvSpPr>
              <a:spLocks noEditPoints="1"/>
            </p:cNvSpPr>
            <p:nvPr/>
          </p:nvSpPr>
          <p:spPr bwMode="auto">
            <a:xfrm>
              <a:off x="1222" y="1092"/>
              <a:ext cx="576" cy="455"/>
            </a:xfrm>
            <a:custGeom>
              <a:avLst/>
              <a:gdLst>
                <a:gd name="T0" fmla="*/ 381 w 3456"/>
                <a:gd name="T1" fmla="*/ 342 h 2731"/>
                <a:gd name="T2" fmla="*/ 351 w 3456"/>
                <a:gd name="T3" fmla="*/ 364 h 2731"/>
                <a:gd name="T4" fmla="*/ 339 w 3456"/>
                <a:gd name="T5" fmla="*/ 401 h 2731"/>
                <a:gd name="T6" fmla="*/ 342 w 3456"/>
                <a:gd name="T7" fmla="*/ 1840 h 2731"/>
                <a:gd name="T8" fmla="*/ 364 w 3456"/>
                <a:gd name="T9" fmla="*/ 1870 h 2731"/>
                <a:gd name="T10" fmla="*/ 401 w 3456"/>
                <a:gd name="T11" fmla="*/ 1883 h 2731"/>
                <a:gd name="T12" fmla="*/ 3075 w 3456"/>
                <a:gd name="T13" fmla="*/ 1880 h 2731"/>
                <a:gd name="T14" fmla="*/ 3105 w 3456"/>
                <a:gd name="T15" fmla="*/ 1857 h 2731"/>
                <a:gd name="T16" fmla="*/ 3117 w 3456"/>
                <a:gd name="T17" fmla="*/ 1821 h 2731"/>
                <a:gd name="T18" fmla="*/ 3114 w 3456"/>
                <a:gd name="T19" fmla="*/ 382 h 2731"/>
                <a:gd name="T20" fmla="*/ 3092 w 3456"/>
                <a:gd name="T21" fmla="*/ 352 h 2731"/>
                <a:gd name="T22" fmla="*/ 3055 w 3456"/>
                <a:gd name="T23" fmla="*/ 339 h 2731"/>
                <a:gd name="T24" fmla="*/ 124 w 3456"/>
                <a:gd name="T25" fmla="*/ 0 h 2731"/>
                <a:gd name="T26" fmla="*/ 3361 w 3456"/>
                <a:gd name="T27" fmla="*/ 3 h 2731"/>
                <a:gd name="T28" fmla="*/ 3410 w 3456"/>
                <a:gd name="T29" fmla="*/ 27 h 2731"/>
                <a:gd name="T30" fmla="*/ 3443 w 3456"/>
                <a:gd name="T31" fmla="*/ 69 h 2731"/>
                <a:gd name="T32" fmla="*/ 3456 w 3456"/>
                <a:gd name="T33" fmla="*/ 124 h 2731"/>
                <a:gd name="T34" fmla="*/ 3453 w 3456"/>
                <a:gd name="T35" fmla="*/ 2127 h 2731"/>
                <a:gd name="T36" fmla="*/ 3429 w 3456"/>
                <a:gd name="T37" fmla="*/ 2175 h 2731"/>
                <a:gd name="T38" fmla="*/ 3387 w 3456"/>
                <a:gd name="T39" fmla="*/ 2210 h 2731"/>
                <a:gd name="T40" fmla="*/ 3332 w 3456"/>
                <a:gd name="T41" fmla="*/ 2222 h 2731"/>
                <a:gd name="T42" fmla="*/ 2145 w 3456"/>
                <a:gd name="T43" fmla="*/ 2225 h 2731"/>
                <a:gd name="T44" fmla="*/ 2108 w 3456"/>
                <a:gd name="T45" fmla="*/ 2246 h 2731"/>
                <a:gd name="T46" fmla="*/ 2086 w 3456"/>
                <a:gd name="T47" fmla="*/ 2284 h 2731"/>
                <a:gd name="T48" fmla="*/ 2086 w 3456"/>
                <a:gd name="T49" fmla="*/ 2329 h 2731"/>
                <a:gd name="T50" fmla="*/ 2108 w 3456"/>
                <a:gd name="T51" fmla="*/ 2367 h 2731"/>
                <a:gd name="T52" fmla="*/ 2145 w 3456"/>
                <a:gd name="T53" fmla="*/ 2389 h 2731"/>
                <a:gd name="T54" fmla="*/ 2438 w 3456"/>
                <a:gd name="T55" fmla="*/ 2392 h 2731"/>
                <a:gd name="T56" fmla="*/ 2493 w 3456"/>
                <a:gd name="T57" fmla="*/ 2404 h 2731"/>
                <a:gd name="T58" fmla="*/ 2534 w 3456"/>
                <a:gd name="T59" fmla="*/ 2438 h 2731"/>
                <a:gd name="T60" fmla="*/ 2557 w 3456"/>
                <a:gd name="T61" fmla="*/ 2487 h 2731"/>
                <a:gd name="T62" fmla="*/ 2562 w 3456"/>
                <a:gd name="T63" fmla="*/ 2607 h 2731"/>
                <a:gd name="T64" fmla="*/ 2549 w 3456"/>
                <a:gd name="T65" fmla="*/ 2662 h 2731"/>
                <a:gd name="T66" fmla="*/ 2515 w 3456"/>
                <a:gd name="T67" fmla="*/ 2704 h 2731"/>
                <a:gd name="T68" fmla="*/ 2466 w 3456"/>
                <a:gd name="T69" fmla="*/ 2728 h 2731"/>
                <a:gd name="T70" fmla="*/ 1018 w 3456"/>
                <a:gd name="T71" fmla="*/ 2731 h 2731"/>
                <a:gd name="T72" fmla="*/ 963 w 3456"/>
                <a:gd name="T73" fmla="*/ 2718 h 2731"/>
                <a:gd name="T74" fmla="*/ 922 w 3456"/>
                <a:gd name="T75" fmla="*/ 2685 h 2731"/>
                <a:gd name="T76" fmla="*/ 899 w 3456"/>
                <a:gd name="T77" fmla="*/ 2636 h 2731"/>
                <a:gd name="T78" fmla="*/ 894 w 3456"/>
                <a:gd name="T79" fmla="*/ 2515 h 2731"/>
                <a:gd name="T80" fmla="*/ 907 w 3456"/>
                <a:gd name="T81" fmla="*/ 2461 h 2731"/>
                <a:gd name="T82" fmla="*/ 941 w 3456"/>
                <a:gd name="T83" fmla="*/ 2419 h 2731"/>
                <a:gd name="T84" fmla="*/ 990 w 3456"/>
                <a:gd name="T85" fmla="*/ 2395 h 2731"/>
                <a:gd name="T86" fmla="*/ 1288 w 3456"/>
                <a:gd name="T87" fmla="*/ 2392 h 2731"/>
                <a:gd name="T88" fmla="*/ 1331 w 3456"/>
                <a:gd name="T89" fmla="*/ 2380 h 2731"/>
                <a:gd name="T90" fmla="*/ 1361 w 3456"/>
                <a:gd name="T91" fmla="*/ 2350 h 2731"/>
                <a:gd name="T92" fmla="*/ 1373 w 3456"/>
                <a:gd name="T93" fmla="*/ 2307 h 2731"/>
                <a:gd name="T94" fmla="*/ 1361 w 3456"/>
                <a:gd name="T95" fmla="*/ 2264 h 2731"/>
                <a:gd name="T96" fmla="*/ 1331 w 3456"/>
                <a:gd name="T97" fmla="*/ 2234 h 2731"/>
                <a:gd name="T98" fmla="*/ 1288 w 3456"/>
                <a:gd name="T99" fmla="*/ 2222 h 2731"/>
                <a:gd name="T100" fmla="*/ 95 w 3456"/>
                <a:gd name="T101" fmla="*/ 2219 h 2731"/>
                <a:gd name="T102" fmla="*/ 46 w 3456"/>
                <a:gd name="T103" fmla="*/ 2195 h 2731"/>
                <a:gd name="T104" fmla="*/ 13 w 3456"/>
                <a:gd name="T105" fmla="*/ 2153 h 2731"/>
                <a:gd name="T106" fmla="*/ 0 w 3456"/>
                <a:gd name="T107" fmla="*/ 2099 h 2731"/>
                <a:gd name="T108" fmla="*/ 3 w 3456"/>
                <a:gd name="T109" fmla="*/ 95 h 2731"/>
                <a:gd name="T110" fmla="*/ 27 w 3456"/>
                <a:gd name="T111" fmla="*/ 46 h 2731"/>
                <a:gd name="T112" fmla="*/ 69 w 3456"/>
                <a:gd name="T113" fmla="*/ 13 h 2731"/>
                <a:gd name="T114" fmla="*/ 124 w 3456"/>
                <a:gd name="T115" fmla="*/ 0 h 2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2731">
                  <a:moveTo>
                    <a:pt x="401" y="339"/>
                  </a:moveTo>
                  <a:lnTo>
                    <a:pt x="381" y="342"/>
                  </a:lnTo>
                  <a:lnTo>
                    <a:pt x="364" y="352"/>
                  </a:lnTo>
                  <a:lnTo>
                    <a:pt x="351" y="364"/>
                  </a:lnTo>
                  <a:lnTo>
                    <a:pt x="342" y="382"/>
                  </a:lnTo>
                  <a:lnTo>
                    <a:pt x="339" y="401"/>
                  </a:lnTo>
                  <a:lnTo>
                    <a:pt x="339" y="1821"/>
                  </a:lnTo>
                  <a:lnTo>
                    <a:pt x="342" y="1840"/>
                  </a:lnTo>
                  <a:lnTo>
                    <a:pt x="351" y="1857"/>
                  </a:lnTo>
                  <a:lnTo>
                    <a:pt x="364" y="1870"/>
                  </a:lnTo>
                  <a:lnTo>
                    <a:pt x="381" y="1880"/>
                  </a:lnTo>
                  <a:lnTo>
                    <a:pt x="401" y="1883"/>
                  </a:lnTo>
                  <a:lnTo>
                    <a:pt x="3055" y="1883"/>
                  </a:lnTo>
                  <a:lnTo>
                    <a:pt x="3075" y="1880"/>
                  </a:lnTo>
                  <a:lnTo>
                    <a:pt x="3092" y="1870"/>
                  </a:lnTo>
                  <a:lnTo>
                    <a:pt x="3105" y="1857"/>
                  </a:lnTo>
                  <a:lnTo>
                    <a:pt x="3114" y="1840"/>
                  </a:lnTo>
                  <a:lnTo>
                    <a:pt x="3117" y="1821"/>
                  </a:lnTo>
                  <a:lnTo>
                    <a:pt x="3117" y="401"/>
                  </a:lnTo>
                  <a:lnTo>
                    <a:pt x="3114" y="382"/>
                  </a:lnTo>
                  <a:lnTo>
                    <a:pt x="3105" y="364"/>
                  </a:lnTo>
                  <a:lnTo>
                    <a:pt x="3092" y="352"/>
                  </a:lnTo>
                  <a:lnTo>
                    <a:pt x="3075" y="342"/>
                  </a:lnTo>
                  <a:lnTo>
                    <a:pt x="3055" y="339"/>
                  </a:lnTo>
                  <a:lnTo>
                    <a:pt x="401" y="339"/>
                  </a:lnTo>
                  <a:close/>
                  <a:moveTo>
                    <a:pt x="124" y="0"/>
                  </a:moveTo>
                  <a:lnTo>
                    <a:pt x="3332" y="0"/>
                  </a:lnTo>
                  <a:lnTo>
                    <a:pt x="3361" y="3"/>
                  </a:lnTo>
                  <a:lnTo>
                    <a:pt x="3387" y="13"/>
                  </a:lnTo>
                  <a:lnTo>
                    <a:pt x="3410" y="27"/>
                  </a:lnTo>
                  <a:lnTo>
                    <a:pt x="3429" y="46"/>
                  </a:lnTo>
                  <a:lnTo>
                    <a:pt x="3443" y="69"/>
                  </a:lnTo>
                  <a:lnTo>
                    <a:pt x="3453" y="95"/>
                  </a:lnTo>
                  <a:lnTo>
                    <a:pt x="3456" y="124"/>
                  </a:lnTo>
                  <a:lnTo>
                    <a:pt x="3456" y="2099"/>
                  </a:lnTo>
                  <a:lnTo>
                    <a:pt x="3453" y="2127"/>
                  </a:lnTo>
                  <a:lnTo>
                    <a:pt x="3443" y="2153"/>
                  </a:lnTo>
                  <a:lnTo>
                    <a:pt x="3429" y="2175"/>
                  </a:lnTo>
                  <a:lnTo>
                    <a:pt x="3410" y="2195"/>
                  </a:lnTo>
                  <a:lnTo>
                    <a:pt x="3387" y="2210"/>
                  </a:lnTo>
                  <a:lnTo>
                    <a:pt x="3361" y="2219"/>
                  </a:lnTo>
                  <a:lnTo>
                    <a:pt x="3332" y="2222"/>
                  </a:lnTo>
                  <a:lnTo>
                    <a:pt x="2168" y="2222"/>
                  </a:lnTo>
                  <a:lnTo>
                    <a:pt x="2145" y="2225"/>
                  </a:lnTo>
                  <a:lnTo>
                    <a:pt x="2125" y="2234"/>
                  </a:lnTo>
                  <a:lnTo>
                    <a:pt x="2108" y="2246"/>
                  </a:lnTo>
                  <a:lnTo>
                    <a:pt x="2095" y="2264"/>
                  </a:lnTo>
                  <a:lnTo>
                    <a:pt x="2086" y="2284"/>
                  </a:lnTo>
                  <a:lnTo>
                    <a:pt x="2083" y="2307"/>
                  </a:lnTo>
                  <a:lnTo>
                    <a:pt x="2086" y="2329"/>
                  </a:lnTo>
                  <a:lnTo>
                    <a:pt x="2095" y="2350"/>
                  </a:lnTo>
                  <a:lnTo>
                    <a:pt x="2108" y="2367"/>
                  </a:lnTo>
                  <a:lnTo>
                    <a:pt x="2125" y="2380"/>
                  </a:lnTo>
                  <a:lnTo>
                    <a:pt x="2145" y="2389"/>
                  </a:lnTo>
                  <a:lnTo>
                    <a:pt x="2168" y="2392"/>
                  </a:lnTo>
                  <a:lnTo>
                    <a:pt x="2438" y="2392"/>
                  </a:lnTo>
                  <a:lnTo>
                    <a:pt x="2466" y="2395"/>
                  </a:lnTo>
                  <a:lnTo>
                    <a:pt x="2493" y="2404"/>
                  </a:lnTo>
                  <a:lnTo>
                    <a:pt x="2515" y="2419"/>
                  </a:lnTo>
                  <a:lnTo>
                    <a:pt x="2534" y="2438"/>
                  </a:lnTo>
                  <a:lnTo>
                    <a:pt x="2549" y="2461"/>
                  </a:lnTo>
                  <a:lnTo>
                    <a:pt x="2557" y="2487"/>
                  </a:lnTo>
                  <a:lnTo>
                    <a:pt x="2562" y="2515"/>
                  </a:lnTo>
                  <a:lnTo>
                    <a:pt x="2562" y="2607"/>
                  </a:lnTo>
                  <a:lnTo>
                    <a:pt x="2557" y="2636"/>
                  </a:lnTo>
                  <a:lnTo>
                    <a:pt x="2549" y="2662"/>
                  </a:lnTo>
                  <a:lnTo>
                    <a:pt x="2534" y="2685"/>
                  </a:lnTo>
                  <a:lnTo>
                    <a:pt x="2515" y="2704"/>
                  </a:lnTo>
                  <a:lnTo>
                    <a:pt x="2493" y="2718"/>
                  </a:lnTo>
                  <a:lnTo>
                    <a:pt x="2466" y="2728"/>
                  </a:lnTo>
                  <a:lnTo>
                    <a:pt x="2438" y="2731"/>
                  </a:lnTo>
                  <a:lnTo>
                    <a:pt x="1018" y="2731"/>
                  </a:lnTo>
                  <a:lnTo>
                    <a:pt x="990" y="2728"/>
                  </a:lnTo>
                  <a:lnTo>
                    <a:pt x="963" y="2718"/>
                  </a:lnTo>
                  <a:lnTo>
                    <a:pt x="941" y="2704"/>
                  </a:lnTo>
                  <a:lnTo>
                    <a:pt x="922" y="2685"/>
                  </a:lnTo>
                  <a:lnTo>
                    <a:pt x="907" y="2662"/>
                  </a:lnTo>
                  <a:lnTo>
                    <a:pt x="899" y="2636"/>
                  </a:lnTo>
                  <a:lnTo>
                    <a:pt x="894" y="2607"/>
                  </a:lnTo>
                  <a:lnTo>
                    <a:pt x="894" y="2515"/>
                  </a:lnTo>
                  <a:lnTo>
                    <a:pt x="899" y="2487"/>
                  </a:lnTo>
                  <a:lnTo>
                    <a:pt x="907" y="2461"/>
                  </a:lnTo>
                  <a:lnTo>
                    <a:pt x="922" y="2438"/>
                  </a:lnTo>
                  <a:lnTo>
                    <a:pt x="941" y="2419"/>
                  </a:lnTo>
                  <a:lnTo>
                    <a:pt x="963" y="2404"/>
                  </a:lnTo>
                  <a:lnTo>
                    <a:pt x="990" y="2395"/>
                  </a:lnTo>
                  <a:lnTo>
                    <a:pt x="1018" y="2392"/>
                  </a:lnTo>
                  <a:lnTo>
                    <a:pt x="1288" y="2392"/>
                  </a:lnTo>
                  <a:lnTo>
                    <a:pt x="1311" y="2389"/>
                  </a:lnTo>
                  <a:lnTo>
                    <a:pt x="1331" y="2380"/>
                  </a:lnTo>
                  <a:lnTo>
                    <a:pt x="1348" y="2367"/>
                  </a:lnTo>
                  <a:lnTo>
                    <a:pt x="1361" y="2350"/>
                  </a:lnTo>
                  <a:lnTo>
                    <a:pt x="1370" y="2329"/>
                  </a:lnTo>
                  <a:lnTo>
                    <a:pt x="1373" y="2307"/>
                  </a:lnTo>
                  <a:lnTo>
                    <a:pt x="1370" y="2284"/>
                  </a:lnTo>
                  <a:lnTo>
                    <a:pt x="1361" y="2264"/>
                  </a:lnTo>
                  <a:lnTo>
                    <a:pt x="1348" y="2246"/>
                  </a:lnTo>
                  <a:lnTo>
                    <a:pt x="1331" y="2234"/>
                  </a:lnTo>
                  <a:lnTo>
                    <a:pt x="1311" y="2225"/>
                  </a:lnTo>
                  <a:lnTo>
                    <a:pt x="1288" y="2222"/>
                  </a:lnTo>
                  <a:lnTo>
                    <a:pt x="124" y="2222"/>
                  </a:lnTo>
                  <a:lnTo>
                    <a:pt x="95" y="2219"/>
                  </a:lnTo>
                  <a:lnTo>
                    <a:pt x="69" y="2210"/>
                  </a:lnTo>
                  <a:lnTo>
                    <a:pt x="46" y="2195"/>
                  </a:lnTo>
                  <a:lnTo>
                    <a:pt x="27" y="2175"/>
                  </a:lnTo>
                  <a:lnTo>
                    <a:pt x="13" y="2153"/>
                  </a:lnTo>
                  <a:lnTo>
                    <a:pt x="3" y="2127"/>
                  </a:lnTo>
                  <a:lnTo>
                    <a:pt x="0" y="2099"/>
                  </a:lnTo>
                  <a:lnTo>
                    <a:pt x="0" y="124"/>
                  </a:lnTo>
                  <a:lnTo>
                    <a:pt x="3" y="95"/>
                  </a:lnTo>
                  <a:lnTo>
                    <a:pt x="13" y="69"/>
                  </a:lnTo>
                  <a:lnTo>
                    <a:pt x="27" y="46"/>
                  </a:lnTo>
                  <a:lnTo>
                    <a:pt x="46" y="27"/>
                  </a:lnTo>
                  <a:lnTo>
                    <a:pt x="69" y="13"/>
                  </a:lnTo>
                  <a:lnTo>
                    <a:pt x="95" y="3"/>
                  </a:lnTo>
                  <a:lnTo>
                    <a:pt x="124"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grpSp>
        <p:nvGrpSpPr>
          <p:cNvPr id="45" name="Group 80">
            <a:extLst>
              <a:ext uri="{FF2B5EF4-FFF2-40B4-BE49-F238E27FC236}">
                <a16:creationId xmlns:a16="http://schemas.microsoft.com/office/drawing/2014/main" id="{4B95EC75-F2F9-47D8-9C71-74CA784ED3C4}"/>
              </a:ext>
            </a:extLst>
          </p:cNvPr>
          <p:cNvGrpSpPr>
            <a:grpSpLocks noChangeAspect="1"/>
          </p:cNvGrpSpPr>
          <p:nvPr/>
        </p:nvGrpSpPr>
        <p:grpSpPr bwMode="auto">
          <a:xfrm>
            <a:off x="7250448" y="1655890"/>
            <a:ext cx="203972" cy="258984"/>
            <a:chOff x="1928" y="-912"/>
            <a:chExt cx="1145" cy="1698"/>
          </a:xfrm>
          <a:solidFill>
            <a:srgbClr val="0067C5">
              <a:lumMod val="75000"/>
            </a:srgbClr>
          </a:solidFill>
        </p:grpSpPr>
        <p:sp>
          <p:nvSpPr>
            <p:cNvPr id="50" name="Freeform 82">
              <a:extLst>
                <a:ext uri="{FF2B5EF4-FFF2-40B4-BE49-F238E27FC236}">
                  <a16:creationId xmlns:a16="http://schemas.microsoft.com/office/drawing/2014/main" id="{CD76D26E-A8EC-4424-82BA-E0B8D8210466}"/>
                </a:ext>
              </a:extLst>
            </p:cNvPr>
            <p:cNvSpPr>
              <a:spLocks/>
            </p:cNvSpPr>
            <p:nvPr/>
          </p:nvSpPr>
          <p:spPr bwMode="auto">
            <a:xfrm>
              <a:off x="1928" y="-912"/>
              <a:ext cx="1145" cy="316"/>
            </a:xfrm>
            <a:custGeom>
              <a:avLst/>
              <a:gdLst>
                <a:gd name="T0" fmla="*/ 1238 w 2290"/>
                <a:gd name="T1" fmla="*/ 1 h 632"/>
                <a:gd name="T2" fmla="*/ 1420 w 2290"/>
                <a:gd name="T3" fmla="*/ 10 h 632"/>
                <a:gd name="T4" fmla="*/ 1590 w 2290"/>
                <a:gd name="T5" fmla="*/ 25 h 632"/>
                <a:gd name="T6" fmla="*/ 1747 w 2290"/>
                <a:gd name="T7" fmla="*/ 48 h 632"/>
                <a:gd name="T8" fmla="*/ 1890 w 2290"/>
                <a:gd name="T9" fmla="*/ 77 h 632"/>
                <a:gd name="T10" fmla="*/ 2014 w 2290"/>
                <a:gd name="T11" fmla="*/ 111 h 632"/>
                <a:gd name="T12" fmla="*/ 2118 w 2290"/>
                <a:gd name="T13" fmla="*/ 150 h 632"/>
                <a:gd name="T14" fmla="*/ 2199 w 2290"/>
                <a:gd name="T15" fmla="*/ 194 h 632"/>
                <a:gd name="T16" fmla="*/ 2255 w 2290"/>
                <a:gd name="T17" fmla="*/ 241 h 632"/>
                <a:gd name="T18" fmla="*/ 2285 w 2290"/>
                <a:gd name="T19" fmla="*/ 291 h 632"/>
                <a:gd name="T20" fmla="*/ 2285 w 2290"/>
                <a:gd name="T21" fmla="*/ 341 h 632"/>
                <a:gd name="T22" fmla="*/ 2259 w 2290"/>
                <a:gd name="T23" fmla="*/ 389 h 632"/>
                <a:gd name="T24" fmla="*/ 2207 w 2290"/>
                <a:gd name="T25" fmla="*/ 434 h 632"/>
                <a:gd name="T26" fmla="*/ 2134 w 2290"/>
                <a:gd name="T27" fmla="*/ 476 h 632"/>
                <a:gd name="T28" fmla="*/ 2038 w 2290"/>
                <a:gd name="T29" fmla="*/ 515 h 632"/>
                <a:gd name="T30" fmla="*/ 1925 w 2290"/>
                <a:gd name="T31" fmla="*/ 548 h 632"/>
                <a:gd name="T32" fmla="*/ 1778 w 2290"/>
                <a:gd name="T33" fmla="*/ 580 h 632"/>
                <a:gd name="T34" fmla="*/ 1614 w 2290"/>
                <a:gd name="T35" fmla="*/ 605 h 632"/>
                <a:gd name="T36" fmla="*/ 1435 w 2290"/>
                <a:gd name="T37" fmla="*/ 622 h 632"/>
                <a:gd name="T38" fmla="*/ 1244 w 2290"/>
                <a:gd name="T39" fmla="*/ 631 h 632"/>
                <a:gd name="T40" fmla="*/ 1045 w 2290"/>
                <a:gd name="T41" fmla="*/ 631 h 632"/>
                <a:gd name="T42" fmla="*/ 853 w 2290"/>
                <a:gd name="T43" fmla="*/ 622 h 632"/>
                <a:gd name="T44" fmla="*/ 675 w 2290"/>
                <a:gd name="T45" fmla="*/ 605 h 632"/>
                <a:gd name="T46" fmla="*/ 510 w 2290"/>
                <a:gd name="T47" fmla="*/ 580 h 632"/>
                <a:gd name="T48" fmla="*/ 364 w 2290"/>
                <a:gd name="T49" fmla="*/ 548 h 632"/>
                <a:gd name="T50" fmla="*/ 250 w 2290"/>
                <a:gd name="T51" fmla="*/ 515 h 632"/>
                <a:gd name="T52" fmla="*/ 155 w 2290"/>
                <a:gd name="T53" fmla="*/ 476 h 632"/>
                <a:gd name="T54" fmla="*/ 82 w 2290"/>
                <a:gd name="T55" fmla="*/ 434 h 632"/>
                <a:gd name="T56" fmla="*/ 30 w 2290"/>
                <a:gd name="T57" fmla="*/ 389 h 632"/>
                <a:gd name="T58" fmla="*/ 3 w 2290"/>
                <a:gd name="T59" fmla="*/ 341 h 632"/>
                <a:gd name="T60" fmla="*/ 3 w 2290"/>
                <a:gd name="T61" fmla="*/ 291 h 632"/>
                <a:gd name="T62" fmla="*/ 33 w 2290"/>
                <a:gd name="T63" fmla="*/ 241 h 632"/>
                <a:gd name="T64" fmla="*/ 90 w 2290"/>
                <a:gd name="T65" fmla="*/ 194 h 632"/>
                <a:gd name="T66" fmla="*/ 172 w 2290"/>
                <a:gd name="T67" fmla="*/ 150 h 632"/>
                <a:gd name="T68" fmla="*/ 275 w 2290"/>
                <a:gd name="T69" fmla="*/ 111 h 632"/>
                <a:gd name="T70" fmla="*/ 399 w 2290"/>
                <a:gd name="T71" fmla="*/ 77 h 632"/>
                <a:gd name="T72" fmla="*/ 541 w 2290"/>
                <a:gd name="T73" fmla="*/ 48 h 632"/>
                <a:gd name="T74" fmla="*/ 698 w 2290"/>
                <a:gd name="T75" fmla="*/ 25 h 632"/>
                <a:gd name="T76" fmla="*/ 869 w 2290"/>
                <a:gd name="T77" fmla="*/ 10 h 632"/>
                <a:gd name="T78" fmla="*/ 1051 w 2290"/>
                <a:gd name="T79" fmla="*/ 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90" h="632">
                  <a:moveTo>
                    <a:pt x="1145" y="0"/>
                  </a:moveTo>
                  <a:lnTo>
                    <a:pt x="1238" y="1"/>
                  </a:lnTo>
                  <a:lnTo>
                    <a:pt x="1330" y="5"/>
                  </a:lnTo>
                  <a:lnTo>
                    <a:pt x="1420" y="10"/>
                  </a:lnTo>
                  <a:lnTo>
                    <a:pt x="1506" y="17"/>
                  </a:lnTo>
                  <a:lnTo>
                    <a:pt x="1590" y="25"/>
                  </a:lnTo>
                  <a:lnTo>
                    <a:pt x="1671" y="37"/>
                  </a:lnTo>
                  <a:lnTo>
                    <a:pt x="1747" y="48"/>
                  </a:lnTo>
                  <a:lnTo>
                    <a:pt x="1820" y="61"/>
                  </a:lnTo>
                  <a:lnTo>
                    <a:pt x="1890" y="77"/>
                  </a:lnTo>
                  <a:lnTo>
                    <a:pt x="1954" y="93"/>
                  </a:lnTo>
                  <a:lnTo>
                    <a:pt x="2014" y="111"/>
                  </a:lnTo>
                  <a:lnTo>
                    <a:pt x="2068" y="131"/>
                  </a:lnTo>
                  <a:lnTo>
                    <a:pt x="2118" y="150"/>
                  </a:lnTo>
                  <a:lnTo>
                    <a:pt x="2161" y="172"/>
                  </a:lnTo>
                  <a:lnTo>
                    <a:pt x="2199" y="194"/>
                  </a:lnTo>
                  <a:lnTo>
                    <a:pt x="2231" y="217"/>
                  </a:lnTo>
                  <a:lnTo>
                    <a:pt x="2255" y="241"/>
                  </a:lnTo>
                  <a:lnTo>
                    <a:pt x="2274" y="266"/>
                  </a:lnTo>
                  <a:lnTo>
                    <a:pt x="2285" y="291"/>
                  </a:lnTo>
                  <a:lnTo>
                    <a:pt x="2290" y="316"/>
                  </a:lnTo>
                  <a:lnTo>
                    <a:pt x="2285" y="341"/>
                  </a:lnTo>
                  <a:lnTo>
                    <a:pt x="2275" y="366"/>
                  </a:lnTo>
                  <a:lnTo>
                    <a:pt x="2259" y="389"/>
                  </a:lnTo>
                  <a:lnTo>
                    <a:pt x="2236" y="412"/>
                  </a:lnTo>
                  <a:lnTo>
                    <a:pt x="2207" y="434"/>
                  </a:lnTo>
                  <a:lnTo>
                    <a:pt x="2173" y="456"/>
                  </a:lnTo>
                  <a:lnTo>
                    <a:pt x="2134" y="476"/>
                  </a:lnTo>
                  <a:lnTo>
                    <a:pt x="2088" y="496"/>
                  </a:lnTo>
                  <a:lnTo>
                    <a:pt x="2038" y="515"/>
                  </a:lnTo>
                  <a:lnTo>
                    <a:pt x="1984" y="531"/>
                  </a:lnTo>
                  <a:lnTo>
                    <a:pt x="1925" y="548"/>
                  </a:lnTo>
                  <a:lnTo>
                    <a:pt x="1854" y="564"/>
                  </a:lnTo>
                  <a:lnTo>
                    <a:pt x="1778" y="580"/>
                  </a:lnTo>
                  <a:lnTo>
                    <a:pt x="1699" y="593"/>
                  </a:lnTo>
                  <a:lnTo>
                    <a:pt x="1614" y="605"/>
                  </a:lnTo>
                  <a:lnTo>
                    <a:pt x="1526" y="615"/>
                  </a:lnTo>
                  <a:lnTo>
                    <a:pt x="1435" y="622"/>
                  </a:lnTo>
                  <a:lnTo>
                    <a:pt x="1341" y="628"/>
                  </a:lnTo>
                  <a:lnTo>
                    <a:pt x="1244" y="631"/>
                  </a:lnTo>
                  <a:lnTo>
                    <a:pt x="1145" y="632"/>
                  </a:lnTo>
                  <a:lnTo>
                    <a:pt x="1045" y="631"/>
                  </a:lnTo>
                  <a:lnTo>
                    <a:pt x="947" y="628"/>
                  </a:lnTo>
                  <a:lnTo>
                    <a:pt x="853" y="622"/>
                  </a:lnTo>
                  <a:lnTo>
                    <a:pt x="762" y="615"/>
                  </a:lnTo>
                  <a:lnTo>
                    <a:pt x="675" y="605"/>
                  </a:lnTo>
                  <a:lnTo>
                    <a:pt x="590" y="593"/>
                  </a:lnTo>
                  <a:lnTo>
                    <a:pt x="510" y="580"/>
                  </a:lnTo>
                  <a:lnTo>
                    <a:pt x="435" y="564"/>
                  </a:lnTo>
                  <a:lnTo>
                    <a:pt x="364" y="548"/>
                  </a:lnTo>
                  <a:lnTo>
                    <a:pt x="305" y="531"/>
                  </a:lnTo>
                  <a:lnTo>
                    <a:pt x="250" y="515"/>
                  </a:lnTo>
                  <a:lnTo>
                    <a:pt x="200" y="496"/>
                  </a:lnTo>
                  <a:lnTo>
                    <a:pt x="155" y="476"/>
                  </a:lnTo>
                  <a:lnTo>
                    <a:pt x="116" y="456"/>
                  </a:lnTo>
                  <a:lnTo>
                    <a:pt x="82" y="434"/>
                  </a:lnTo>
                  <a:lnTo>
                    <a:pt x="53" y="412"/>
                  </a:lnTo>
                  <a:lnTo>
                    <a:pt x="30" y="389"/>
                  </a:lnTo>
                  <a:lnTo>
                    <a:pt x="13" y="366"/>
                  </a:lnTo>
                  <a:lnTo>
                    <a:pt x="3" y="341"/>
                  </a:lnTo>
                  <a:lnTo>
                    <a:pt x="0" y="316"/>
                  </a:lnTo>
                  <a:lnTo>
                    <a:pt x="3" y="291"/>
                  </a:lnTo>
                  <a:lnTo>
                    <a:pt x="14" y="266"/>
                  </a:lnTo>
                  <a:lnTo>
                    <a:pt x="33" y="241"/>
                  </a:lnTo>
                  <a:lnTo>
                    <a:pt x="58" y="217"/>
                  </a:lnTo>
                  <a:lnTo>
                    <a:pt x="90" y="194"/>
                  </a:lnTo>
                  <a:lnTo>
                    <a:pt x="127" y="172"/>
                  </a:lnTo>
                  <a:lnTo>
                    <a:pt x="172" y="150"/>
                  </a:lnTo>
                  <a:lnTo>
                    <a:pt x="220" y="131"/>
                  </a:lnTo>
                  <a:lnTo>
                    <a:pt x="275" y="111"/>
                  </a:lnTo>
                  <a:lnTo>
                    <a:pt x="335" y="93"/>
                  </a:lnTo>
                  <a:lnTo>
                    <a:pt x="399" y="77"/>
                  </a:lnTo>
                  <a:lnTo>
                    <a:pt x="468" y="61"/>
                  </a:lnTo>
                  <a:lnTo>
                    <a:pt x="541" y="48"/>
                  </a:lnTo>
                  <a:lnTo>
                    <a:pt x="618" y="37"/>
                  </a:lnTo>
                  <a:lnTo>
                    <a:pt x="698" y="25"/>
                  </a:lnTo>
                  <a:lnTo>
                    <a:pt x="782" y="17"/>
                  </a:lnTo>
                  <a:lnTo>
                    <a:pt x="869" y="10"/>
                  </a:lnTo>
                  <a:lnTo>
                    <a:pt x="959" y="5"/>
                  </a:lnTo>
                  <a:lnTo>
                    <a:pt x="1051" y="1"/>
                  </a:lnTo>
                  <a:lnTo>
                    <a:pt x="1145"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51" name="Freeform 83">
              <a:extLst>
                <a:ext uri="{FF2B5EF4-FFF2-40B4-BE49-F238E27FC236}">
                  <a16:creationId xmlns:a16="http://schemas.microsoft.com/office/drawing/2014/main" id="{1B990C9D-AC90-40DF-BEF0-2A6487619BFA}"/>
                </a:ext>
              </a:extLst>
            </p:cNvPr>
            <p:cNvSpPr>
              <a:spLocks/>
            </p:cNvSpPr>
            <p:nvPr/>
          </p:nvSpPr>
          <p:spPr bwMode="auto">
            <a:xfrm>
              <a:off x="2253" y="140"/>
              <a:ext cx="515" cy="646"/>
            </a:xfrm>
            <a:custGeom>
              <a:avLst/>
              <a:gdLst>
                <a:gd name="T0" fmla="*/ 640 w 1030"/>
                <a:gd name="T1" fmla="*/ 40 h 1293"/>
                <a:gd name="T2" fmla="*/ 731 w 1030"/>
                <a:gd name="T3" fmla="*/ 129 h 1293"/>
                <a:gd name="T4" fmla="*/ 817 w 1030"/>
                <a:gd name="T5" fmla="*/ 227 h 1293"/>
                <a:gd name="T6" fmla="*/ 892 w 1030"/>
                <a:gd name="T7" fmla="*/ 332 h 1293"/>
                <a:gd name="T8" fmla="*/ 951 w 1030"/>
                <a:gd name="T9" fmla="*/ 445 h 1293"/>
                <a:gd name="T10" fmla="*/ 995 w 1030"/>
                <a:gd name="T11" fmla="*/ 566 h 1293"/>
                <a:gd name="T12" fmla="*/ 1024 w 1030"/>
                <a:gd name="T13" fmla="*/ 708 h 1293"/>
                <a:gd name="T14" fmla="*/ 1030 w 1030"/>
                <a:gd name="T15" fmla="*/ 846 h 1293"/>
                <a:gd name="T16" fmla="*/ 1013 w 1030"/>
                <a:gd name="T17" fmla="*/ 977 h 1293"/>
                <a:gd name="T18" fmla="*/ 973 w 1030"/>
                <a:gd name="T19" fmla="*/ 1101 h 1293"/>
                <a:gd name="T20" fmla="*/ 909 w 1030"/>
                <a:gd name="T21" fmla="*/ 1220 h 1293"/>
                <a:gd name="T22" fmla="*/ 778 w 1030"/>
                <a:gd name="T23" fmla="*/ 1283 h 1293"/>
                <a:gd name="T24" fmla="*/ 591 w 1030"/>
                <a:gd name="T25" fmla="*/ 1292 h 1293"/>
                <a:gd name="T26" fmla="*/ 388 w 1030"/>
                <a:gd name="T27" fmla="*/ 1292 h 1293"/>
                <a:gd name="T28" fmla="*/ 184 w 1030"/>
                <a:gd name="T29" fmla="*/ 1282 h 1293"/>
                <a:gd name="T30" fmla="*/ 63 w 1030"/>
                <a:gd name="T31" fmla="*/ 1237 h 1293"/>
                <a:gd name="T32" fmla="*/ 26 w 1030"/>
                <a:gd name="T33" fmla="*/ 1165 h 1293"/>
                <a:gd name="T34" fmla="*/ 4 w 1030"/>
                <a:gd name="T35" fmla="*/ 1089 h 1293"/>
                <a:gd name="T36" fmla="*/ 1 w 1030"/>
                <a:gd name="T37" fmla="*/ 1007 h 1293"/>
                <a:gd name="T38" fmla="*/ 18 w 1030"/>
                <a:gd name="T39" fmla="*/ 915 h 1293"/>
                <a:gd name="T40" fmla="*/ 50 w 1030"/>
                <a:gd name="T41" fmla="*/ 818 h 1293"/>
                <a:gd name="T42" fmla="*/ 114 w 1030"/>
                <a:gd name="T43" fmla="*/ 666 h 1293"/>
                <a:gd name="T44" fmla="*/ 204 w 1030"/>
                <a:gd name="T45" fmla="*/ 460 h 1293"/>
                <a:gd name="T46" fmla="*/ 214 w 1030"/>
                <a:gd name="T47" fmla="*/ 437 h 1293"/>
                <a:gd name="T48" fmla="*/ 257 w 1030"/>
                <a:gd name="T49" fmla="*/ 458 h 1293"/>
                <a:gd name="T50" fmla="*/ 317 w 1030"/>
                <a:gd name="T51" fmla="*/ 535 h 1293"/>
                <a:gd name="T52" fmla="*/ 360 w 1030"/>
                <a:gd name="T53" fmla="*/ 620 h 1293"/>
                <a:gd name="T54" fmla="*/ 389 w 1030"/>
                <a:gd name="T55" fmla="*/ 714 h 1293"/>
                <a:gd name="T56" fmla="*/ 441 w 1030"/>
                <a:gd name="T57" fmla="*/ 691 h 1293"/>
                <a:gd name="T58" fmla="*/ 510 w 1030"/>
                <a:gd name="T59" fmla="*/ 543 h 1293"/>
                <a:gd name="T60" fmla="*/ 559 w 1030"/>
                <a:gd name="T61" fmla="*/ 393 h 1293"/>
                <a:gd name="T62" fmla="*/ 587 w 1030"/>
                <a:gd name="T63" fmla="*/ 240 h 1293"/>
                <a:gd name="T64" fmla="*/ 594 w 1030"/>
                <a:gd name="T65" fmla="*/ 82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0" h="1293">
                  <a:moveTo>
                    <a:pt x="590" y="0"/>
                  </a:moveTo>
                  <a:lnTo>
                    <a:pt x="640" y="40"/>
                  </a:lnTo>
                  <a:lnTo>
                    <a:pt x="686" y="82"/>
                  </a:lnTo>
                  <a:lnTo>
                    <a:pt x="731" y="129"/>
                  </a:lnTo>
                  <a:lnTo>
                    <a:pt x="776" y="178"/>
                  </a:lnTo>
                  <a:lnTo>
                    <a:pt x="817" y="227"/>
                  </a:lnTo>
                  <a:lnTo>
                    <a:pt x="855" y="279"/>
                  </a:lnTo>
                  <a:lnTo>
                    <a:pt x="892" y="332"/>
                  </a:lnTo>
                  <a:lnTo>
                    <a:pt x="924" y="387"/>
                  </a:lnTo>
                  <a:lnTo>
                    <a:pt x="951" y="445"/>
                  </a:lnTo>
                  <a:lnTo>
                    <a:pt x="975" y="504"/>
                  </a:lnTo>
                  <a:lnTo>
                    <a:pt x="995" y="566"/>
                  </a:lnTo>
                  <a:lnTo>
                    <a:pt x="1011" y="638"/>
                  </a:lnTo>
                  <a:lnTo>
                    <a:pt x="1024" y="708"/>
                  </a:lnTo>
                  <a:lnTo>
                    <a:pt x="1029" y="778"/>
                  </a:lnTo>
                  <a:lnTo>
                    <a:pt x="1030" y="846"/>
                  </a:lnTo>
                  <a:lnTo>
                    <a:pt x="1025" y="912"/>
                  </a:lnTo>
                  <a:lnTo>
                    <a:pt x="1013" y="977"/>
                  </a:lnTo>
                  <a:lnTo>
                    <a:pt x="996" y="1040"/>
                  </a:lnTo>
                  <a:lnTo>
                    <a:pt x="973" y="1101"/>
                  </a:lnTo>
                  <a:lnTo>
                    <a:pt x="944" y="1161"/>
                  </a:lnTo>
                  <a:lnTo>
                    <a:pt x="909" y="1220"/>
                  </a:lnTo>
                  <a:lnTo>
                    <a:pt x="868" y="1275"/>
                  </a:lnTo>
                  <a:lnTo>
                    <a:pt x="778" y="1283"/>
                  </a:lnTo>
                  <a:lnTo>
                    <a:pt x="686" y="1289"/>
                  </a:lnTo>
                  <a:lnTo>
                    <a:pt x="591" y="1292"/>
                  </a:lnTo>
                  <a:lnTo>
                    <a:pt x="495" y="1293"/>
                  </a:lnTo>
                  <a:lnTo>
                    <a:pt x="388" y="1292"/>
                  </a:lnTo>
                  <a:lnTo>
                    <a:pt x="284" y="1288"/>
                  </a:lnTo>
                  <a:lnTo>
                    <a:pt x="184" y="1282"/>
                  </a:lnTo>
                  <a:lnTo>
                    <a:pt x="87" y="1272"/>
                  </a:lnTo>
                  <a:lnTo>
                    <a:pt x="63" y="1237"/>
                  </a:lnTo>
                  <a:lnTo>
                    <a:pt x="42" y="1202"/>
                  </a:lnTo>
                  <a:lnTo>
                    <a:pt x="26" y="1165"/>
                  </a:lnTo>
                  <a:lnTo>
                    <a:pt x="12" y="1127"/>
                  </a:lnTo>
                  <a:lnTo>
                    <a:pt x="4" y="1089"/>
                  </a:lnTo>
                  <a:lnTo>
                    <a:pt x="0" y="1048"/>
                  </a:lnTo>
                  <a:lnTo>
                    <a:pt x="1" y="1007"/>
                  </a:lnTo>
                  <a:lnTo>
                    <a:pt x="6" y="964"/>
                  </a:lnTo>
                  <a:lnTo>
                    <a:pt x="18" y="915"/>
                  </a:lnTo>
                  <a:lnTo>
                    <a:pt x="33" y="865"/>
                  </a:lnTo>
                  <a:lnTo>
                    <a:pt x="50" y="818"/>
                  </a:lnTo>
                  <a:lnTo>
                    <a:pt x="69" y="770"/>
                  </a:lnTo>
                  <a:lnTo>
                    <a:pt x="114" y="666"/>
                  </a:lnTo>
                  <a:lnTo>
                    <a:pt x="159" y="563"/>
                  </a:lnTo>
                  <a:lnTo>
                    <a:pt x="204" y="460"/>
                  </a:lnTo>
                  <a:lnTo>
                    <a:pt x="209" y="449"/>
                  </a:lnTo>
                  <a:lnTo>
                    <a:pt x="214" y="437"/>
                  </a:lnTo>
                  <a:lnTo>
                    <a:pt x="219" y="422"/>
                  </a:lnTo>
                  <a:lnTo>
                    <a:pt x="257" y="458"/>
                  </a:lnTo>
                  <a:lnTo>
                    <a:pt x="289" y="496"/>
                  </a:lnTo>
                  <a:lnTo>
                    <a:pt x="317" y="535"/>
                  </a:lnTo>
                  <a:lnTo>
                    <a:pt x="341" y="576"/>
                  </a:lnTo>
                  <a:lnTo>
                    <a:pt x="360" y="620"/>
                  </a:lnTo>
                  <a:lnTo>
                    <a:pt x="377" y="666"/>
                  </a:lnTo>
                  <a:lnTo>
                    <a:pt x="389" y="714"/>
                  </a:lnTo>
                  <a:lnTo>
                    <a:pt x="399" y="764"/>
                  </a:lnTo>
                  <a:lnTo>
                    <a:pt x="441" y="691"/>
                  </a:lnTo>
                  <a:lnTo>
                    <a:pt x="478" y="618"/>
                  </a:lnTo>
                  <a:lnTo>
                    <a:pt x="510" y="543"/>
                  </a:lnTo>
                  <a:lnTo>
                    <a:pt x="537" y="469"/>
                  </a:lnTo>
                  <a:lnTo>
                    <a:pt x="559" y="393"/>
                  </a:lnTo>
                  <a:lnTo>
                    <a:pt x="575" y="317"/>
                  </a:lnTo>
                  <a:lnTo>
                    <a:pt x="587" y="240"/>
                  </a:lnTo>
                  <a:lnTo>
                    <a:pt x="593" y="161"/>
                  </a:lnTo>
                  <a:lnTo>
                    <a:pt x="594" y="82"/>
                  </a:lnTo>
                  <a:lnTo>
                    <a:pt x="590"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52" name="Freeform 84">
              <a:extLst>
                <a:ext uri="{FF2B5EF4-FFF2-40B4-BE49-F238E27FC236}">
                  <a16:creationId xmlns:a16="http://schemas.microsoft.com/office/drawing/2014/main" id="{73E576B0-8E46-423D-902B-B7B9A3632298}"/>
                </a:ext>
              </a:extLst>
            </p:cNvPr>
            <p:cNvSpPr>
              <a:spLocks/>
            </p:cNvSpPr>
            <p:nvPr/>
          </p:nvSpPr>
          <p:spPr bwMode="auto">
            <a:xfrm>
              <a:off x="1928" y="-592"/>
              <a:ext cx="1145" cy="1356"/>
            </a:xfrm>
            <a:custGeom>
              <a:avLst/>
              <a:gdLst>
                <a:gd name="T0" fmla="*/ 98 w 2290"/>
                <a:gd name="T1" fmla="*/ 51 h 2711"/>
                <a:gd name="T2" fmla="*/ 286 w 2290"/>
                <a:gd name="T3" fmla="*/ 116 h 2711"/>
                <a:gd name="T4" fmla="*/ 540 w 2290"/>
                <a:gd name="T5" fmla="*/ 171 h 2711"/>
                <a:gd name="T6" fmla="*/ 831 w 2290"/>
                <a:gd name="T7" fmla="*/ 204 h 2711"/>
                <a:gd name="T8" fmla="*/ 1145 w 2290"/>
                <a:gd name="T9" fmla="*/ 216 h 2711"/>
                <a:gd name="T10" fmla="*/ 1458 w 2290"/>
                <a:gd name="T11" fmla="*/ 204 h 2711"/>
                <a:gd name="T12" fmla="*/ 1748 w 2290"/>
                <a:gd name="T13" fmla="*/ 171 h 2711"/>
                <a:gd name="T14" fmla="*/ 2002 w 2290"/>
                <a:gd name="T15" fmla="*/ 116 h 2711"/>
                <a:gd name="T16" fmla="*/ 2190 w 2290"/>
                <a:gd name="T17" fmla="*/ 51 h 2711"/>
                <a:gd name="T18" fmla="*/ 2290 w 2290"/>
                <a:gd name="T19" fmla="*/ 4 h 2711"/>
                <a:gd name="T20" fmla="*/ 2290 w 2290"/>
                <a:gd name="T21" fmla="*/ 59 h 2711"/>
                <a:gd name="T22" fmla="*/ 2290 w 2290"/>
                <a:gd name="T23" fmla="*/ 172 h 2711"/>
                <a:gd name="T24" fmla="*/ 2290 w 2290"/>
                <a:gd name="T25" fmla="*/ 462 h 2711"/>
                <a:gd name="T26" fmla="*/ 2290 w 2290"/>
                <a:gd name="T27" fmla="*/ 840 h 2711"/>
                <a:gd name="T28" fmla="*/ 2290 w 2290"/>
                <a:gd name="T29" fmla="*/ 1344 h 2711"/>
                <a:gd name="T30" fmla="*/ 2290 w 2290"/>
                <a:gd name="T31" fmla="*/ 1675 h 2711"/>
                <a:gd name="T32" fmla="*/ 2290 w 2290"/>
                <a:gd name="T33" fmla="*/ 1902 h 2711"/>
                <a:gd name="T34" fmla="*/ 2290 w 2290"/>
                <a:gd name="T35" fmla="*/ 2215 h 2711"/>
                <a:gd name="T36" fmla="*/ 2290 w 2290"/>
                <a:gd name="T37" fmla="*/ 2346 h 2711"/>
                <a:gd name="T38" fmla="*/ 2290 w 2290"/>
                <a:gd name="T39" fmla="*/ 2435 h 2711"/>
                <a:gd name="T40" fmla="*/ 2276 w 2290"/>
                <a:gd name="T41" fmla="*/ 2488 h 2711"/>
                <a:gd name="T42" fmla="*/ 2210 w 2290"/>
                <a:gd name="T43" fmla="*/ 2555 h 2711"/>
                <a:gd name="T44" fmla="*/ 2094 w 2290"/>
                <a:gd name="T45" fmla="*/ 2616 h 2711"/>
                <a:gd name="T46" fmla="*/ 1935 w 2290"/>
                <a:gd name="T47" fmla="*/ 2667 h 2711"/>
                <a:gd name="T48" fmla="*/ 1740 w 2290"/>
                <a:gd name="T49" fmla="*/ 2709 h 2711"/>
                <a:gd name="T50" fmla="*/ 1842 w 2290"/>
                <a:gd name="T51" fmla="*/ 2586 h 2711"/>
                <a:gd name="T52" fmla="*/ 1918 w 2290"/>
                <a:gd name="T53" fmla="*/ 2434 h 2711"/>
                <a:gd name="T54" fmla="*/ 1955 w 2290"/>
                <a:gd name="T55" fmla="*/ 2263 h 2711"/>
                <a:gd name="T56" fmla="*/ 1950 w 2290"/>
                <a:gd name="T57" fmla="*/ 2066 h 2711"/>
                <a:gd name="T58" fmla="*/ 1903 w 2290"/>
                <a:gd name="T59" fmla="*/ 1832 h 2711"/>
                <a:gd name="T60" fmla="*/ 1805 w 2290"/>
                <a:gd name="T61" fmla="*/ 1599 h 2711"/>
                <a:gd name="T62" fmla="*/ 1670 w 2290"/>
                <a:gd name="T63" fmla="*/ 1387 h 2711"/>
                <a:gd name="T64" fmla="*/ 1477 w 2290"/>
                <a:gd name="T65" fmla="*/ 1154 h 2711"/>
                <a:gd name="T66" fmla="*/ 1250 w 2290"/>
                <a:gd name="T67" fmla="*/ 924 h 2711"/>
                <a:gd name="T68" fmla="*/ 1057 w 2290"/>
                <a:gd name="T69" fmla="*/ 742 h 2711"/>
                <a:gd name="T70" fmla="*/ 973 w 2290"/>
                <a:gd name="T71" fmla="*/ 683 h 2711"/>
                <a:gd name="T72" fmla="*/ 944 w 2290"/>
                <a:gd name="T73" fmla="*/ 780 h 2711"/>
                <a:gd name="T74" fmla="*/ 853 w 2290"/>
                <a:gd name="T75" fmla="*/ 1027 h 2711"/>
                <a:gd name="T76" fmla="*/ 735 w 2290"/>
                <a:gd name="T77" fmla="*/ 1263 h 2711"/>
                <a:gd name="T78" fmla="*/ 565 w 2290"/>
                <a:gd name="T79" fmla="*/ 1544 h 2711"/>
                <a:gd name="T80" fmla="*/ 390 w 2290"/>
                <a:gd name="T81" fmla="*/ 1869 h 2711"/>
                <a:gd name="T82" fmla="*/ 330 w 2290"/>
                <a:gd name="T83" fmla="*/ 2061 h 2711"/>
                <a:gd name="T84" fmla="*/ 321 w 2290"/>
                <a:gd name="T85" fmla="*/ 2264 h 2711"/>
                <a:gd name="T86" fmla="*/ 355 w 2290"/>
                <a:gd name="T87" fmla="*/ 2429 h 2711"/>
                <a:gd name="T88" fmla="*/ 433 w 2290"/>
                <a:gd name="T89" fmla="*/ 2579 h 2711"/>
                <a:gd name="T90" fmla="*/ 558 w 2290"/>
                <a:gd name="T91" fmla="*/ 2711 h 2711"/>
                <a:gd name="T92" fmla="*/ 360 w 2290"/>
                <a:gd name="T93" fmla="*/ 2669 h 2711"/>
                <a:gd name="T94" fmla="*/ 197 w 2290"/>
                <a:gd name="T95" fmla="*/ 2617 h 2711"/>
                <a:gd name="T96" fmla="*/ 80 w 2290"/>
                <a:gd name="T97" fmla="*/ 2556 h 2711"/>
                <a:gd name="T98" fmla="*/ 12 w 2290"/>
                <a:gd name="T99" fmla="*/ 2488 h 2711"/>
                <a:gd name="T100" fmla="*/ 0 w 2290"/>
                <a:gd name="T101" fmla="*/ 2422 h 2711"/>
                <a:gd name="T102" fmla="*/ 0 w 2290"/>
                <a:gd name="T103" fmla="*/ 2346 h 2711"/>
                <a:gd name="T104" fmla="*/ 0 w 2290"/>
                <a:gd name="T105" fmla="*/ 2215 h 2711"/>
                <a:gd name="T106" fmla="*/ 0 w 2290"/>
                <a:gd name="T107" fmla="*/ 1902 h 2711"/>
                <a:gd name="T108" fmla="*/ 0 w 2290"/>
                <a:gd name="T109" fmla="*/ 1675 h 2711"/>
                <a:gd name="T110" fmla="*/ 0 w 2290"/>
                <a:gd name="T111" fmla="*/ 1260 h 2711"/>
                <a:gd name="T112" fmla="*/ 0 w 2290"/>
                <a:gd name="T113" fmla="*/ 1006 h 2711"/>
                <a:gd name="T114" fmla="*/ 0 w 2290"/>
                <a:gd name="T115" fmla="*/ 760 h 2711"/>
                <a:gd name="T116" fmla="*/ 0 w 2290"/>
                <a:gd name="T117" fmla="*/ 533 h 2711"/>
                <a:gd name="T118" fmla="*/ 0 w 2290"/>
                <a:gd name="T119" fmla="*/ 333 h 2711"/>
                <a:gd name="T120" fmla="*/ 0 w 2290"/>
                <a:gd name="T121" fmla="*/ 172 h 2711"/>
                <a:gd name="T122" fmla="*/ 0 w 2290"/>
                <a:gd name="T123" fmla="*/ 59 h 2711"/>
                <a:gd name="T124" fmla="*/ 0 w 2290"/>
                <a:gd name="T125" fmla="*/ 0 h 2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90" h="2711">
                  <a:moveTo>
                    <a:pt x="0" y="0"/>
                  </a:moveTo>
                  <a:lnTo>
                    <a:pt x="46" y="26"/>
                  </a:lnTo>
                  <a:lnTo>
                    <a:pt x="98" y="51"/>
                  </a:lnTo>
                  <a:lnTo>
                    <a:pt x="156" y="74"/>
                  </a:lnTo>
                  <a:lnTo>
                    <a:pt x="218" y="97"/>
                  </a:lnTo>
                  <a:lnTo>
                    <a:pt x="286" y="116"/>
                  </a:lnTo>
                  <a:lnTo>
                    <a:pt x="366" y="137"/>
                  </a:lnTo>
                  <a:lnTo>
                    <a:pt x="450" y="155"/>
                  </a:lnTo>
                  <a:lnTo>
                    <a:pt x="540" y="171"/>
                  </a:lnTo>
                  <a:lnTo>
                    <a:pt x="633" y="185"/>
                  </a:lnTo>
                  <a:lnTo>
                    <a:pt x="730" y="196"/>
                  </a:lnTo>
                  <a:lnTo>
                    <a:pt x="831" y="204"/>
                  </a:lnTo>
                  <a:lnTo>
                    <a:pt x="933" y="210"/>
                  </a:lnTo>
                  <a:lnTo>
                    <a:pt x="1037" y="214"/>
                  </a:lnTo>
                  <a:lnTo>
                    <a:pt x="1145" y="216"/>
                  </a:lnTo>
                  <a:lnTo>
                    <a:pt x="1251" y="214"/>
                  </a:lnTo>
                  <a:lnTo>
                    <a:pt x="1356" y="210"/>
                  </a:lnTo>
                  <a:lnTo>
                    <a:pt x="1458" y="204"/>
                  </a:lnTo>
                  <a:lnTo>
                    <a:pt x="1558" y="196"/>
                  </a:lnTo>
                  <a:lnTo>
                    <a:pt x="1655" y="185"/>
                  </a:lnTo>
                  <a:lnTo>
                    <a:pt x="1748" y="171"/>
                  </a:lnTo>
                  <a:lnTo>
                    <a:pt x="1838" y="155"/>
                  </a:lnTo>
                  <a:lnTo>
                    <a:pt x="1923" y="137"/>
                  </a:lnTo>
                  <a:lnTo>
                    <a:pt x="2002" y="116"/>
                  </a:lnTo>
                  <a:lnTo>
                    <a:pt x="2071" y="97"/>
                  </a:lnTo>
                  <a:lnTo>
                    <a:pt x="2132" y="74"/>
                  </a:lnTo>
                  <a:lnTo>
                    <a:pt x="2190" y="51"/>
                  </a:lnTo>
                  <a:lnTo>
                    <a:pt x="2242" y="26"/>
                  </a:lnTo>
                  <a:lnTo>
                    <a:pt x="2290" y="0"/>
                  </a:lnTo>
                  <a:lnTo>
                    <a:pt x="2290" y="4"/>
                  </a:lnTo>
                  <a:lnTo>
                    <a:pt x="2290" y="15"/>
                  </a:lnTo>
                  <a:lnTo>
                    <a:pt x="2290" y="34"/>
                  </a:lnTo>
                  <a:lnTo>
                    <a:pt x="2290" y="59"/>
                  </a:lnTo>
                  <a:lnTo>
                    <a:pt x="2290" y="91"/>
                  </a:lnTo>
                  <a:lnTo>
                    <a:pt x="2290" y="129"/>
                  </a:lnTo>
                  <a:lnTo>
                    <a:pt x="2290" y="172"/>
                  </a:lnTo>
                  <a:lnTo>
                    <a:pt x="2290" y="221"/>
                  </a:lnTo>
                  <a:lnTo>
                    <a:pt x="2290" y="396"/>
                  </a:lnTo>
                  <a:lnTo>
                    <a:pt x="2290" y="462"/>
                  </a:lnTo>
                  <a:lnTo>
                    <a:pt x="2290" y="533"/>
                  </a:lnTo>
                  <a:lnTo>
                    <a:pt x="2290" y="760"/>
                  </a:lnTo>
                  <a:lnTo>
                    <a:pt x="2290" y="840"/>
                  </a:lnTo>
                  <a:lnTo>
                    <a:pt x="2290" y="922"/>
                  </a:lnTo>
                  <a:lnTo>
                    <a:pt x="2290" y="1260"/>
                  </a:lnTo>
                  <a:lnTo>
                    <a:pt x="2290" y="1344"/>
                  </a:lnTo>
                  <a:lnTo>
                    <a:pt x="2290" y="1512"/>
                  </a:lnTo>
                  <a:lnTo>
                    <a:pt x="2290" y="1594"/>
                  </a:lnTo>
                  <a:lnTo>
                    <a:pt x="2290" y="1675"/>
                  </a:lnTo>
                  <a:lnTo>
                    <a:pt x="2290" y="1753"/>
                  </a:lnTo>
                  <a:lnTo>
                    <a:pt x="2290" y="1829"/>
                  </a:lnTo>
                  <a:lnTo>
                    <a:pt x="2290" y="1902"/>
                  </a:lnTo>
                  <a:lnTo>
                    <a:pt x="2290" y="1972"/>
                  </a:lnTo>
                  <a:lnTo>
                    <a:pt x="2290" y="2161"/>
                  </a:lnTo>
                  <a:lnTo>
                    <a:pt x="2290" y="2215"/>
                  </a:lnTo>
                  <a:lnTo>
                    <a:pt x="2290" y="2264"/>
                  </a:lnTo>
                  <a:lnTo>
                    <a:pt x="2290" y="2308"/>
                  </a:lnTo>
                  <a:lnTo>
                    <a:pt x="2290" y="2346"/>
                  </a:lnTo>
                  <a:lnTo>
                    <a:pt x="2290" y="2378"/>
                  </a:lnTo>
                  <a:lnTo>
                    <a:pt x="2290" y="2422"/>
                  </a:lnTo>
                  <a:lnTo>
                    <a:pt x="2290" y="2435"/>
                  </a:lnTo>
                  <a:lnTo>
                    <a:pt x="2290" y="2439"/>
                  </a:lnTo>
                  <a:lnTo>
                    <a:pt x="2285" y="2464"/>
                  </a:lnTo>
                  <a:lnTo>
                    <a:pt x="2276" y="2488"/>
                  </a:lnTo>
                  <a:lnTo>
                    <a:pt x="2260" y="2510"/>
                  </a:lnTo>
                  <a:lnTo>
                    <a:pt x="2238" y="2533"/>
                  </a:lnTo>
                  <a:lnTo>
                    <a:pt x="2210" y="2555"/>
                  </a:lnTo>
                  <a:lnTo>
                    <a:pt x="2177" y="2575"/>
                  </a:lnTo>
                  <a:lnTo>
                    <a:pt x="2138" y="2596"/>
                  </a:lnTo>
                  <a:lnTo>
                    <a:pt x="2094" y="2616"/>
                  </a:lnTo>
                  <a:lnTo>
                    <a:pt x="2046" y="2634"/>
                  </a:lnTo>
                  <a:lnTo>
                    <a:pt x="1993" y="2651"/>
                  </a:lnTo>
                  <a:lnTo>
                    <a:pt x="1935" y="2667"/>
                  </a:lnTo>
                  <a:lnTo>
                    <a:pt x="1874" y="2683"/>
                  </a:lnTo>
                  <a:lnTo>
                    <a:pt x="1808" y="2696"/>
                  </a:lnTo>
                  <a:lnTo>
                    <a:pt x="1740" y="2709"/>
                  </a:lnTo>
                  <a:lnTo>
                    <a:pt x="1777" y="2670"/>
                  </a:lnTo>
                  <a:lnTo>
                    <a:pt x="1811" y="2630"/>
                  </a:lnTo>
                  <a:lnTo>
                    <a:pt x="1842" y="2586"/>
                  </a:lnTo>
                  <a:lnTo>
                    <a:pt x="1870" y="2538"/>
                  </a:lnTo>
                  <a:lnTo>
                    <a:pt x="1895" y="2488"/>
                  </a:lnTo>
                  <a:lnTo>
                    <a:pt x="1918" y="2434"/>
                  </a:lnTo>
                  <a:lnTo>
                    <a:pt x="1935" y="2377"/>
                  </a:lnTo>
                  <a:lnTo>
                    <a:pt x="1948" y="2321"/>
                  </a:lnTo>
                  <a:lnTo>
                    <a:pt x="1955" y="2263"/>
                  </a:lnTo>
                  <a:lnTo>
                    <a:pt x="1958" y="2205"/>
                  </a:lnTo>
                  <a:lnTo>
                    <a:pt x="1956" y="2146"/>
                  </a:lnTo>
                  <a:lnTo>
                    <a:pt x="1950" y="2066"/>
                  </a:lnTo>
                  <a:lnTo>
                    <a:pt x="1939" y="1987"/>
                  </a:lnTo>
                  <a:lnTo>
                    <a:pt x="1924" y="1909"/>
                  </a:lnTo>
                  <a:lnTo>
                    <a:pt x="1903" y="1832"/>
                  </a:lnTo>
                  <a:lnTo>
                    <a:pt x="1875" y="1751"/>
                  </a:lnTo>
                  <a:lnTo>
                    <a:pt x="1842" y="1675"/>
                  </a:lnTo>
                  <a:lnTo>
                    <a:pt x="1805" y="1599"/>
                  </a:lnTo>
                  <a:lnTo>
                    <a:pt x="1764" y="1526"/>
                  </a:lnTo>
                  <a:lnTo>
                    <a:pt x="1718" y="1456"/>
                  </a:lnTo>
                  <a:lnTo>
                    <a:pt x="1670" y="1387"/>
                  </a:lnTo>
                  <a:lnTo>
                    <a:pt x="1618" y="1318"/>
                  </a:lnTo>
                  <a:lnTo>
                    <a:pt x="1549" y="1235"/>
                  </a:lnTo>
                  <a:lnTo>
                    <a:pt x="1477" y="1154"/>
                  </a:lnTo>
                  <a:lnTo>
                    <a:pt x="1404" y="1076"/>
                  </a:lnTo>
                  <a:lnTo>
                    <a:pt x="1328" y="999"/>
                  </a:lnTo>
                  <a:lnTo>
                    <a:pt x="1250" y="924"/>
                  </a:lnTo>
                  <a:lnTo>
                    <a:pt x="1172" y="850"/>
                  </a:lnTo>
                  <a:lnTo>
                    <a:pt x="1093" y="775"/>
                  </a:lnTo>
                  <a:lnTo>
                    <a:pt x="1057" y="742"/>
                  </a:lnTo>
                  <a:lnTo>
                    <a:pt x="1019" y="709"/>
                  </a:lnTo>
                  <a:lnTo>
                    <a:pt x="979" y="674"/>
                  </a:lnTo>
                  <a:lnTo>
                    <a:pt x="973" y="683"/>
                  </a:lnTo>
                  <a:lnTo>
                    <a:pt x="969" y="690"/>
                  </a:lnTo>
                  <a:lnTo>
                    <a:pt x="967" y="695"/>
                  </a:lnTo>
                  <a:lnTo>
                    <a:pt x="944" y="780"/>
                  </a:lnTo>
                  <a:lnTo>
                    <a:pt x="919" y="864"/>
                  </a:lnTo>
                  <a:lnTo>
                    <a:pt x="888" y="947"/>
                  </a:lnTo>
                  <a:lnTo>
                    <a:pt x="853" y="1027"/>
                  </a:lnTo>
                  <a:lnTo>
                    <a:pt x="816" y="1107"/>
                  </a:lnTo>
                  <a:lnTo>
                    <a:pt x="777" y="1185"/>
                  </a:lnTo>
                  <a:lnTo>
                    <a:pt x="735" y="1263"/>
                  </a:lnTo>
                  <a:lnTo>
                    <a:pt x="689" y="1339"/>
                  </a:lnTo>
                  <a:lnTo>
                    <a:pt x="643" y="1416"/>
                  </a:lnTo>
                  <a:lnTo>
                    <a:pt x="565" y="1544"/>
                  </a:lnTo>
                  <a:lnTo>
                    <a:pt x="490" y="1674"/>
                  </a:lnTo>
                  <a:lnTo>
                    <a:pt x="418" y="1807"/>
                  </a:lnTo>
                  <a:lnTo>
                    <a:pt x="390" y="1869"/>
                  </a:lnTo>
                  <a:lnTo>
                    <a:pt x="365" y="1932"/>
                  </a:lnTo>
                  <a:lnTo>
                    <a:pt x="344" y="1996"/>
                  </a:lnTo>
                  <a:lnTo>
                    <a:pt x="330" y="2061"/>
                  </a:lnTo>
                  <a:lnTo>
                    <a:pt x="320" y="2128"/>
                  </a:lnTo>
                  <a:lnTo>
                    <a:pt x="317" y="2196"/>
                  </a:lnTo>
                  <a:lnTo>
                    <a:pt x="321" y="2264"/>
                  </a:lnTo>
                  <a:lnTo>
                    <a:pt x="329" y="2320"/>
                  </a:lnTo>
                  <a:lnTo>
                    <a:pt x="340" y="2375"/>
                  </a:lnTo>
                  <a:lnTo>
                    <a:pt x="355" y="2429"/>
                  </a:lnTo>
                  <a:lnTo>
                    <a:pt x="376" y="2480"/>
                  </a:lnTo>
                  <a:lnTo>
                    <a:pt x="402" y="2531"/>
                  </a:lnTo>
                  <a:lnTo>
                    <a:pt x="433" y="2579"/>
                  </a:lnTo>
                  <a:lnTo>
                    <a:pt x="471" y="2627"/>
                  </a:lnTo>
                  <a:lnTo>
                    <a:pt x="513" y="2670"/>
                  </a:lnTo>
                  <a:lnTo>
                    <a:pt x="558" y="2711"/>
                  </a:lnTo>
                  <a:lnTo>
                    <a:pt x="488" y="2698"/>
                  </a:lnTo>
                  <a:lnTo>
                    <a:pt x="422" y="2684"/>
                  </a:lnTo>
                  <a:lnTo>
                    <a:pt x="360" y="2669"/>
                  </a:lnTo>
                  <a:lnTo>
                    <a:pt x="301" y="2653"/>
                  </a:lnTo>
                  <a:lnTo>
                    <a:pt x="247" y="2635"/>
                  </a:lnTo>
                  <a:lnTo>
                    <a:pt x="197" y="2617"/>
                  </a:lnTo>
                  <a:lnTo>
                    <a:pt x="153" y="2597"/>
                  </a:lnTo>
                  <a:lnTo>
                    <a:pt x="114" y="2577"/>
                  </a:lnTo>
                  <a:lnTo>
                    <a:pt x="80" y="2556"/>
                  </a:lnTo>
                  <a:lnTo>
                    <a:pt x="52" y="2534"/>
                  </a:lnTo>
                  <a:lnTo>
                    <a:pt x="29" y="2511"/>
                  </a:lnTo>
                  <a:lnTo>
                    <a:pt x="12" y="2488"/>
                  </a:lnTo>
                  <a:lnTo>
                    <a:pt x="3" y="2464"/>
                  </a:lnTo>
                  <a:lnTo>
                    <a:pt x="0" y="2439"/>
                  </a:lnTo>
                  <a:lnTo>
                    <a:pt x="0" y="2422"/>
                  </a:lnTo>
                  <a:lnTo>
                    <a:pt x="0" y="2404"/>
                  </a:lnTo>
                  <a:lnTo>
                    <a:pt x="0" y="2378"/>
                  </a:lnTo>
                  <a:lnTo>
                    <a:pt x="0" y="2346"/>
                  </a:lnTo>
                  <a:lnTo>
                    <a:pt x="0" y="2308"/>
                  </a:lnTo>
                  <a:lnTo>
                    <a:pt x="0" y="2264"/>
                  </a:lnTo>
                  <a:lnTo>
                    <a:pt x="0" y="2215"/>
                  </a:lnTo>
                  <a:lnTo>
                    <a:pt x="0" y="2039"/>
                  </a:lnTo>
                  <a:lnTo>
                    <a:pt x="0" y="1972"/>
                  </a:lnTo>
                  <a:lnTo>
                    <a:pt x="0" y="1902"/>
                  </a:lnTo>
                  <a:lnTo>
                    <a:pt x="0" y="1829"/>
                  </a:lnTo>
                  <a:lnTo>
                    <a:pt x="0" y="1753"/>
                  </a:lnTo>
                  <a:lnTo>
                    <a:pt x="0" y="1675"/>
                  </a:lnTo>
                  <a:lnTo>
                    <a:pt x="0" y="1429"/>
                  </a:lnTo>
                  <a:lnTo>
                    <a:pt x="0" y="1344"/>
                  </a:lnTo>
                  <a:lnTo>
                    <a:pt x="0" y="1260"/>
                  </a:lnTo>
                  <a:lnTo>
                    <a:pt x="0" y="1175"/>
                  </a:lnTo>
                  <a:lnTo>
                    <a:pt x="0" y="1090"/>
                  </a:lnTo>
                  <a:lnTo>
                    <a:pt x="0" y="1006"/>
                  </a:lnTo>
                  <a:lnTo>
                    <a:pt x="0" y="922"/>
                  </a:lnTo>
                  <a:lnTo>
                    <a:pt x="0" y="840"/>
                  </a:lnTo>
                  <a:lnTo>
                    <a:pt x="0" y="760"/>
                  </a:lnTo>
                  <a:lnTo>
                    <a:pt x="0" y="681"/>
                  </a:lnTo>
                  <a:lnTo>
                    <a:pt x="0" y="606"/>
                  </a:lnTo>
                  <a:lnTo>
                    <a:pt x="0" y="533"/>
                  </a:lnTo>
                  <a:lnTo>
                    <a:pt x="0" y="462"/>
                  </a:lnTo>
                  <a:lnTo>
                    <a:pt x="0" y="396"/>
                  </a:lnTo>
                  <a:lnTo>
                    <a:pt x="0" y="333"/>
                  </a:lnTo>
                  <a:lnTo>
                    <a:pt x="0" y="274"/>
                  </a:lnTo>
                  <a:lnTo>
                    <a:pt x="0" y="221"/>
                  </a:lnTo>
                  <a:lnTo>
                    <a:pt x="0" y="172"/>
                  </a:lnTo>
                  <a:lnTo>
                    <a:pt x="0" y="129"/>
                  </a:lnTo>
                  <a:lnTo>
                    <a:pt x="0" y="91"/>
                  </a:lnTo>
                  <a:lnTo>
                    <a:pt x="0" y="59"/>
                  </a:lnTo>
                  <a:lnTo>
                    <a:pt x="0" y="34"/>
                  </a:lnTo>
                  <a:lnTo>
                    <a:pt x="0" y="15"/>
                  </a:lnTo>
                  <a:lnTo>
                    <a:pt x="0"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sp>
        <p:nvSpPr>
          <p:cNvPr id="46" name="Freeform 37">
            <a:extLst>
              <a:ext uri="{FF2B5EF4-FFF2-40B4-BE49-F238E27FC236}">
                <a16:creationId xmlns:a16="http://schemas.microsoft.com/office/drawing/2014/main" id="{61258BF5-7D31-4A75-8C43-48E8A88737FD}"/>
              </a:ext>
            </a:extLst>
          </p:cNvPr>
          <p:cNvSpPr>
            <a:spLocks noEditPoints="1"/>
          </p:cNvSpPr>
          <p:nvPr/>
        </p:nvSpPr>
        <p:spPr bwMode="auto">
          <a:xfrm>
            <a:off x="7540625" y="1646238"/>
            <a:ext cx="347663" cy="277812"/>
          </a:xfrm>
          <a:custGeom>
            <a:avLst/>
            <a:gdLst>
              <a:gd name="T0" fmla="*/ 968 w 3456"/>
              <a:gd name="T1" fmla="*/ 1382 h 3456"/>
              <a:gd name="T2" fmla="*/ 995 w 3456"/>
              <a:gd name="T3" fmla="*/ 1503 h 3456"/>
              <a:gd name="T4" fmla="*/ 1088 w 3456"/>
              <a:gd name="T5" fmla="*/ 1525 h 3456"/>
              <a:gd name="T6" fmla="*/ 1291 w 3456"/>
              <a:gd name="T7" fmla="*/ 1525 h 3456"/>
              <a:gd name="T8" fmla="*/ 1555 w 3456"/>
              <a:gd name="T9" fmla="*/ 1526 h 3456"/>
              <a:gd name="T10" fmla="*/ 1736 w 3456"/>
              <a:gd name="T11" fmla="*/ 1526 h 3456"/>
              <a:gd name="T12" fmla="*/ 1825 w 3456"/>
              <a:gd name="T13" fmla="*/ 1496 h 3456"/>
              <a:gd name="T14" fmla="*/ 1842 w 3456"/>
              <a:gd name="T15" fmla="*/ 1387 h 3456"/>
              <a:gd name="T16" fmla="*/ 1057 w 3456"/>
              <a:gd name="T17" fmla="*/ 1328 h 3456"/>
              <a:gd name="T18" fmla="*/ 1242 w 3456"/>
              <a:gd name="T19" fmla="*/ 414 h 3456"/>
              <a:gd name="T20" fmla="*/ 780 w 3456"/>
              <a:gd name="T21" fmla="*/ 697 h 3456"/>
              <a:gd name="T22" fmla="*/ 459 w 3456"/>
              <a:gd name="T23" fmla="*/ 1134 h 3456"/>
              <a:gd name="T24" fmla="*/ 327 w 3456"/>
              <a:gd name="T25" fmla="*/ 1676 h 3456"/>
              <a:gd name="T26" fmla="*/ 421 w 3456"/>
              <a:gd name="T27" fmla="*/ 2235 h 3456"/>
              <a:gd name="T28" fmla="*/ 619 w 3456"/>
              <a:gd name="T29" fmla="*/ 2574 h 3456"/>
              <a:gd name="T30" fmla="*/ 1372 w 3456"/>
              <a:gd name="T31" fmla="*/ 2558 h 3456"/>
              <a:gd name="T32" fmla="*/ 1430 w 3456"/>
              <a:gd name="T33" fmla="*/ 2403 h 3456"/>
              <a:gd name="T34" fmla="*/ 1338 w 3456"/>
              <a:gd name="T35" fmla="*/ 2270 h 3456"/>
              <a:gd name="T36" fmla="*/ 1217 w 3456"/>
              <a:gd name="T37" fmla="*/ 2143 h 3456"/>
              <a:gd name="T38" fmla="*/ 692 w 3456"/>
              <a:gd name="T39" fmla="*/ 2102 h 3456"/>
              <a:gd name="T40" fmla="*/ 730 w 3456"/>
              <a:gd name="T41" fmla="*/ 1086 h 3456"/>
              <a:gd name="T42" fmla="*/ 2286 w 3456"/>
              <a:gd name="T43" fmla="*/ 1126 h 3456"/>
              <a:gd name="T44" fmla="*/ 2325 w 3456"/>
              <a:gd name="T45" fmla="*/ 1322 h 3456"/>
              <a:gd name="T46" fmla="*/ 2790 w 3456"/>
              <a:gd name="T47" fmla="*/ 1197 h 3456"/>
              <a:gd name="T48" fmla="*/ 2777 w 3456"/>
              <a:gd name="T49" fmla="*/ 2052 h 3456"/>
              <a:gd name="T50" fmla="*/ 2308 w 3456"/>
              <a:gd name="T51" fmla="*/ 1920 h 3456"/>
              <a:gd name="T52" fmla="*/ 2275 w 3456"/>
              <a:gd name="T53" fmla="*/ 2122 h 3456"/>
              <a:gd name="T54" fmla="*/ 1950 w 3456"/>
              <a:gd name="T55" fmla="*/ 2152 h 3456"/>
              <a:gd name="T56" fmla="*/ 1812 w 3456"/>
              <a:gd name="T57" fmla="*/ 2297 h 3456"/>
              <a:gd name="T58" fmla="*/ 1755 w 3456"/>
              <a:gd name="T59" fmla="*/ 2776 h 3456"/>
              <a:gd name="T60" fmla="*/ 1676 w 3456"/>
              <a:gd name="T61" fmla="*/ 2897 h 3456"/>
              <a:gd name="T62" fmla="*/ 1193 w 3456"/>
              <a:gd name="T63" fmla="*/ 2926 h 3456"/>
              <a:gd name="T64" fmla="*/ 1188 w 3456"/>
              <a:gd name="T65" fmla="*/ 3012 h 3456"/>
              <a:gd name="T66" fmla="*/ 1573 w 3456"/>
              <a:gd name="T67" fmla="*/ 3122 h 3456"/>
              <a:gd name="T68" fmla="*/ 2139 w 3456"/>
              <a:gd name="T69" fmla="*/ 3069 h 3456"/>
              <a:gd name="T70" fmla="*/ 2620 w 3456"/>
              <a:gd name="T71" fmla="*/ 2807 h 3456"/>
              <a:gd name="T72" fmla="*/ 2966 w 3456"/>
              <a:gd name="T73" fmla="*/ 2385 h 3456"/>
              <a:gd name="T74" fmla="*/ 3125 w 3456"/>
              <a:gd name="T75" fmla="*/ 1849 h 3456"/>
              <a:gd name="T76" fmla="*/ 3063 w 3456"/>
              <a:gd name="T77" fmla="*/ 1299 h 3456"/>
              <a:gd name="T78" fmla="*/ 2808 w 3456"/>
              <a:gd name="T79" fmla="*/ 834 h 3456"/>
              <a:gd name="T80" fmla="*/ 2402 w 3456"/>
              <a:gd name="T81" fmla="*/ 499 h 3456"/>
              <a:gd name="T82" fmla="*/ 1889 w 3456"/>
              <a:gd name="T83" fmla="*/ 335 h 3456"/>
              <a:gd name="T84" fmla="*/ 2038 w 3456"/>
              <a:gd name="T85" fmla="*/ 28 h 3456"/>
              <a:gd name="T86" fmla="*/ 2599 w 3456"/>
              <a:gd name="T87" fmla="*/ 237 h 3456"/>
              <a:gd name="T88" fmla="*/ 3049 w 3456"/>
              <a:gd name="T89" fmla="*/ 616 h 3456"/>
              <a:gd name="T90" fmla="*/ 3348 w 3456"/>
              <a:gd name="T91" fmla="*/ 1126 h 3456"/>
              <a:gd name="T92" fmla="*/ 3456 w 3456"/>
              <a:gd name="T93" fmla="*/ 1728 h 3456"/>
              <a:gd name="T94" fmla="*/ 3348 w 3456"/>
              <a:gd name="T95" fmla="*/ 2330 h 3456"/>
              <a:gd name="T96" fmla="*/ 3049 w 3456"/>
              <a:gd name="T97" fmla="*/ 2840 h 3456"/>
              <a:gd name="T98" fmla="*/ 2599 w 3456"/>
              <a:gd name="T99" fmla="*/ 3219 h 3456"/>
              <a:gd name="T100" fmla="*/ 2038 w 3456"/>
              <a:gd name="T101" fmla="*/ 3428 h 3456"/>
              <a:gd name="T102" fmla="*/ 1418 w 3456"/>
              <a:gd name="T103" fmla="*/ 3428 h 3456"/>
              <a:gd name="T104" fmla="*/ 857 w 3456"/>
              <a:gd name="T105" fmla="*/ 3219 h 3456"/>
              <a:gd name="T106" fmla="*/ 407 w 3456"/>
              <a:gd name="T107" fmla="*/ 2840 h 3456"/>
              <a:gd name="T108" fmla="*/ 108 w 3456"/>
              <a:gd name="T109" fmla="*/ 2330 h 3456"/>
              <a:gd name="T110" fmla="*/ 0 w 3456"/>
              <a:gd name="T111" fmla="*/ 1728 h 3456"/>
              <a:gd name="T112" fmla="*/ 108 w 3456"/>
              <a:gd name="T113" fmla="*/ 1126 h 3456"/>
              <a:gd name="T114" fmla="*/ 407 w 3456"/>
              <a:gd name="T115" fmla="*/ 616 h 3456"/>
              <a:gd name="T116" fmla="*/ 857 w 3456"/>
              <a:gd name="T117" fmla="*/ 237 h 3456"/>
              <a:gd name="T118" fmla="*/ 1418 w 3456"/>
              <a:gd name="T119" fmla="*/ 28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56" h="3456">
                <a:moveTo>
                  <a:pt x="1057" y="1328"/>
                </a:moveTo>
                <a:lnTo>
                  <a:pt x="1035" y="1330"/>
                </a:lnTo>
                <a:lnTo>
                  <a:pt x="1014" y="1337"/>
                </a:lnTo>
                <a:lnTo>
                  <a:pt x="995" y="1349"/>
                </a:lnTo>
                <a:lnTo>
                  <a:pt x="980" y="1365"/>
                </a:lnTo>
                <a:lnTo>
                  <a:pt x="968" y="1382"/>
                </a:lnTo>
                <a:lnTo>
                  <a:pt x="960" y="1403"/>
                </a:lnTo>
                <a:lnTo>
                  <a:pt x="958" y="1425"/>
                </a:lnTo>
                <a:lnTo>
                  <a:pt x="960" y="1448"/>
                </a:lnTo>
                <a:lnTo>
                  <a:pt x="968" y="1469"/>
                </a:lnTo>
                <a:lnTo>
                  <a:pt x="979" y="1487"/>
                </a:lnTo>
                <a:lnTo>
                  <a:pt x="995" y="1503"/>
                </a:lnTo>
                <a:lnTo>
                  <a:pt x="1013" y="1514"/>
                </a:lnTo>
                <a:lnTo>
                  <a:pt x="1034" y="1522"/>
                </a:lnTo>
                <a:lnTo>
                  <a:pt x="1057" y="1525"/>
                </a:lnTo>
                <a:lnTo>
                  <a:pt x="1060" y="1525"/>
                </a:lnTo>
                <a:lnTo>
                  <a:pt x="1071" y="1525"/>
                </a:lnTo>
                <a:lnTo>
                  <a:pt x="1088" y="1525"/>
                </a:lnTo>
                <a:lnTo>
                  <a:pt x="1111" y="1525"/>
                </a:lnTo>
                <a:lnTo>
                  <a:pt x="1140" y="1525"/>
                </a:lnTo>
                <a:lnTo>
                  <a:pt x="1173" y="1525"/>
                </a:lnTo>
                <a:lnTo>
                  <a:pt x="1210" y="1525"/>
                </a:lnTo>
                <a:lnTo>
                  <a:pt x="1248" y="1525"/>
                </a:lnTo>
                <a:lnTo>
                  <a:pt x="1291" y="1525"/>
                </a:lnTo>
                <a:lnTo>
                  <a:pt x="1334" y="1525"/>
                </a:lnTo>
                <a:lnTo>
                  <a:pt x="1379" y="1525"/>
                </a:lnTo>
                <a:lnTo>
                  <a:pt x="1424" y="1525"/>
                </a:lnTo>
                <a:lnTo>
                  <a:pt x="1469" y="1525"/>
                </a:lnTo>
                <a:lnTo>
                  <a:pt x="1513" y="1526"/>
                </a:lnTo>
                <a:lnTo>
                  <a:pt x="1555" y="1526"/>
                </a:lnTo>
                <a:lnTo>
                  <a:pt x="1596" y="1526"/>
                </a:lnTo>
                <a:lnTo>
                  <a:pt x="1633" y="1526"/>
                </a:lnTo>
                <a:lnTo>
                  <a:pt x="1666" y="1526"/>
                </a:lnTo>
                <a:lnTo>
                  <a:pt x="1694" y="1526"/>
                </a:lnTo>
                <a:lnTo>
                  <a:pt x="1719" y="1526"/>
                </a:lnTo>
                <a:lnTo>
                  <a:pt x="1736" y="1526"/>
                </a:lnTo>
                <a:lnTo>
                  <a:pt x="1749" y="1526"/>
                </a:lnTo>
                <a:lnTo>
                  <a:pt x="1753" y="1526"/>
                </a:lnTo>
                <a:lnTo>
                  <a:pt x="1775" y="1524"/>
                </a:lnTo>
                <a:lnTo>
                  <a:pt x="1795" y="1517"/>
                </a:lnTo>
                <a:lnTo>
                  <a:pt x="1812" y="1508"/>
                </a:lnTo>
                <a:lnTo>
                  <a:pt x="1825" y="1496"/>
                </a:lnTo>
                <a:lnTo>
                  <a:pt x="1837" y="1481"/>
                </a:lnTo>
                <a:lnTo>
                  <a:pt x="1845" y="1464"/>
                </a:lnTo>
                <a:lnTo>
                  <a:pt x="1849" y="1447"/>
                </a:lnTo>
                <a:lnTo>
                  <a:pt x="1852" y="1430"/>
                </a:lnTo>
                <a:lnTo>
                  <a:pt x="1849" y="1408"/>
                </a:lnTo>
                <a:lnTo>
                  <a:pt x="1842" y="1387"/>
                </a:lnTo>
                <a:lnTo>
                  <a:pt x="1831" y="1368"/>
                </a:lnTo>
                <a:lnTo>
                  <a:pt x="1815" y="1353"/>
                </a:lnTo>
                <a:lnTo>
                  <a:pt x="1797" y="1342"/>
                </a:lnTo>
                <a:lnTo>
                  <a:pt x="1776" y="1333"/>
                </a:lnTo>
                <a:lnTo>
                  <a:pt x="1753" y="1331"/>
                </a:lnTo>
                <a:lnTo>
                  <a:pt x="1057" y="1328"/>
                </a:lnTo>
                <a:close/>
                <a:moveTo>
                  <a:pt x="1702" y="327"/>
                </a:moveTo>
                <a:lnTo>
                  <a:pt x="1605" y="331"/>
                </a:lnTo>
                <a:lnTo>
                  <a:pt x="1512" y="342"/>
                </a:lnTo>
                <a:lnTo>
                  <a:pt x="1420" y="360"/>
                </a:lnTo>
                <a:lnTo>
                  <a:pt x="1330" y="384"/>
                </a:lnTo>
                <a:lnTo>
                  <a:pt x="1242" y="414"/>
                </a:lnTo>
                <a:lnTo>
                  <a:pt x="1157" y="448"/>
                </a:lnTo>
                <a:lnTo>
                  <a:pt x="1076" y="488"/>
                </a:lnTo>
                <a:lnTo>
                  <a:pt x="996" y="533"/>
                </a:lnTo>
                <a:lnTo>
                  <a:pt x="921" y="583"/>
                </a:lnTo>
                <a:lnTo>
                  <a:pt x="848" y="639"/>
                </a:lnTo>
                <a:lnTo>
                  <a:pt x="780" y="697"/>
                </a:lnTo>
                <a:lnTo>
                  <a:pt x="715" y="761"/>
                </a:lnTo>
                <a:lnTo>
                  <a:pt x="655" y="828"/>
                </a:lnTo>
                <a:lnTo>
                  <a:pt x="598" y="900"/>
                </a:lnTo>
                <a:lnTo>
                  <a:pt x="547" y="975"/>
                </a:lnTo>
                <a:lnTo>
                  <a:pt x="501" y="1053"/>
                </a:lnTo>
                <a:lnTo>
                  <a:pt x="459" y="1134"/>
                </a:lnTo>
                <a:lnTo>
                  <a:pt x="422" y="1218"/>
                </a:lnTo>
                <a:lnTo>
                  <a:pt x="392" y="1306"/>
                </a:lnTo>
                <a:lnTo>
                  <a:pt x="367" y="1395"/>
                </a:lnTo>
                <a:lnTo>
                  <a:pt x="347" y="1487"/>
                </a:lnTo>
                <a:lnTo>
                  <a:pt x="334" y="1580"/>
                </a:lnTo>
                <a:lnTo>
                  <a:pt x="327" y="1676"/>
                </a:lnTo>
                <a:lnTo>
                  <a:pt x="327" y="1774"/>
                </a:lnTo>
                <a:lnTo>
                  <a:pt x="333" y="1870"/>
                </a:lnTo>
                <a:lnTo>
                  <a:pt x="346" y="1965"/>
                </a:lnTo>
                <a:lnTo>
                  <a:pt x="365" y="2057"/>
                </a:lnTo>
                <a:lnTo>
                  <a:pt x="390" y="2147"/>
                </a:lnTo>
                <a:lnTo>
                  <a:pt x="421" y="2235"/>
                </a:lnTo>
                <a:lnTo>
                  <a:pt x="457" y="2320"/>
                </a:lnTo>
                <a:lnTo>
                  <a:pt x="499" y="2401"/>
                </a:lnTo>
                <a:lnTo>
                  <a:pt x="545" y="2480"/>
                </a:lnTo>
                <a:lnTo>
                  <a:pt x="596" y="2555"/>
                </a:lnTo>
                <a:lnTo>
                  <a:pt x="606" y="2566"/>
                </a:lnTo>
                <a:lnTo>
                  <a:pt x="619" y="2574"/>
                </a:lnTo>
                <a:lnTo>
                  <a:pt x="634" y="2579"/>
                </a:lnTo>
                <a:lnTo>
                  <a:pt x="648" y="2582"/>
                </a:lnTo>
                <a:lnTo>
                  <a:pt x="1299" y="2582"/>
                </a:lnTo>
                <a:lnTo>
                  <a:pt x="1325" y="2578"/>
                </a:lnTo>
                <a:lnTo>
                  <a:pt x="1350" y="2571"/>
                </a:lnTo>
                <a:lnTo>
                  <a:pt x="1372" y="2558"/>
                </a:lnTo>
                <a:lnTo>
                  <a:pt x="1391" y="2543"/>
                </a:lnTo>
                <a:lnTo>
                  <a:pt x="1406" y="2524"/>
                </a:lnTo>
                <a:lnTo>
                  <a:pt x="1419" y="2502"/>
                </a:lnTo>
                <a:lnTo>
                  <a:pt x="1426" y="2477"/>
                </a:lnTo>
                <a:lnTo>
                  <a:pt x="1430" y="2451"/>
                </a:lnTo>
                <a:lnTo>
                  <a:pt x="1430" y="2403"/>
                </a:lnTo>
                <a:lnTo>
                  <a:pt x="1426" y="2378"/>
                </a:lnTo>
                <a:lnTo>
                  <a:pt x="1419" y="2354"/>
                </a:lnTo>
                <a:lnTo>
                  <a:pt x="1408" y="2332"/>
                </a:lnTo>
                <a:lnTo>
                  <a:pt x="1392" y="2312"/>
                </a:lnTo>
                <a:lnTo>
                  <a:pt x="1373" y="2297"/>
                </a:lnTo>
                <a:lnTo>
                  <a:pt x="1338" y="2270"/>
                </a:lnTo>
                <a:lnTo>
                  <a:pt x="1308" y="2241"/>
                </a:lnTo>
                <a:lnTo>
                  <a:pt x="1281" y="2209"/>
                </a:lnTo>
                <a:lnTo>
                  <a:pt x="1257" y="2173"/>
                </a:lnTo>
                <a:lnTo>
                  <a:pt x="1246" y="2159"/>
                </a:lnTo>
                <a:lnTo>
                  <a:pt x="1233" y="2149"/>
                </a:lnTo>
                <a:lnTo>
                  <a:pt x="1217" y="2143"/>
                </a:lnTo>
                <a:lnTo>
                  <a:pt x="1200" y="2141"/>
                </a:lnTo>
                <a:lnTo>
                  <a:pt x="744" y="2139"/>
                </a:lnTo>
                <a:lnTo>
                  <a:pt x="727" y="2136"/>
                </a:lnTo>
                <a:lnTo>
                  <a:pt x="711" y="2128"/>
                </a:lnTo>
                <a:lnTo>
                  <a:pt x="700" y="2117"/>
                </a:lnTo>
                <a:lnTo>
                  <a:pt x="692" y="2102"/>
                </a:lnTo>
                <a:lnTo>
                  <a:pt x="689" y="2085"/>
                </a:lnTo>
                <a:lnTo>
                  <a:pt x="692" y="1137"/>
                </a:lnTo>
                <a:lnTo>
                  <a:pt x="695" y="1121"/>
                </a:lnTo>
                <a:lnTo>
                  <a:pt x="703" y="1106"/>
                </a:lnTo>
                <a:lnTo>
                  <a:pt x="715" y="1094"/>
                </a:lnTo>
                <a:lnTo>
                  <a:pt x="730" y="1086"/>
                </a:lnTo>
                <a:lnTo>
                  <a:pt x="747" y="1084"/>
                </a:lnTo>
                <a:lnTo>
                  <a:pt x="2235" y="1089"/>
                </a:lnTo>
                <a:lnTo>
                  <a:pt x="2252" y="1091"/>
                </a:lnTo>
                <a:lnTo>
                  <a:pt x="2266" y="1100"/>
                </a:lnTo>
                <a:lnTo>
                  <a:pt x="2278" y="1111"/>
                </a:lnTo>
                <a:lnTo>
                  <a:pt x="2286" y="1126"/>
                </a:lnTo>
                <a:lnTo>
                  <a:pt x="2288" y="1144"/>
                </a:lnTo>
                <a:lnTo>
                  <a:pt x="2288" y="1270"/>
                </a:lnTo>
                <a:lnTo>
                  <a:pt x="2290" y="1287"/>
                </a:lnTo>
                <a:lnTo>
                  <a:pt x="2299" y="1303"/>
                </a:lnTo>
                <a:lnTo>
                  <a:pt x="2310" y="1314"/>
                </a:lnTo>
                <a:lnTo>
                  <a:pt x="2325" y="1322"/>
                </a:lnTo>
                <a:lnTo>
                  <a:pt x="2342" y="1325"/>
                </a:lnTo>
                <a:lnTo>
                  <a:pt x="2737" y="1173"/>
                </a:lnTo>
                <a:lnTo>
                  <a:pt x="2752" y="1173"/>
                </a:lnTo>
                <a:lnTo>
                  <a:pt x="2767" y="1177"/>
                </a:lnTo>
                <a:lnTo>
                  <a:pt x="2781" y="1186"/>
                </a:lnTo>
                <a:lnTo>
                  <a:pt x="2790" y="1197"/>
                </a:lnTo>
                <a:lnTo>
                  <a:pt x="2797" y="1211"/>
                </a:lnTo>
                <a:lnTo>
                  <a:pt x="2799" y="1226"/>
                </a:lnTo>
                <a:lnTo>
                  <a:pt x="2796" y="2010"/>
                </a:lnTo>
                <a:lnTo>
                  <a:pt x="2794" y="2026"/>
                </a:lnTo>
                <a:lnTo>
                  <a:pt x="2788" y="2040"/>
                </a:lnTo>
                <a:lnTo>
                  <a:pt x="2777" y="2052"/>
                </a:lnTo>
                <a:lnTo>
                  <a:pt x="2765" y="2059"/>
                </a:lnTo>
                <a:lnTo>
                  <a:pt x="2749" y="2063"/>
                </a:lnTo>
                <a:lnTo>
                  <a:pt x="2733" y="2063"/>
                </a:lnTo>
                <a:lnTo>
                  <a:pt x="2341" y="1909"/>
                </a:lnTo>
                <a:lnTo>
                  <a:pt x="2323" y="1911"/>
                </a:lnTo>
                <a:lnTo>
                  <a:pt x="2308" y="1920"/>
                </a:lnTo>
                <a:lnTo>
                  <a:pt x="2297" y="1931"/>
                </a:lnTo>
                <a:lnTo>
                  <a:pt x="2289" y="1946"/>
                </a:lnTo>
                <a:lnTo>
                  <a:pt x="2286" y="1963"/>
                </a:lnTo>
                <a:lnTo>
                  <a:pt x="2285" y="2090"/>
                </a:lnTo>
                <a:lnTo>
                  <a:pt x="2283" y="2107"/>
                </a:lnTo>
                <a:lnTo>
                  <a:pt x="2275" y="2122"/>
                </a:lnTo>
                <a:lnTo>
                  <a:pt x="2263" y="2133"/>
                </a:lnTo>
                <a:lnTo>
                  <a:pt x="2248" y="2142"/>
                </a:lnTo>
                <a:lnTo>
                  <a:pt x="2232" y="2144"/>
                </a:lnTo>
                <a:lnTo>
                  <a:pt x="1982" y="2143"/>
                </a:lnTo>
                <a:lnTo>
                  <a:pt x="1966" y="2146"/>
                </a:lnTo>
                <a:lnTo>
                  <a:pt x="1950" y="2152"/>
                </a:lnTo>
                <a:lnTo>
                  <a:pt x="1937" y="2163"/>
                </a:lnTo>
                <a:lnTo>
                  <a:pt x="1926" y="2175"/>
                </a:lnTo>
                <a:lnTo>
                  <a:pt x="1903" y="2211"/>
                </a:lnTo>
                <a:lnTo>
                  <a:pt x="1876" y="2242"/>
                </a:lnTo>
                <a:lnTo>
                  <a:pt x="1845" y="2270"/>
                </a:lnTo>
                <a:lnTo>
                  <a:pt x="1812" y="2297"/>
                </a:lnTo>
                <a:lnTo>
                  <a:pt x="1792" y="2312"/>
                </a:lnTo>
                <a:lnTo>
                  <a:pt x="1776" y="2332"/>
                </a:lnTo>
                <a:lnTo>
                  <a:pt x="1765" y="2354"/>
                </a:lnTo>
                <a:lnTo>
                  <a:pt x="1757" y="2378"/>
                </a:lnTo>
                <a:lnTo>
                  <a:pt x="1755" y="2403"/>
                </a:lnTo>
                <a:lnTo>
                  <a:pt x="1755" y="2776"/>
                </a:lnTo>
                <a:lnTo>
                  <a:pt x="1752" y="2804"/>
                </a:lnTo>
                <a:lnTo>
                  <a:pt x="1745" y="2828"/>
                </a:lnTo>
                <a:lnTo>
                  <a:pt x="1733" y="2850"/>
                </a:lnTo>
                <a:lnTo>
                  <a:pt x="1716" y="2868"/>
                </a:lnTo>
                <a:lnTo>
                  <a:pt x="1698" y="2885"/>
                </a:lnTo>
                <a:lnTo>
                  <a:pt x="1676" y="2897"/>
                </a:lnTo>
                <a:lnTo>
                  <a:pt x="1652" y="2904"/>
                </a:lnTo>
                <a:lnTo>
                  <a:pt x="1624" y="2907"/>
                </a:lnTo>
                <a:lnTo>
                  <a:pt x="1240" y="2907"/>
                </a:lnTo>
                <a:lnTo>
                  <a:pt x="1221" y="2909"/>
                </a:lnTo>
                <a:lnTo>
                  <a:pt x="1205" y="2916"/>
                </a:lnTo>
                <a:lnTo>
                  <a:pt x="1193" y="2926"/>
                </a:lnTo>
                <a:lnTo>
                  <a:pt x="1183" y="2939"/>
                </a:lnTo>
                <a:lnTo>
                  <a:pt x="1177" y="2952"/>
                </a:lnTo>
                <a:lnTo>
                  <a:pt x="1174" y="2968"/>
                </a:lnTo>
                <a:lnTo>
                  <a:pt x="1175" y="2984"/>
                </a:lnTo>
                <a:lnTo>
                  <a:pt x="1179" y="2998"/>
                </a:lnTo>
                <a:lnTo>
                  <a:pt x="1188" y="3012"/>
                </a:lnTo>
                <a:lnTo>
                  <a:pt x="1199" y="3025"/>
                </a:lnTo>
                <a:lnTo>
                  <a:pt x="1215" y="3033"/>
                </a:lnTo>
                <a:lnTo>
                  <a:pt x="1301" y="3063"/>
                </a:lnTo>
                <a:lnTo>
                  <a:pt x="1390" y="3088"/>
                </a:lnTo>
                <a:lnTo>
                  <a:pt x="1480" y="3108"/>
                </a:lnTo>
                <a:lnTo>
                  <a:pt x="1573" y="3122"/>
                </a:lnTo>
                <a:lnTo>
                  <a:pt x="1667" y="3128"/>
                </a:lnTo>
                <a:lnTo>
                  <a:pt x="1764" y="3129"/>
                </a:lnTo>
                <a:lnTo>
                  <a:pt x="1860" y="3124"/>
                </a:lnTo>
                <a:lnTo>
                  <a:pt x="1955" y="3111"/>
                </a:lnTo>
                <a:lnTo>
                  <a:pt x="2047" y="3093"/>
                </a:lnTo>
                <a:lnTo>
                  <a:pt x="2139" y="3069"/>
                </a:lnTo>
                <a:lnTo>
                  <a:pt x="2227" y="3038"/>
                </a:lnTo>
                <a:lnTo>
                  <a:pt x="2311" y="3003"/>
                </a:lnTo>
                <a:lnTo>
                  <a:pt x="2394" y="2961"/>
                </a:lnTo>
                <a:lnTo>
                  <a:pt x="2473" y="2915"/>
                </a:lnTo>
                <a:lnTo>
                  <a:pt x="2548" y="2863"/>
                </a:lnTo>
                <a:lnTo>
                  <a:pt x="2620" y="2807"/>
                </a:lnTo>
                <a:lnTo>
                  <a:pt x="2689" y="2746"/>
                </a:lnTo>
                <a:lnTo>
                  <a:pt x="2753" y="2681"/>
                </a:lnTo>
                <a:lnTo>
                  <a:pt x="2813" y="2613"/>
                </a:lnTo>
                <a:lnTo>
                  <a:pt x="2868" y="2540"/>
                </a:lnTo>
                <a:lnTo>
                  <a:pt x="2920" y="2464"/>
                </a:lnTo>
                <a:lnTo>
                  <a:pt x="2966" y="2385"/>
                </a:lnTo>
                <a:lnTo>
                  <a:pt x="3007" y="2302"/>
                </a:lnTo>
                <a:lnTo>
                  <a:pt x="3041" y="2216"/>
                </a:lnTo>
                <a:lnTo>
                  <a:pt x="3072" y="2128"/>
                </a:lnTo>
                <a:lnTo>
                  <a:pt x="3096" y="2037"/>
                </a:lnTo>
                <a:lnTo>
                  <a:pt x="3114" y="1945"/>
                </a:lnTo>
                <a:lnTo>
                  <a:pt x="3125" y="1849"/>
                </a:lnTo>
                <a:lnTo>
                  <a:pt x="3129" y="1753"/>
                </a:lnTo>
                <a:lnTo>
                  <a:pt x="3128" y="1659"/>
                </a:lnTo>
                <a:lnTo>
                  <a:pt x="3121" y="1566"/>
                </a:lnTo>
                <a:lnTo>
                  <a:pt x="3107" y="1475"/>
                </a:lnTo>
                <a:lnTo>
                  <a:pt x="3087" y="1386"/>
                </a:lnTo>
                <a:lnTo>
                  <a:pt x="3063" y="1299"/>
                </a:lnTo>
                <a:lnTo>
                  <a:pt x="3033" y="1214"/>
                </a:lnTo>
                <a:lnTo>
                  <a:pt x="2997" y="1132"/>
                </a:lnTo>
                <a:lnTo>
                  <a:pt x="2956" y="1053"/>
                </a:lnTo>
                <a:lnTo>
                  <a:pt x="2911" y="976"/>
                </a:lnTo>
                <a:lnTo>
                  <a:pt x="2862" y="904"/>
                </a:lnTo>
                <a:lnTo>
                  <a:pt x="2808" y="834"/>
                </a:lnTo>
                <a:lnTo>
                  <a:pt x="2749" y="768"/>
                </a:lnTo>
                <a:lnTo>
                  <a:pt x="2687" y="706"/>
                </a:lnTo>
                <a:lnTo>
                  <a:pt x="2621" y="647"/>
                </a:lnTo>
                <a:lnTo>
                  <a:pt x="2552" y="594"/>
                </a:lnTo>
                <a:lnTo>
                  <a:pt x="2479" y="544"/>
                </a:lnTo>
                <a:lnTo>
                  <a:pt x="2402" y="499"/>
                </a:lnTo>
                <a:lnTo>
                  <a:pt x="2323" y="459"/>
                </a:lnTo>
                <a:lnTo>
                  <a:pt x="2241" y="423"/>
                </a:lnTo>
                <a:lnTo>
                  <a:pt x="2156" y="393"/>
                </a:lnTo>
                <a:lnTo>
                  <a:pt x="2069" y="368"/>
                </a:lnTo>
                <a:lnTo>
                  <a:pt x="1980" y="349"/>
                </a:lnTo>
                <a:lnTo>
                  <a:pt x="1889" y="335"/>
                </a:lnTo>
                <a:lnTo>
                  <a:pt x="1796" y="328"/>
                </a:lnTo>
                <a:lnTo>
                  <a:pt x="1702" y="327"/>
                </a:lnTo>
                <a:close/>
                <a:moveTo>
                  <a:pt x="1728" y="0"/>
                </a:moveTo>
                <a:lnTo>
                  <a:pt x="1833" y="3"/>
                </a:lnTo>
                <a:lnTo>
                  <a:pt x="1936" y="13"/>
                </a:lnTo>
                <a:lnTo>
                  <a:pt x="2038" y="28"/>
                </a:lnTo>
                <a:lnTo>
                  <a:pt x="2137" y="49"/>
                </a:lnTo>
                <a:lnTo>
                  <a:pt x="2235" y="76"/>
                </a:lnTo>
                <a:lnTo>
                  <a:pt x="2330" y="108"/>
                </a:lnTo>
                <a:lnTo>
                  <a:pt x="2422" y="146"/>
                </a:lnTo>
                <a:lnTo>
                  <a:pt x="2512" y="189"/>
                </a:lnTo>
                <a:lnTo>
                  <a:pt x="2599" y="237"/>
                </a:lnTo>
                <a:lnTo>
                  <a:pt x="2683" y="289"/>
                </a:lnTo>
                <a:lnTo>
                  <a:pt x="2764" y="346"/>
                </a:lnTo>
                <a:lnTo>
                  <a:pt x="2840" y="407"/>
                </a:lnTo>
                <a:lnTo>
                  <a:pt x="2915" y="472"/>
                </a:lnTo>
                <a:lnTo>
                  <a:pt x="2984" y="541"/>
                </a:lnTo>
                <a:lnTo>
                  <a:pt x="3049" y="616"/>
                </a:lnTo>
                <a:lnTo>
                  <a:pt x="3110" y="692"/>
                </a:lnTo>
                <a:lnTo>
                  <a:pt x="3167" y="773"/>
                </a:lnTo>
                <a:lnTo>
                  <a:pt x="3219" y="857"/>
                </a:lnTo>
                <a:lnTo>
                  <a:pt x="3267" y="944"/>
                </a:lnTo>
                <a:lnTo>
                  <a:pt x="3310" y="1034"/>
                </a:lnTo>
                <a:lnTo>
                  <a:pt x="3348" y="1126"/>
                </a:lnTo>
                <a:lnTo>
                  <a:pt x="3380" y="1221"/>
                </a:lnTo>
                <a:lnTo>
                  <a:pt x="3407" y="1319"/>
                </a:lnTo>
                <a:lnTo>
                  <a:pt x="3428" y="1418"/>
                </a:lnTo>
                <a:lnTo>
                  <a:pt x="3443" y="1520"/>
                </a:lnTo>
                <a:lnTo>
                  <a:pt x="3453" y="1623"/>
                </a:lnTo>
                <a:lnTo>
                  <a:pt x="3456" y="1728"/>
                </a:lnTo>
                <a:lnTo>
                  <a:pt x="3453" y="1833"/>
                </a:lnTo>
                <a:lnTo>
                  <a:pt x="3443" y="1936"/>
                </a:lnTo>
                <a:lnTo>
                  <a:pt x="3428" y="2038"/>
                </a:lnTo>
                <a:lnTo>
                  <a:pt x="3407" y="2137"/>
                </a:lnTo>
                <a:lnTo>
                  <a:pt x="3380" y="2235"/>
                </a:lnTo>
                <a:lnTo>
                  <a:pt x="3348" y="2330"/>
                </a:lnTo>
                <a:lnTo>
                  <a:pt x="3310" y="2422"/>
                </a:lnTo>
                <a:lnTo>
                  <a:pt x="3267" y="2512"/>
                </a:lnTo>
                <a:lnTo>
                  <a:pt x="3219" y="2599"/>
                </a:lnTo>
                <a:lnTo>
                  <a:pt x="3167" y="2683"/>
                </a:lnTo>
                <a:lnTo>
                  <a:pt x="3110" y="2764"/>
                </a:lnTo>
                <a:lnTo>
                  <a:pt x="3049" y="2840"/>
                </a:lnTo>
                <a:lnTo>
                  <a:pt x="2984" y="2915"/>
                </a:lnTo>
                <a:lnTo>
                  <a:pt x="2915" y="2984"/>
                </a:lnTo>
                <a:lnTo>
                  <a:pt x="2840" y="3049"/>
                </a:lnTo>
                <a:lnTo>
                  <a:pt x="2764" y="3110"/>
                </a:lnTo>
                <a:lnTo>
                  <a:pt x="2683" y="3167"/>
                </a:lnTo>
                <a:lnTo>
                  <a:pt x="2599" y="3219"/>
                </a:lnTo>
                <a:lnTo>
                  <a:pt x="2512" y="3267"/>
                </a:lnTo>
                <a:lnTo>
                  <a:pt x="2422" y="3310"/>
                </a:lnTo>
                <a:lnTo>
                  <a:pt x="2330" y="3348"/>
                </a:lnTo>
                <a:lnTo>
                  <a:pt x="2235" y="3380"/>
                </a:lnTo>
                <a:lnTo>
                  <a:pt x="2137" y="3407"/>
                </a:lnTo>
                <a:lnTo>
                  <a:pt x="2038" y="3428"/>
                </a:lnTo>
                <a:lnTo>
                  <a:pt x="1936" y="3443"/>
                </a:lnTo>
                <a:lnTo>
                  <a:pt x="1833" y="3453"/>
                </a:lnTo>
                <a:lnTo>
                  <a:pt x="1728" y="3456"/>
                </a:lnTo>
                <a:lnTo>
                  <a:pt x="1623" y="3453"/>
                </a:lnTo>
                <a:lnTo>
                  <a:pt x="1520" y="3443"/>
                </a:lnTo>
                <a:lnTo>
                  <a:pt x="1418" y="3428"/>
                </a:lnTo>
                <a:lnTo>
                  <a:pt x="1319" y="3407"/>
                </a:lnTo>
                <a:lnTo>
                  <a:pt x="1221" y="3380"/>
                </a:lnTo>
                <a:lnTo>
                  <a:pt x="1126" y="3348"/>
                </a:lnTo>
                <a:lnTo>
                  <a:pt x="1034" y="3310"/>
                </a:lnTo>
                <a:lnTo>
                  <a:pt x="944" y="3267"/>
                </a:lnTo>
                <a:lnTo>
                  <a:pt x="857" y="3219"/>
                </a:lnTo>
                <a:lnTo>
                  <a:pt x="773" y="3167"/>
                </a:lnTo>
                <a:lnTo>
                  <a:pt x="692" y="3110"/>
                </a:lnTo>
                <a:lnTo>
                  <a:pt x="616" y="3049"/>
                </a:lnTo>
                <a:lnTo>
                  <a:pt x="541" y="2984"/>
                </a:lnTo>
                <a:lnTo>
                  <a:pt x="472" y="2915"/>
                </a:lnTo>
                <a:lnTo>
                  <a:pt x="407" y="2840"/>
                </a:lnTo>
                <a:lnTo>
                  <a:pt x="346" y="2764"/>
                </a:lnTo>
                <a:lnTo>
                  <a:pt x="289" y="2683"/>
                </a:lnTo>
                <a:lnTo>
                  <a:pt x="237" y="2599"/>
                </a:lnTo>
                <a:lnTo>
                  <a:pt x="189" y="2512"/>
                </a:lnTo>
                <a:lnTo>
                  <a:pt x="146" y="2422"/>
                </a:lnTo>
                <a:lnTo>
                  <a:pt x="108" y="2330"/>
                </a:lnTo>
                <a:lnTo>
                  <a:pt x="76" y="2235"/>
                </a:lnTo>
                <a:lnTo>
                  <a:pt x="49" y="2137"/>
                </a:lnTo>
                <a:lnTo>
                  <a:pt x="28" y="2038"/>
                </a:lnTo>
                <a:lnTo>
                  <a:pt x="13" y="1936"/>
                </a:lnTo>
                <a:lnTo>
                  <a:pt x="3" y="1833"/>
                </a:lnTo>
                <a:lnTo>
                  <a:pt x="0" y="1728"/>
                </a:lnTo>
                <a:lnTo>
                  <a:pt x="3" y="1623"/>
                </a:lnTo>
                <a:lnTo>
                  <a:pt x="13" y="1520"/>
                </a:lnTo>
                <a:lnTo>
                  <a:pt x="28" y="1418"/>
                </a:lnTo>
                <a:lnTo>
                  <a:pt x="49" y="1319"/>
                </a:lnTo>
                <a:lnTo>
                  <a:pt x="76" y="1221"/>
                </a:lnTo>
                <a:lnTo>
                  <a:pt x="108" y="1126"/>
                </a:lnTo>
                <a:lnTo>
                  <a:pt x="146" y="1034"/>
                </a:lnTo>
                <a:lnTo>
                  <a:pt x="189" y="944"/>
                </a:lnTo>
                <a:lnTo>
                  <a:pt x="237" y="857"/>
                </a:lnTo>
                <a:lnTo>
                  <a:pt x="289" y="773"/>
                </a:lnTo>
                <a:lnTo>
                  <a:pt x="346" y="692"/>
                </a:lnTo>
                <a:lnTo>
                  <a:pt x="407" y="616"/>
                </a:lnTo>
                <a:lnTo>
                  <a:pt x="472" y="541"/>
                </a:lnTo>
                <a:lnTo>
                  <a:pt x="541" y="472"/>
                </a:lnTo>
                <a:lnTo>
                  <a:pt x="616" y="407"/>
                </a:lnTo>
                <a:lnTo>
                  <a:pt x="692" y="346"/>
                </a:lnTo>
                <a:lnTo>
                  <a:pt x="773" y="289"/>
                </a:lnTo>
                <a:lnTo>
                  <a:pt x="857" y="237"/>
                </a:lnTo>
                <a:lnTo>
                  <a:pt x="944" y="189"/>
                </a:lnTo>
                <a:lnTo>
                  <a:pt x="1034" y="146"/>
                </a:lnTo>
                <a:lnTo>
                  <a:pt x="1126" y="108"/>
                </a:lnTo>
                <a:lnTo>
                  <a:pt x="1221" y="76"/>
                </a:lnTo>
                <a:lnTo>
                  <a:pt x="1319" y="49"/>
                </a:lnTo>
                <a:lnTo>
                  <a:pt x="1418" y="28"/>
                </a:lnTo>
                <a:lnTo>
                  <a:pt x="1520" y="13"/>
                </a:lnTo>
                <a:lnTo>
                  <a:pt x="1623" y="3"/>
                </a:lnTo>
                <a:lnTo>
                  <a:pt x="1728" y="0"/>
                </a:lnTo>
                <a:close/>
              </a:path>
            </a:pathLst>
          </a:custGeom>
          <a:solidFill>
            <a:srgbClr val="0067C5">
              <a:lumMod val="75000"/>
            </a:srgbClr>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nvGrpSpPr>
          <p:cNvPr id="47" name="Group 40">
            <a:extLst>
              <a:ext uri="{FF2B5EF4-FFF2-40B4-BE49-F238E27FC236}">
                <a16:creationId xmlns:a16="http://schemas.microsoft.com/office/drawing/2014/main" id="{5F35CF09-6116-4ABC-8DF1-7103E6893B8F}"/>
              </a:ext>
            </a:extLst>
          </p:cNvPr>
          <p:cNvGrpSpPr>
            <a:grpSpLocks noChangeAspect="1"/>
          </p:cNvGrpSpPr>
          <p:nvPr/>
        </p:nvGrpSpPr>
        <p:grpSpPr bwMode="auto">
          <a:xfrm>
            <a:off x="7974375" y="1636423"/>
            <a:ext cx="347958" cy="297919"/>
            <a:chOff x="6365" y="1011"/>
            <a:chExt cx="576" cy="576"/>
          </a:xfrm>
          <a:solidFill>
            <a:srgbClr val="0067C5">
              <a:lumMod val="75000"/>
            </a:srgbClr>
          </a:solidFill>
        </p:grpSpPr>
        <p:sp>
          <p:nvSpPr>
            <p:cNvPr id="48" name="Freeform 42">
              <a:extLst>
                <a:ext uri="{FF2B5EF4-FFF2-40B4-BE49-F238E27FC236}">
                  <a16:creationId xmlns:a16="http://schemas.microsoft.com/office/drawing/2014/main" id="{CC176BC5-19A7-4F84-8AAE-070F33AF8BDE}"/>
                </a:ext>
              </a:extLst>
            </p:cNvPr>
            <p:cNvSpPr>
              <a:spLocks noEditPoints="1"/>
            </p:cNvSpPr>
            <p:nvPr/>
          </p:nvSpPr>
          <p:spPr bwMode="auto">
            <a:xfrm>
              <a:off x="6365" y="1011"/>
              <a:ext cx="576" cy="576"/>
            </a:xfrm>
            <a:custGeom>
              <a:avLst/>
              <a:gdLst>
                <a:gd name="T0" fmla="*/ 1445 w 3456"/>
                <a:gd name="T1" fmla="*/ 355 h 3456"/>
                <a:gd name="T2" fmla="*/ 1100 w 3456"/>
                <a:gd name="T3" fmla="*/ 474 h 3456"/>
                <a:gd name="T4" fmla="*/ 802 w 3456"/>
                <a:gd name="T5" fmla="*/ 675 h 3456"/>
                <a:gd name="T6" fmla="*/ 566 w 3456"/>
                <a:gd name="T7" fmla="*/ 945 h 3456"/>
                <a:gd name="T8" fmla="*/ 403 w 3456"/>
                <a:gd name="T9" fmla="*/ 1267 h 3456"/>
                <a:gd name="T10" fmla="*/ 329 w 3456"/>
                <a:gd name="T11" fmla="*/ 1632 h 3456"/>
                <a:gd name="T12" fmla="*/ 355 w 3456"/>
                <a:gd name="T13" fmla="*/ 2011 h 3456"/>
                <a:gd name="T14" fmla="*/ 474 w 3456"/>
                <a:gd name="T15" fmla="*/ 2356 h 3456"/>
                <a:gd name="T16" fmla="*/ 675 w 3456"/>
                <a:gd name="T17" fmla="*/ 2654 h 3456"/>
                <a:gd name="T18" fmla="*/ 945 w 3456"/>
                <a:gd name="T19" fmla="*/ 2890 h 3456"/>
                <a:gd name="T20" fmla="*/ 1267 w 3456"/>
                <a:gd name="T21" fmla="*/ 3053 h 3456"/>
                <a:gd name="T22" fmla="*/ 1632 w 3456"/>
                <a:gd name="T23" fmla="*/ 3127 h 3456"/>
                <a:gd name="T24" fmla="*/ 2011 w 3456"/>
                <a:gd name="T25" fmla="*/ 3101 h 3456"/>
                <a:gd name="T26" fmla="*/ 2356 w 3456"/>
                <a:gd name="T27" fmla="*/ 2982 h 3456"/>
                <a:gd name="T28" fmla="*/ 2654 w 3456"/>
                <a:gd name="T29" fmla="*/ 2781 h 3456"/>
                <a:gd name="T30" fmla="*/ 2890 w 3456"/>
                <a:gd name="T31" fmla="*/ 2511 h 3456"/>
                <a:gd name="T32" fmla="*/ 3053 w 3456"/>
                <a:gd name="T33" fmla="*/ 2189 h 3456"/>
                <a:gd name="T34" fmla="*/ 3127 w 3456"/>
                <a:gd name="T35" fmla="*/ 1824 h 3456"/>
                <a:gd name="T36" fmla="*/ 3101 w 3456"/>
                <a:gd name="T37" fmla="*/ 1445 h 3456"/>
                <a:gd name="T38" fmla="*/ 2982 w 3456"/>
                <a:gd name="T39" fmla="*/ 1100 h 3456"/>
                <a:gd name="T40" fmla="*/ 2781 w 3456"/>
                <a:gd name="T41" fmla="*/ 802 h 3456"/>
                <a:gd name="T42" fmla="*/ 2511 w 3456"/>
                <a:gd name="T43" fmla="*/ 566 h 3456"/>
                <a:gd name="T44" fmla="*/ 2189 w 3456"/>
                <a:gd name="T45" fmla="*/ 403 h 3456"/>
                <a:gd name="T46" fmla="*/ 1824 w 3456"/>
                <a:gd name="T47" fmla="*/ 329 h 3456"/>
                <a:gd name="T48" fmla="*/ 1936 w 3456"/>
                <a:gd name="T49" fmla="*/ 13 h 3456"/>
                <a:gd name="T50" fmla="*/ 2330 w 3456"/>
                <a:gd name="T51" fmla="*/ 108 h 3456"/>
                <a:gd name="T52" fmla="*/ 2683 w 3456"/>
                <a:gd name="T53" fmla="*/ 289 h 3456"/>
                <a:gd name="T54" fmla="*/ 2984 w 3456"/>
                <a:gd name="T55" fmla="*/ 541 h 3456"/>
                <a:gd name="T56" fmla="*/ 3219 w 3456"/>
                <a:gd name="T57" fmla="*/ 857 h 3456"/>
                <a:gd name="T58" fmla="*/ 3380 w 3456"/>
                <a:gd name="T59" fmla="*/ 1221 h 3456"/>
                <a:gd name="T60" fmla="*/ 3453 w 3456"/>
                <a:gd name="T61" fmla="*/ 1623 h 3456"/>
                <a:gd name="T62" fmla="*/ 3428 w 3456"/>
                <a:gd name="T63" fmla="*/ 2038 h 3456"/>
                <a:gd name="T64" fmla="*/ 3310 w 3456"/>
                <a:gd name="T65" fmla="*/ 2422 h 3456"/>
                <a:gd name="T66" fmla="*/ 3110 w 3456"/>
                <a:gd name="T67" fmla="*/ 2764 h 3456"/>
                <a:gd name="T68" fmla="*/ 2840 w 3456"/>
                <a:gd name="T69" fmla="*/ 3049 h 3456"/>
                <a:gd name="T70" fmla="*/ 2512 w 3456"/>
                <a:gd name="T71" fmla="*/ 3267 h 3456"/>
                <a:gd name="T72" fmla="*/ 2137 w 3456"/>
                <a:gd name="T73" fmla="*/ 3407 h 3456"/>
                <a:gd name="T74" fmla="*/ 1728 w 3456"/>
                <a:gd name="T75" fmla="*/ 3456 h 3456"/>
                <a:gd name="T76" fmla="*/ 1319 w 3456"/>
                <a:gd name="T77" fmla="*/ 3407 h 3456"/>
                <a:gd name="T78" fmla="*/ 944 w 3456"/>
                <a:gd name="T79" fmla="*/ 3267 h 3456"/>
                <a:gd name="T80" fmla="*/ 616 w 3456"/>
                <a:gd name="T81" fmla="*/ 3049 h 3456"/>
                <a:gd name="T82" fmla="*/ 346 w 3456"/>
                <a:gd name="T83" fmla="*/ 2764 h 3456"/>
                <a:gd name="T84" fmla="*/ 146 w 3456"/>
                <a:gd name="T85" fmla="*/ 2422 h 3456"/>
                <a:gd name="T86" fmla="*/ 28 w 3456"/>
                <a:gd name="T87" fmla="*/ 2038 h 3456"/>
                <a:gd name="T88" fmla="*/ 3 w 3456"/>
                <a:gd name="T89" fmla="*/ 1623 h 3456"/>
                <a:gd name="T90" fmla="*/ 76 w 3456"/>
                <a:gd name="T91" fmla="*/ 1221 h 3456"/>
                <a:gd name="T92" fmla="*/ 237 w 3456"/>
                <a:gd name="T93" fmla="*/ 857 h 3456"/>
                <a:gd name="T94" fmla="*/ 472 w 3456"/>
                <a:gd name="T95" fmla="*/ 541 h 3456"/>
                <a:gd name="T96" fmla="*/ 773 w 3456"/>
                <a:gd name="T97" fmla="*/ 289 h 3456"/>
                <a:gd name="T98" fmla="*/ 1126 w 3456"/>
                <a:gd name="T99" fmla="*/ 108 h 3456"/>
                <a:gd name="T100" fmla="*/ 1520 w 3456"/>
                <a:gd name="T101" fmla="*/ 1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56" h="3456">
                  <a:moveTo>
                    <a:pt x="1728" y="326"/>
                  </a:moveTo>
                  <a:lnTo>
                    <a:pt x="1632" y="329"/>
                  </a:lnTo>
                  <a:lnTo>
                    <a:pt x="1537" y="339"/>
                  </a:lnTo>
                  <a:lnTo>
                    <a:pt x="1445" y="355"/>
                  </a:lnTo>
                  <a:lnTo>
                    <a:pt x="1355" y="376"/>
                  </a:lnTo>
                  <a:lnTo>
                    <a:pt x="1267" y="403"/>
                  </a:lnTo>
                  <a:lnTo>
                    <a:pt x="1182" y="437"/>
                  </a:lnTo>
                  <a:lnTo>
                    <a:pt x="1100" y="474"/>
                  </a:lnTo>
                  <a:lnTo>
                    <a:pt x="1020" y="517"/>
                  </a:lnTo>
                  <a:lnTo>
                    <a:pt x="945" y="566"/>
                  </a:lnTo>
                  <a:lnTo>
                    <a:pt x="871" y="618"/>
                  </a:lnTo>
                  <a:lnTo>
                    <a:pt x="802" y="675"/>
                  </a:lnTo>
                  <a:lnTo>
                    <a:pt x="736" y="736"/>
                  </a:lnTo>
                  <a:lnTo>
                    <a:pt x="675" y="802"/>
                  </a:lnTo>
                  <a:lnTo>
                    <a:pt x="618" y="871"/>
                  </a:lnTo>
                  <a:lnTo>
                    <a:pt x="566" y="945"/>
                  </a:lnTo>
                  <a:lnTo>
                    <a:pt x="517" y="1020"/>
                  </a:lnTo>
                  <a:lnTo>
                    <a:pt x="474" y="1100"/>
                  </a:lnTo>
                  <a:lnTo>
                    <a:pt x="437" y="1182"/>
                  </a:lnTo>
                  <a:lnTo>
                    <a:pt x="403" y="1267"/>
                  </a:lnTo>
                  <a:lnTo>
                    <a:pt x="376" y="1355"/>
                  </a:lnTo>
                  <a:lnTo>
                    <a:pt x="355" y="1445"/>
                  </a:lnTo>
                  <a:lnTo>
                    <a:pt x="339" y="1537"/>
                  </a:lnTo>
                  <a:lnTo>
                    <a:pt x="329" y="1632"/>
                  </a:lnTo>
                  <a:lnTo>
                    <a:pt x="326" y="1728"/>
                  </a:lnTo>
                  <a:lnTo>
                    <a:pt x="329" y="1824"/>
                  </a:lnTo>
                  <a:lnTo>
                    <a:pt x="339" y="1919"/>
                  </a:lnTo>
                  <a:lnTo>
                    <a:pt x="355" y="2011"/>
                  </a:lnTo>
                  <a:lnTo>
                    <a:pt x="376" y="2101"/>
                  </a:lnTo>
                  <a:lnTo>
                    <a:pt x="403" y="2189"/>
                  </a:lnTo>
                  <a:lnTo>
                    <a:pt x="437" y="2274"/>
                  </a:lnTo>
                  <a:lnTo>
                    <a:pt x="474" y="2356"/>
                  </a:lnTo>
                  <a:lnTo>
                    <a:pt x="517" y="2436"/>
                  </a:lnTo>
                  <a:lnTo>
                    <a:pt x="566" y="2511"/>
                  </a:lnTo>
                  <a:lnTo>
                    <a:pt x="618" y="2585"/>
                  </a:lnTo>
                  <a:lnTo>
                    <a:pt x="675" y="2654"/>
                  </a:lnTo>
                  <a:lnTo>
                    <a:pt x="736" y="2720"/>
                  </a:lnTo>
                  <a:lnTo>
                    <a:pt x="802" y="2781"/>
                  </a:lnTo>
                  <a:lnTo>
                    <a:pt x="871" y="2838"/>
                  </a:lnTo>
                  <a:lnTo>
                    <a:pt x="945" y="2890"/>
                  </a:lnTo>
                  <a:lnTo>
                    <a:pt x="1020" y="2939"/>
                  </a:lnTo>
                  <a:lnTo>
                    <a:pt x="1100" y="2982"/>
                  </a:lnTo>
                  <a:lnTo>
                    <a:pt x="1182" y="3019"/>
                  </a:lnTo>
                  <a:lnTo>
                    <a:pt x="1267" y="3053"/>
                  </a:lnTo>
                  <a:lnTo>
                    <a:pt x="1355" y="3080"/>
                  </a:lnTo>
                  <a:lnTo>
                    <a:pt x="1445" y="3101"/>
                  </a:lnTo>
                  <a:lnTo>
                    <a:pt x="1537" y="3117"/>
                  </a:lnTo>
                  <a:lnTo>
                    <a:pt x="1632" y="3127"/>
                  </a:lnTo>
                  <a:lnTo>
                    <a:pt x="1728" y="3130"/>
                  </a:lnTo>
                  <a:lnTo>
                    <a:pt x="1824" y="3127"/>
                  </a:lnTo>
                  <a:lnTo>
                    <a:pt x="1919" y="3117"/>
                  </a:lnTo>
                  <a:lnTo>
                    <a:pt x="2011" y="3101"/>
                  </a:lnTo>
                  <a:lnTo>
                    <a:pt x="2101" y="3080"/>
                  </a:lnTo>
                  <a:lnTo>
                    <a:pt x="2189" y="3053"/>
                  </a:lnTo>
                  <a:lnTo>
                    <a:pt x="2274" y="3019"/>
                  </a:lnTo>
                  <a:lnTo>
                    <a:pt x="2356" y="2982"/>
                  </a:lnTo>
                  <a:lnTo>
                    <a:pt x="2436" y="2939"/>
                  </a:lnTo>
                  <a:lnTo>
                    <a:pt x="2511" y="2890"/>
                  </a:lnTo>
                  <a:lnTo>
                    <a:pt x="2585" y="2838"/>
                  </a:lnTo>
                  <a:lnTo>
                    <a:pt x="2654" y="2781"/>
                  </a:lnTo>
                  <a:lnTo>
                    <a:pt x="2720" y="2720"/>
                  </a:lnTo>
                  <a:lnTo>
                    <a:pt x="2781" y="2654"/>
                  </a:lnTo>
                  <a:lnTo>
                    <a:pt x="2838" y="2585"/>
                  </a:lnTo>
                  <a:lnTo>
                    <a:pt x="2890" y="2511"/>
                  </a:lnTo>
                  <a:lnTo>
                    <a:pt x="2939" y="2436"/>
                  </a:lnTo>
                  <a:lnTo>
                    <a:pt x="2982" y="2356"/>
                  </a:lnTo>
                  <a:lnTo>
                    <a:pt x="3019" y="2274"/>
                  </a:lnTo>
                  <a:lnTo>
                    <a:pt x="3053" y="2189"/>
                  </a:lnTo>
                  <a:lnTo>
                    <a:pt x="3080" y="2101"/>
                  </a:lnTo>
                  <a:lnTo>
                    <a:pt x="3101" y="2011"/>
                  </a:lnTo>
                  <a:lnTo>
                    <a:pt x="3117" y="1919"/>
                  </a:lnTo>
                  <a:lnTo>
                    <a:pt x="3127" y="1824"/>
                  </a:lnTo>
                  <a:lnTo>
                    <a:pt x="3130" y="1728"/>
                  </a:lnTo>
                  <a:lnTo>
                    <a:pt x="3127" y="1632"/>
                  </a:lnTo>
                  <a:lnTo>
                    <a:pt x="3117" y="1537"/>
                  </a:lnTo>
                  <a:lnTo>
                    <a:pt x="3101" y="1445"/>
                  </a:lnTo>
                  <a:lnTo>
                    <a:pt x="3080" y="1355"/>
                  </a:lnTo>
                  <a:lnTo>
                    <a:pt x="3053" y="1267"/>
                  </a:lnTo>
                  <a:lnTo>
                    <a:pt x="3019" y="1182"/>
                  </a:lnTo>
                  <a:lnTo>
                    <a:pt x="2982" y="1100"/>
                  </a:lnTo>
                  <a:lnTo>
                    <a:pt x="2939" y="1020"/>
                  </a:lnTo>
                  <a:lnTo>
                    <a:pt x="2890" y="945"/>
                  </a:lnTo>
                  <a:lnTo>
                    <a:pt x="2838" y="871"/>
                  </a:lnTo>
                  <a:lnTo>
                    <a:pt x="2781" y="802"/>
                  </a:lnTo>
                  <a:lnTo>
                    <a:pt x="2720" y="736"/>
                  </a:lnTo>
                  <a:lnTo>
                    <a:pt x="2654" y="675"/>
                  </a:lnTo>
                  <a:lnTo>
                    <a:pt x="2585" y="618"/>
                  </a:lnTo>
                  <a:lnTo>
                    <a:pt x="2511" y="566"/>
                  </a:lnTo>
                  <a:lnTo>
                    <a:pt x="2436" y="517"/>
                  </a:lnTo>
                  <a:lnTo>
                    <a:pt x="2356" y="474"/>
                  </a:lnTo>
                  <a:lnTo>
                    <a:pt x="2274" y="437"/>
                  </a:lnTo>
                  <a:lnTo>
                    <a:pt x="2189" y="403"/>
                  </a:lnTo>
                  <a:lnTo>
                    <a:pt x="2101" y="376"/>
                  </a:lnTo>
                  <a:lnTo>
                    <a:pt x="2011" y="355"/>
                  </a:lnTo>
                  <a:lnTo>
                    <a:pt x="1919" y="339"/>
                  </a:lnTo>
                  <a:lnTo>
                    <a:pt x="1824" y="329"/>
                  </a:lnTo>
                  <a:lnTo>
                    <a:pt x="1728" y="326"/>
                  </a:lnTo>
                  <a:close/>
                  <a:moveTo>
                    <a:pt x="1728" y="0"/>
                  </a:moveTo>
                  <a:lnTo>
                    <a:pt x="1833" y="3"/>
                  </a:lnTo>
                  <a:lnTo>
                    <a:pt x="1936" y="13"/>
                  </a:lnTo>
                  <a:lnTo>
                    <a:pt x="2038" y="28"/>
                  </a:lnTo>
                  <a:lnTo>
                    <a:pt x="2137" y="49"/>
                  </a:lnTo>
                  <a:lnTo>
                    <a:pt x="2235" y="76"/>
                  </a:lnTo>
                  <a:lnTo>
                    <a:pt x="2330" y="108"/>
                  </a:lnTo>
                  <a:lnTo>
                    <a:pt x="2422" y="146"/>
                  </a:lnTo>
                  <a:lnTo>
                    <a:pt x="2512" y="189"/>
                  </a:lnTo>
                  <a:lnTo>
                    <a:pt x="2599" y="237"/>
                  </a:lnTo>
                  <a:lnTo>
                    <a:pt x="2683" y="289"/>
                  </a:lnTo>
                  <a:lnTo>
                    <a:pt x="2764" y="346"/>
                  </a:lnTo>
                  <a:lnTo>
                    <a:pt x="2840" y="407"/>
                  </a:lnTo>
                  <a:lnTo>
                    <a:pt x="2915" y="472"/>
                  </a:lnTo>
                  <a:lnTo>
                    <a:pt x="2984" y="541"/>
                  </a:lnTo>
                  <a:lnTo>
                    <a:pt x="3049" y="616"/>
                  </a:lnTo>
                  <a:lnTo>
                    <a:pt x="3110" y="692"/>
                  </a:lnTo>
                  <a:lnTo>
                    <a:pt x="3167" y="773"/>
                  </a:lnTo>
                  <a:lnTo>
                    <a:pt x="3219" y="857"/>
                  </a:lnTo>
                  <a:lnTo>
                    <a:pt x="3267" y="944"/>
                  </a:lnTo>
                  <a:lnTo>
                    <a:pt x="3310" y="1034"/>
                  </a:lnTo>
                  <a:lnTo>
                    <a:pt x="3348" y="1126"/>
                  </a:lnTo>
                  <a:lnTo>
                    <a:pt x="3380" y="1221"/>
                  </a:lnTo>
                  <a:lnTo>
                    <a:pt x="3407" y="1319"/>
                  </a:lnTo>
                  <a:lnTo>
                    <a:pt x="3428" y="1418"/>
                  </a:lnTo>
                  <a:lnTo>
                    <a:pt x="3443" y="1520"/>
                  </a:lnTo>
                  <a:lnTo>
                    <a:pt x="3453" y="1623"/>
                  </a:lnTo>
                  <a:lnTo>
                    <a:pt x="3456" y="1728"/>
                  </a:lnTo>
                  <a:lnTo>
                    <a:pt x="3453" y="1833"/>
                  </a:lnTo>
                  <a:lnTo>
                    <a:pt x="3443" y="1936"/>
                  </a:lnTo>
                  <a:lnTo>
                    <a:pt x="3428" y="2038"/>
                  </a:lnTo>
                  <a:lnTo>
                    <a:pt x="3407" y="2137"/>
                  </a:lnTo>
                  <a:lnTo>
                    <a:pt x="3380" y="2235"/>
                  </a:lnTo>
                  <a:lnTo>
                    <a:pt x="3348" y="2330"/>
                  </a:lnTo>
                  <a:lnTo>
                    <a:pt x="3310" y="2422"/>
                  </a:lnTo>
                  <a:lnTo>
                    <a:pt x="3267" y="2512"/>
                  </a:lnTo>
                  <a:lnTo>
                    <a:pt x="3219" y="2599"/>
                  </a:lnTo>
                  <a:lnTo>
                    <a:pt x="3167" y="2683"/>
                  </a:lnTo>
                  <a:lnTo>
                    <a:pt x="3110" y="2764"/>
                  </a:lnTo>
                  <a:lnTo>
                    <a:pt x="3049" y="2840"/>
                  </a:lnTo>
                  <a:lnTo>
                    <a:pt x="2984" y="2915"/>
                  </a:lnTo>
                  <a:lnTo>
                    <a:pt x="2915" y="2984"/>
                  </a:lnTo>
                  <a:lnTo>
                    <a:pt x="2840" y="3049"/>
                  </a:lnTo>
                  <a:lnTo>
                    <a:pt x="2764" y="3110"/>
                  </a:lnTo>
                  <a:lnTo>
                    <a:pt x="2683" y="3167"/>
                  </a:lnTo>
                  <a:lnTo>
                    <a:pt x="2599" y="3219"/>
                  </a:lnTo>
                  <a:lnTo>
                    <a:pt x="2512" y="3267"/>
                  </a:lnTo>
                  <a:lnTo>
                    <a:pt x="2422" y="3310"/>
                  </a:lnTo>
                  <a:lnTo>
                    <a:pt x="2330" y="3348"/>
                  </a:lnTo>
                  <a:lnTo>
                    <a:pt x="2235" y="3380"/>
                  </a:lnTo>
                  <a:lnTo>
                    <a:pt x="2137" y="3407"/>
                  </a:lnTo>
                  <a:lnTo>
                    <a:pt x="2038" y="3428"/>
                  </a:lnTo>
                  <a:lnTo>
                    <a:pt x="1936" y="3443"/>
                  </a:lnTo>
                  <a:lnTo>
                    <a:pt x="1833" y="3453"/>
                  </a:lnTo>
                  <a:lnTo>
                    <a:pt x="1728" y="3456"/>
                  </a:lnTo>
                  <a:lnTo>
                    <a:pt x="1623" y="3453"/>
                  </a:lnTo>
                  <a:lnTo>
                    <a:pt x="1520" y="3443"/>
                  </a:lnTo>
                  <a:lnTo>
                    <a:pt x="1418" y="3428"/>
                  </a:lnTo>
                  <a:lnTo>
                    <a:pt x="1319" y="3407"/>
                  </a:lnTo>
                  <a:lnTo>
                    <a:pt x="1221" y="3380"/>
                  </a:lnTo>
                  <a:lnTo>
                    <a:pt x="1126" y="3348"/>
                  </a:lnTo>
                  <a:lnTo>
                    <a:pt x="1034" y="3310"/>
                  </a:lnTo>
                  <a:lnTo>
                    <a:pt x="944" y="3267"/>
                  </a:lnTo>
                  <a:lnTo>
                    <a:pt x="857" y="3219"/>
                  </a:lnTo>
                  <a:lnTo>
                    <a:pt x="773" y="3167"/>
                  </a:lnTo>
                  <a:lnTo>
                    <a:pt x="692" y="3110"/>
                  </a:lnTo>
                  <a:lnTo>
                    <a:pt x="616" y="3049"/>
                  </a:lnTo>
                  <a:lnTo>
                    <a:pt x="541" y="2984"/>
                  </a:lnTo>
                  <a:lnTo>
                    <a:pt x="472" y="2915"/>
                  </a:lnTo>
                  <a:lnTo>
                    <a:pt x="407" y="2840"/>
                  </a:lnTo>
                  <a:lnTo>
                    <a:pt x="346" y="2764"/>
                  </a:lnTo>
                  <a:lnTo>
                    <a:pt x="289" y="2683"/>
                  </a:lnTo>
                  <a:lnTo>
                    <a:pt x="237" y="2599"/>
                  </a:lnTo>
                  <a:lnTo>
                    <a:pt x="189" y="2512"/>
                  </a:lnTo>
                  <a:lnTo>
                    <a:pt x="146" y="2422"/>
                  </a:lnTo>
                  <a:lnTo>
                    <a:pt x="108" y="2330"/>
                  </a:lnTo>
                  <a:lnTo>
                    <a:pt x="76" y="2235"/>
                  </a:lnTo>
                  <a:lnTo>
                    <a:pt x="49" y="2137"/>
                  </a:lnTo>
                  <a:lnTo>
                    <a:pt x="28" y="2038"/>
                  </a:lnTo>
                  <a:lnTo>
                    <a:pt x="13" y="1936"/>
                  </a:lnTo>
                  <a:lnTo>
                    <a:pt x="3" y="1833"/>
                  </a:lnTo>
                  <a:lnTo>
                    <a:pt x="0" y="1728"/>
                  </a:lnTo>
                  <a:lnTo>
                    <a:pt x="3" y="1623"/>
                  </a:lnTo>
                  <a:lnTo>
                    <a:pt x="13" y="1520"/>
                  </a:lnTo>
                  <a:lnTo>
                    <a:pt x="28" y="1418"/>
                  </a:lnTo>
                  <a:lnTo>
                    <a:pt x="49" y="1319"/>
                  </a:lnTo>
                  <a:lnTo>
                    <a:pt x="76" y="1221"/>
                  </a:lnTo>
                  <a:lnTo>
                    <a:pt x="108" y="1126"/>
                  </a:lnTo>
                  <a:lnTo>
                    <a:pt x="146" y="1034"/>
                  </a:lnTo>
                  <a:lnTo>
                    <a:pt x="189" y="944"/>
                  </a:lnTo>
                  <a:lnTo>
                    <a:pt x="237" y="857"/>
                  </a:lnTo>
                  <a:lnTo>
                    <a:pt x="289" y="773"/>
                  </a:lnTo>
                  <a:lnTo>
                    <a:pt x="346" y="692"/>
                  </a:lnTo>
                  <a:lnTo>
                    <a:pt x="407" y="616"/>
                  </a:lnTo>
                  <a:lnTo>
                    <a:pt x="472" y="541"/>
                  </a:lnTo>
                  <a:lnTo>
                    <a:pt x="541" y="472"/>
                  </a:lnTo>
                  <a:lnTo>
                    <a:pt x="616" y="407"/>
                  </a:lnTo>
                  <a:lnTo>
                    <a:pt x="692" y="346"/>
                  </a:lnTo>
                  <a:lnTo>
                    <a:pt x="773" y="289"/>
                  </a:lnTo>
                  <a:lnTo>
                    <a:pt x="857" y="237"/>
                  </a:lnTo>
                  <a:lnTo>
                    <a:pt x="944" y="189"/>
                  </a:lnTo>
                  <a:lnTo>
                    <a:pt x="1034" y="146"/>
                  </a:lnTo>
                  <a:lnTo>
                    <a:pt x="1126" y="108"/>
                  </a:lnTo>
                  <a:lnTo>
                    <a:pt x="1221" y="76"/>
                  </a:lnTo>
                  <a:lnTo>
                    <a:pt x="1319" y="49"/>
                  </a:lnTo>
                  <a:lnTo>
                    <a:pt x="1418" y="28"/>
                  </a:lnTo>
                  <a:lnTo>
                    <a:pt x="1520" y="13"/>
                  </a:lnTo>
                  <a:lnTo>
                    <a:pt x="1623" y="3"/>
                  </a:lnTo>
                  <a:lnTo>
                    <a:pt x="1728"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49" name="Freeform 43">
              <a:extLst>
                <a:ext uri="{FF2B5EF4-FFF2-40B4-BE49-F238E27FC236}">
                  <a16:creationId xmlns:a16="http://schemas.microsoft.com/office/drawing/2014/main" id="{164F5C6C-1F08-491A-AF0F-FC38036E391E}"/>
                </a:ext>
              </a:extLst>
            </p:cNvPr>
            <p:cNvSpPr>
              <a:spLocks/>
            </p:cNvSpPr>
            <p:nvPr/>
          </p:nvSpPr>
          <p:spPr bwMode="auto">
            <a:xfrm>
              <a:off x="6457" y="1102"/>
              <a:ext cx="392" cy="373"/>
            </a:xfrm>
            <a:custGeom>
              <a:avLst/>
              <a:gdLst>
                <a:gd name="T0" fmla="*/ 1282 w 2350"/>
                <a:gd name="T1" fmla="*/ 39 h 2238"/>
                <a:gd name="T2" fmla="*/ 1352 w 2350"/>
                <a:gd name="T3" fmla="*/ 170 h 2238"/>
                <a:gd name="T4" fmla="*/ 1353 w 2350"/>
                <a:gd name="T5" fmla="*/ 255 h 2238"/>
                <a:gd name="T6" fmla="*/ 1353 w 2350"/>
                <a:gd name="T7" fmla="*/ 445 h 2238"/>
                <a:gd name="T8" fmla="*/ 1352 w 2350"/>
                <a:gd name="T9" fmla="*/ 652 h 2238"/>
                <a:gd name="T10" fmla="*/ 1381 w 2350"/>
                <a:gd name="T11" fmla="*/ 741 h 2238"/>
                <a:gd name="T12" fmla="*/ 1568 w 2350"/>
                <a:gd name="T13" fmla="*/ 852 h 2238"/>
                <a:gd name="T14" fmla="*/ 1800 w 2350"/>
                <a:gd name="T15" fmla="*/ 992 h 2238"/>
                <a:gd name="T16" fmla="*/ 2032 w 2350"/>
                <a:gd name="T17" fmla="*/ 1132 h 2238"/>
                <a:gd name="T18" fmla="*/ 2213 w 2350"/>
                <a:gd name="T19" fmla="*/ 1240 h 2238"/>
                <a:gd name="T20" fmla="*/ 2307 w 2350"/>
                <a:gd name="T21" fmla="*/ 1301 h 2238"/>
                <a:gd name="T22" fmla="*/ 2350 w 2350"/>
                <a:gd name="T23" fmla="*/ 1400 h 2238"/>
                <a:gd name="T24" fmla="*/ 2349 w 2350"/>
                <a:gd name="T25" fmla="*/ 1499 h 2238"/>
                <a:gd name="T26" fmla="*/ 2290 w 2350"/>
                <a:gd name="T27" fmla="*/ 1615 h 2238"/>
                <a:gd name="T28" fmla="*/ 2163 w 2350"/>
                <a:gd name="T29" fmla="*/ 1635 h 2238"/>
                <a:gd name="T30" fmla="*/ 1366 w 2350"/>
                <a:gd name="T31" fmla="*/ 1389 h 2238"/>
                <a:gd name="T32" fmla="*/ 1357 w 2350"/>
                <a:gd name="T33" fmla="*/ 1517 h 2238"/>
                <a:gd name="T34" fmla="*/ 1357 w 2350"/>
                <a:gd name="T35" fmla="*/ 1796 h 2238"/>
                <a:gd name="T36" fmla="*/ 1434 w 2350"/>
                <a:gd name="T37" fmla="*/ 1855 h 2238"/>
                <a:gd name="T38" fmla="*/ 1528 w 2350"/>
                <a:gd name="T39" fmla="*/ 1929 h 2238"/>
                <a:gd name="T40" fmla="*/ 1584 w 2350"/>
                <a:gd name="T41" fmla="*/ 2000 h 2238"/>
                <a:gd name="T42" fmla="*/ 1565 w 2350"/>
                <a:gd name="T43" fmla="*/ 2172 h 2238"/>
                <a:gd name="T44" fmla="*/ 1455 w 2350"/>
                <a:gd name="T45" fmla="*/ 2238 h 2238"/>
                <a:gd name="T46" fmla="*/ 1378 w 2350"/>
                <a:gd name="T47" fmla="*/ 2224 h 2238"/>
                <a:gd name="T48" fmla="*/ 1273 w 2350"/>
                <a:gd name="T49" fmla="*/ 2191 h 2238"/>
                <a:gd name="T50" fmla="*/ 1176 w 2350"/>
                <a:gd name="T51" fmla="*/ 2161 h 2238"/>
                <a:gd name="T52" fmla="*/ 1093 w 2350"/>
                <a:gd name="T53" fmla="*/ 2186 h 2238"/>
                <a:gd name="T54" fmla="*/ 989 w 2350"/>
                <a:gd name="T55" fmla="*/ 2220 h 2238"/>
                <a:gd name="T56" fmla="*/ 929 w 2350"/>
                <a:gd name="T57" fmla="*/ 2237 h 2238"/>
                <a:gd name="T58" fmla="*/ 824 w 2350"/>
                <a:gd name="T59" fmla="*/ 2210 h 2238"/>
                <a:gd name="T60" fmla="*/ 766 w 2350"/>
                <a:gd name="T61" fmla="*/ 2096 h 2238"/>
                <a:gd name="T62" fmla="*/ 777 w 2350"/>
                <a:gd name="T63" fmla="*/ 1975 h 2238"/>
                <a:gd name="T64" fmla="*/ 993 w 2350"/>
                <a:gd name="T65" fmla="*/ 1747 h 2238"/>
                <a:gd name="T66" fmla="*/ 992 w 2350"/>
                <a:gd name="T67" fmla="*/ 1460 h 2238"/>
                <a:gd name="T68" fmla="*/ 975 w 2350"/>
                <a:gd name="T69" fmla="*/ 1383 h 2238"/>
                <a:gd name="T70" fmla="*/ 931 w 2350"/>
                <a:gd name="T71" fmla="*/ 1390 h 2238"/>
                <a:gd name="T72" fmla="*/ 802 w 2350"/>
                <a:gd name="T73" fmla="*/ 1432 h 2238"/>
                <a:gd name="T74" fmla="*/ 608 w 2350"/>
                <a:gd name="T75" fmla="*/ 1496 h 2238"/>
                <a:gd name="T76" fmla="*/ 401 w 2350"/>
                <a:gd name="T77" fmla="*/ 1564 h 2238"/>
                <a:gd name="T78" fmla="*/ 231 w 2350"/>
                <a:gd name="T79" fmla="*/ 1620 h 2238"/>
                <a:gd name="T80" fmla="*/ 107 w 2350"/>
                <a:gd name="T81" fmla="*/ 1636 h 2238"/>
                <a:gd name="T82" fmla="*/ 10 w 2350"/>
                <a:gd name="T83" fmla="*/ 1552 h 2238"/>
                <a:gd name="T84" fmla="*/ 8 w 2350"/>
                <a:gd name="T85" fmla="*/ 1354 h 2238"/>
                <a:gd name="T86" fmla="*/ 83 w 2350"/>
                <a:gd name="T87" fmla="*/ 1271 h 2238"/>
                <a:gd name="T88" fmla="*/ 205 w 2350"/>
                <a:gd name="T89" fmla="*/ 1197 h 2238"/>
                <a:gd name="T90" fmla="*/ 388 w 2350"/>
                <a:gd name="T91" fmla="*/ 1086 h 2238"/>
                <a:gd name="T92" fmla="*/ 594 w 2350"/>
                <a:gd name="T93" fmla="*/ 960 h 2238"/>
                <a:gd name="T94" fmla="*/ 785 w 2350"/>
                <a:gd name="T95" fmla="*/ 844 h 2238"/>
                <a:gd name="T96" fmla="*/ 928 w 2350"/>
                <a:gd name="T97" fmla="*/ 757 h 2238"/>
                <a:gd name="T98" fmla="*/ 983 w 2350"/>
                <a:gd name="T99" fmla="*/ 723 h 2238"/>
                <a:gd name="T100" fmla="*/ 983 w 2350"/>
                <a:gd name="T101" fmla="*/ 539 h 2238"/>
                <a:gd name="T102" fmla="*/ 983 w 2350"/>
                <a:gd name="T103" fmla="*/ 332 h 2238"/>
                <a:gd name="T104" fmla="*/ 983 w 2350"/>
                <a:gd name="T105" fmla="*/ 194 h 2238"/>
                <a:gd name="T106" fmla="*/ 1011 w 2350"/>
                <a:gd name="T107" fmla="*/ 89 h 2238"/>
                <a:gd name="T108" fmla="*/ 1135 w 2350"/>
                <a:gd name="T109" fmla="*/ 3 h 2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0" h="2238">
                  <a:moveTo>
                    <a:pt x="1168" y="0"/>
                  </a:moveTo>
                  <a:lnTo>
                    <a:pt x="1199" y="3"/>
                  </a:lnTo>
                  <a:lnTo>
                    <a:pt x="1229" y="10"/>
                  </a:lnTo>
                  <a:lnTo>
                    <a:pt x="1257" y="23"/>
                  </a:lnTo>
                  <a:lnTo>
                    <a:pt x="1282" y="39"/>
                  </a:lnTo>
                  <a:lnTo>
                    <a:pt x="1304" y="59"/>
                  </a:lnTo>
                  <a:lnTo>
                    <a:pt x="1323" y="83"/>
                  </a:lnTo>
                  <a:lnTo>
                    <a:pt x="1336" y="109"/>
                  </a:lnTo>
                  <a:lnTo>
                    <a:pt x="1347" y="139"/>
                  </a:lnTo>
                  <a:lnTo>
                    <a:pt x="1352" y="170"/>
                  </a:lnTo>
                  <a:lnTo>
                    <a:pt x="1352" y="174"/>
                  </a:lnTo>
                  <a:lnTo>
                    <a:pt x="1352" y="186"/>
                  </a:lnTo>
                  <a:lnTo>
                    <a:pt x="1352" y="204"/>
                  </a:lnTo>
                  <a:lnTo>
                    <a:pt x="1352" y="227"/>
                  </a:lnTo>
                  <a:lnTo>
                    <a:pt x="1353" y="255"/>
                  </a:lnTo>
                  <a:lnTo>
                    <a:pt x="1353" y="288"/>
                  </a:lnTo>
                  <a:lnTo>
                    <a:pt x="1353" y="323"/>
                  </a:lnTo>
                  <a:lnTo>
                    <a:pt x="1353" y="362"/>
                  </a:lnTo>
                  <a:lnTo>
                    <a:pt x="1353" y="402"/>
                  </a:lnTo>
                  <a:lnTo>
                    <a:pt x="1353" y="445"/>
                  </a:lnTo>
                  <a:lnTo>
                    <a:pt x="1353" y="487"/>
                  </a:lnTo>
                  <a:lnTo>
                    <a:pt x="1353" y="529"/>
                  </a:lnTo>
                  <a:lnTo>
                    <a:pt x="1353" y="572"/>
                  </a:lnTo>
                  <a:lnTo>
                    <a:pt x="1353" y="613"/>
                  </a:lnTo>
                  <a:lnTo>
                    <a:pt x="1352" y="652"/>
                  </a:lnTo>
                  <a:lnTo>
                    <a:pt x="1352" y="689"/>
                  </a:lnTo>
                  <a:lnTo>
                    <a:pt x="1352" y="721"/>
                  </a:lnTo>
                  <a:lnTo>
                    <a:pt x="1352" y="723"/>
                  </a:lnTo>
                  <a:lnTo>
                    <a:pt x="1353" y="724"/>
                  </a:lnTo>
                  <a:lnTo>
                    <a:pt x="1381" y="741"/>
                  </a:lnTo>
                  <a:lnTo>
                    <a:pt x="1412" y="760"/>
                  </a:lnTo>
                  <a:lnTo>
                    <a:pt x="1446" y="780"/>
                  </a:lnTo>
                  <a:lnTo>
                    <a:pt x="1484" y="803"/>
                  </a:lnTo>
                  <a:lnTo>
                    <a:pt x="1525" y="827"/>
                  </a:lnTo>
                  <a:lnTo>
                    <a:pt x="1568" y="852"/>
                  </a:lnTo>
                  <a:lnTo>
                    <a:pt x="1612" y="879"/>
                  </a:lnTo>
                  <a:lnTo>
                    <a:pt x="1658" y="906"/>
                  </a:lnTo>
                  <a:lnTo>
                    <a:pt x="1705" y="935"/>
                  </a:lnTo>
                  <a:lnTo>
                    <a:pt x="1752" y="964"/>
                  </a:lnTo>
                  <a:lnTo>
                    <a:pt x="1800" y="992"/>
                  </a:lnTo>
                  <a:lnTo>
                    <a:pt x="1848" y="1022"/>
                  </a:lnTo>
                  <a:lnTo>
                    <a:pt x="1897" y="1050"/>
                  </a:lnTo>
                  <a:lnTo>
                    <a:pt x="1943" y="1078"/>
                  </a:lnTo>
                  <a:lnTo>
                    <a:pt x="1988" y="1105"/>
                  </a:lnTo>
                  <a:lnTo>
                    <a:pt x="2032" y="1132"/>
                  </a:lnTo>
                  <a:lnTo>
                    <a:pt x="2074" y="1157"/>
                  </a:lnTo>
                  <a:lnTo>
                    <a:pt x="2113" y="1180"/>
                  </a:lnTo>
                  <a:lnTo>
                    <a:pt x="2150" y="1202"/>
                  </a:lnTo>
                  <a:lnTo>
                    <a:pt x="2182" y="1222"/>
                  </a:lnTo>
                  <a:lnTo>
                    <a:pt x="2213" y="1240"/>
                  </a:lnTo>
                  <a:lnTo>
                    <a:pt x="2239" y="1255"/>
                  </a:lnTo>
                  <a:lnTo>
                    <a:pt x="2260" y="1269"/>
                  </a:lnTo>
                  <a:lnTo>
                    <a:pt x="2277" y="1278"/>
                  </a:lnTo>
                  <a:lnTo>
                    <a:pt x="2292" y="1289"/>
                  </a:lnTo>
                  <a:lnTo>
                    <a:pt x="2307" y="1301"/>
                  </a:lnTo>
                  <a:lnTo>
                    <a:pt x="2321" y="1317"/>
                  </a:lnTo>
                  <a:lnTo>
                    <a:pt x="2332" y="1335"/>
                  </a:lnTo>
                  <a:lnTo>
                    <a:pt x="2342" y="1355"/>
                  </a:lnTo>
                  <a:lnTo>
                    <a:pt x="2348" y="1377"/>
                  </a:lnTo>
                  <a:lnTo>
                    <a:pt x="2350" y="1400"/>
                  </a:lnTo>
                  <a:lnTo>
                    <a:pt x="2350" y="1422"/>
                  </a:lnTo>
                  <a:lnTo>
                    <a:pt x="2349" y="1443"/>
                  </a:lnTo>
                  <a:lnTo>
                    <a:pt x="2349" y="1459"/>
                  </a:lnTo>
                  <a:lnTo>
                    <a:pt x="2349" y="1477"/>
                  </a:lnTo>
                  <a:lnTo>
                    <a:pt x="2349" y="1499"/>
                  </a:lnTo>
                  <a:lnTo>
                    <a:pt x="2347" y="1526"/>
                  </a:lnTo>
                  <a:lnTo>
                    <a:pt x="2339" y="1553"/>
                  </a:lnTo>
                  <a:lnTo>
                    <a:pt x="2327" y="1576"/>
                  </a:lnTo>
                  <a:lnTo>
                    <a:pt x="2310" y="1597"/>
                  </a:lnTo>
                  <a:lnTo>
                    <a:pt x="2290" y="1615"/>
                  </a:lnTo>
                  <a:lnTo>
                    <a:pt x="2266" y="1629"/>
                  </a:lnTo>
                  <a:lnTo>
                    <a:pt x="2241" y="1637"/>
                  </a:lnTo>
                  <a:lnTo>
                    <a:pt x="2215" y="1642"/>
                  </a:lnTo>
                  <a:lnTo>
                    <a:pt x="2189" y="1641"/>
                  </a:lnTo>
                  <a:lnTo>
                    <a:pt x="2163" y="1635"/>
                  </a:lnTo>
                  <a:lnTo>
                    <a:pt x="1395" y="1382"/>
                  </a:lnTo>
                  <a:lnTo>
                    <a:pt x="1383" y="1381"/>
                  </a:lnTo>
                  <a:lnTo>
                    <a:pt x="1375" y="1383"/>
                  </a:lnTo>
                  <a:lnTo>
                    <a:pt x="1369" y="1386"/>
                  </a:lnTo>
                  <a:lnTo>
                    <a:pt x="1366" y="1389"/>
                  </a:lnTo>
                  <a:lnTo>
                    <a:pt x="1361" y="1395"/>
                  </a:lnTo>
                  <a:lnTo>
                    <a:pt x="1358" y="1401"/>
                  </a:lnTo>
                  <a:lnTo>
                    <a:pt x="1357" y="1409"/>
                  </a:lnTo>
                  <a:lnTo>
                    <a:pt x="1357" y="1460"/>
                  </a:lnTo>
                  <a:lnTo>
                    <a:pt x="1357" y="1517"/>
                  </a:lnTo>
                  <a:lnTo>
                    <a:pt x="1357" y="1576"/>
                  </a:lnTo>
                  <a:lnTo>
                    <a:pt x="1357" y="1635"/>
                  </a:lnTo>
                  <a:lnTo>
                    <a:pt x="1357" y="1693"/>
                  </a:lnTo>
                  <a:lnTo>
                    <a:pt x="1357" y="1747"/>
                  </a:lnTo>
                  <a:lnTo>
                    <a:pt x="1357" y="1796"/>
                  </a:lnTo>
                  <a:lnTo>
                    <a:pt x="1368" y="1804"/>
                  </a:lnTo>
                  <a:lnTo>
                    <a:pt x="1380" y="1813"/>
                  </a:lnTo>
                  <a:lnTo>
                    <a:pt x="1397" y="1826"/>
                  </a:lnTo>
                  <a:lnTo>
                    <a:pt x="1415" y="1841"/>
                  </a:lnTo>
                  <a:lnTo>
                    <a:pt x="1434" y="1855"/>
                  </a:lnTo>
                  <a:lnTo>
                    <a:pt x="1454" y="1871"/>
                  </a:lnTo>
                  <a:lnTo>
                    <a:pt x="1475" y="1887"/>
                  </a:lnTo>
                  <a:lnTo>
                    <a:pt x="1493" y="1902"/>
                  </a:lnTo>
                  <a:lnTo>
                    <a:pt x="1511" y="1916"/>
                  </a:lnTo>
                  <a:lnTo>
                    <a:pt x="1528" y="1929"/>
                  </a:lnTo>
                  <a:lnTo>
                    <a:pt x="1540" y="1939"/>
                  </a:lnTo>
                  <a:lnTo>
                    <a:pt x="1551" y="1946"/>
                  </a:lnTo>
                  <a:lnTo>
                    <a:pt x="1567" y="1962"/>
                  </a:lnTo>
                  <a:lnTo>
                    <a:pt x="1578" y="1980"/>
                  </a:lnTo>
                  <a:lnTo>
                    <a:pt x="1584" y="2000"/>
                  </a:lnTo>
                  <a:lnTo>
                    <a:pt x="1587" y="2021"/>
                  </a:lnTo>
                  <a:lnTo>
                    <a:pt x="1587" y="2096"/>
                  </a:lnTo>
                  <a:lnTo>
                    <a:pt x="1584" y="2122"/>
                  </a:lnTo>
                  <a:lnTo>
                    <a:pt x="1577" y="2149"/>
                  </a:lnTo>
                  <a:lnTo>
                    <a:pt x="1565" y="2172"/>
                  </a:lnTo>
                  <a:lnTo>
                    <a:pt x="1549" y="2193"/>
                  </a:lnTo>
                  <a:lnTo>
                    <a:pt x="1529" y="2210"/>
                  </a:lnTo>
                  <a:lnTo>
                    <a:pt x="1505" y="2224"/>
                  </a:lnTo>
                  <a:lnTo>
                    <a:pt x="1481" y="2233"/>
                  </a:lnTo>
                  <a:lnTo>
                    <a:pt x="1455" y="2238"/>
                  </a:lnTo>
                  <a:lnTo>
                    <a:pt x="1428" y="2238"/>
                  </a:lnTo>
                  <a:lnTo>
                    <a:pt x="1402" y="2231"/>
                  </a:lnTo>
                  <a:lnTo>
                    <a:pt x="1399" y="2230"/>
                  </a:lnTo>
                  <a:lnTo>
                    <a:pt x="1391" y="2228"/>
                  </a:lnTo>
                  <a:lnTo>
                    <a:pt x="1378" y="2224"/>
                  </a:lnTo>
                  <a:lnTo>
                    <a:pt x="1361" y="2219"/>
                  </a:lnTo>
                  <a:lnTo>
                    <a:pt x="1342" y="2212"/>
                  </a:lnTo>
                  <a:lnTo>
                    <a:pt x="1320" y="2206"/>
                  </a:lnTo>
                  <a:lnTo>
                    <a:pt x="1296" y="2199"/>
                  </a:lnTo>
                  <a:lnTo>
                    <a:pt x="1273" y="2191"/>
                  </a:lnTo>
                  <a:lnTo>
                    <a:pt x="1249" y="2184"/>
                  </a:lnTo>
                  <a:lnTo>
                    <a:pt x="1227" y="2177"/>
                  </a:lnTo>
                  <a:lnTo>
                    <a:pt x="1207" y="2171"/>
                  </a:lnTo>
                  <a:lnTo>
                    <a:pt x="1190" y="2165"/>
                  </a:lnTo>
                  <a:lnTo>
                    <a:pt x="1176" y="2161"/>
                  </a:lnTo>
                  <a:lnTo>
                    <a:pt x="1166" y="2164"/>
                  </a:lnTo>
                  <a:lnTo>
                    <a:pt x="1152" y="2168"/>
                  </a:lnTo>
                  <a:lnTo>
                    <a:pt x="1134" y="2174"/>
                  </a:lnTo>
                  <a:lnTo>
                    <a:pt x="1115" y="2180"/>
                  </a:lnTo>
                  <a:lnTo>
                    <a:pt x="1093" y="2186"/>
                  </a:lnTo>
                  <a:lnTo>
                    <a:pt x="1071" y="2194"/>
                  </a:lnTo>
                  <a:lnTo>
                    <a:pt x="1049" y="2201"/>
                  </a:lnTo>
                  <a:lnTo>
                    <a:pt x="1027" y="2207"/>
                  </a:lnTo>
                  <a:lnTo>
                    <a:pt x="1007" y="2213"/>
                  </a:lnTo>
                  <a:lnTo>
                    <a:pt x="989" y="2220"/>
                  </a:lnTo>
                  <a:lnTo>
                    <a:pt x="973" y="2224"/>
                  </a:lnTo>
                  <a:lnTo>
                    <a:pt x="961" y="2228"/>
                  </a:lnTo>
                  <a:lnTo>
                    <a:pt x="953" y="2230"/>
                  </a:lnTo>
                  <a:lnTo>
                    <a:pt x="950" y="2231"/>
                  </a:lnTo>
                  <a:lnTo>
                    <a:pt x="929" y="2237"/>
                  </a:lnTo>
                  <a:lnTo>
                    <a:pt x="907" y="2238"/>
                  </a:lnTo>
                  <a:lnTo>
                    <a:pt x="885" y="2237"/>
                  </a:lnTo>
                  <a:lnTo>
                    <a:pt x="864" y="2231"/>
                  </a:lnTo>
                  <a:lnTo>
                    <a:pt x="843" y="2223"/>
                  </a:lnTo>
                  <a:lnTo>
                    <a:pt x="824" y="2210"/>
                  </a:lnTo>
                  <a:lnTo>
                    <a:pt x="803" y="2193"/>
                  </a:lnTo>
                  <a:lnTo>
                    <a:pt x="788" y="2172"/>
                  </a:lnTo>
                  <a:lnTo>
                    <a:pt x="776" y="2149"/>
                  </a:lnTo>
                  <a:lnTo>
                    <a:pt x="768" y="2123"/>
                  </a:lnTo>
                  <a:lnTo>
                    <a:pt x="766" y="2096"/>
                  </a:lnTo>
                  <a:lnTo>
                    <a:pt x="766" y="2066"/>
                  </a:lnTo>
                  <a:lnTo>
                    <a:pt x="766" y="2039"/>
                  </a:lnTo>
                  <a:lnTo>
                    <a:pt x="766" y="2013"/>
                  </a:lnTo>
                  <a:lnTo>
                    <a:pt x="769" y="1994"/>
                  </a:lnTo>
                  <a:lnTo>
                    <a:pt x="777" y="1975"/>
                  </a:lnTo>
                  <a:lnTo>
                    <a:pt x="789" y="1960"/>
                  </a:lnTo>
                  <a:lnTo>
                    <a:pt x="800" y="1947"/>
                  </a:lnTo>
                  <a:lnTo>
                    <a:pt x="897" y="1870"/>
                  </a:lnTo>
                  <a:lnTo>
                    <a:pt x="993" y="1796"/>
                  </a:lnTo>
                  <a:lnTo>
                    <a:pt x="993" y="1747"/>
                  </a:lnTo>
                  <a:lnTo>
                    <a:pt x="992" y="1693"/>
                  </a:lnTo>
                  <a:lnTo>
                    <a:pt x="992" y="1635"/>
                  </a:lnTo>
                  <a:lnTo>
                    <a:pt x="992" y="1576"/>
                  </a:lnTo>
                  <a:lnTo>
                    <a:pt x="992" y="1517"/>
                  </a:lnTo>
                  <a:lnTo>
                    <a:pt x="992" y="1460"/>
                  </a:lnTo>
                  <a:lnTo>
                    <a:pt x="992" y="1409"/>
                  </a:lnTo>
                  <a:lnTo>
                    <a:pt x="990" y="1398"/>
                  </a:lnTo>
                  <a:lnTo>
                    <a:pt x="985" y="1390"/>
                  </a:lnTo>
                  <a:lnTo>
                    <a:pt x="980" y="1386"/>
                  </a:lnTo>
                  <a:lnTo>
                    <a:pt x="975" y="1383"/>
                  </a:lnTo>
                  <a:lnTo>
                    <a:pt x="967" y="1381"/>
                  </a:lnTo>
                  <a:lnTo>
                    <a:pt x="955" y="1382"/>
                  </a:lnTo>
                  <a:lnTo>
                    <a:pt x="953" y="1383"/>
                  </a:lnTo>
                  <a:lnTo>
                    <a:pt x="945" y="1386"/>
                  </a:lnTo>
                  <a:lnTo>
                    <a:pt x="931" y="1390"/>
                  </a:lnTo>
                  <a:lnTo>
                    <a:pt x="913" y="1397"/>
                  </a:lnTo>
                  <a:lnTo>
                    <a:pt x="890" y="1404"/>
                  </a:lnTo>
                  <a:lnTo>
                    <a:pt x="864" y="1412"/>
                  </a:lnTo>
                  <a:lnTo>
                    <a:pt x="835" y="1422"/>
                  </a:lnTo>
                  <a:lnTo>
                    <a:pt x="802" y="1432"/>
                  </a:lnTo>
                  <a:lnTo>
                    <a:pt x="767" y="1444"/>
                  </a:lnTo>
                  <a:lnTo>
                    <a:pt x="729" y="1456"/>
                  </a:lnTo>
                  <a:lnTo>
                    <a:pt x="690" y="1469"/>
                  </a:lnTo>
                  <a:lnTo>
                    <a:pt x="649" y="1482"/>
                  </a:lnTo>
                  <a:lnTo>
                    <a:pt x="608" y="1496"/>
                  </a:lnTo>
                  <a:lnTo>
                    <a:pt x="567" y="1510"/>
                  </a:lnTo>
                  <a:lnTo>
                    <a:pt x="524" y="1523"/>
                  </a:lnTo>
                  <a:lnTo>
                    <a:pt x="482" y="1537"/>
                  </a:lnTo>
                  <a:lnTo>
                    <a:pt x="441" y="1551"/>
                  </a:lnTo>
                  <a:lnTo>
                    <a:pt x="401" y="1564"/>
                  </a:lnTo>
                  <a:lnTo>
                    <a:pt x="362" y="1577"/>
                  </a:lnTo>
                  <a:lnTo>
                    <a:pt x="326" y="1588"/>
                  </a:lnTo>
                  <a:lnTo>
                    <a:pt x="291" y="1600"/>
                  </a:lnTo>
                  <a:lnTo>
                    <a:pt x="260" y="1610"/>
                  </a:lnTo>
                  <a:lnTo>
                    <a:pt x="231" y="1620"/>
                  </a:lnTo>
                  <a:lnTo>
                    <a:pt x="207" y="1627"/>
                  </a:lnTo>
                  <a:lnTo>
                    <a:pt x="186" y="1634"/>
                  </a:lnTo>
                  <a:lnTo>
                    <a:pt x="160" y="1641"/>
                  </a:lnTo>
                  <a:lnTo>
                    <a:pt x="133" y="1641"/>
                  </a:lnTo>
                  <a:lnTo>
                    <a:pt x="107" y="1636"/>
                  </a:lnTo>
                  <a:lnTo>
                    <a:pt x="83" y="1628"/>
                  </a:lnTo>
                  <a:lnTo>
                    <a:pt x="59" y="1614"/>
                  </a:lnTo>
                  <a:lnTo>
                    <a:pt x="39" y="1597"/>
                  </a:lnTo>
                  <a:lnTo>
                    <a:pt x="22" y="1576"/>
                  </a:lnTo>
                  <a:lnTo>
                    <a:pt x="10" y="1552"/>
                  </a:lnTo>
                  <a:lnTo>
                    <a:pt x="3" y="1525"/>
                  </a:lnTo>
                  <a:lnTo>
                    <a:pt x="0" y="1499"/>
                  </a:lnTo>
                  <a:lnTo>
                    <a:pt x="0" y="1401"/>
                  </a:lnTo>
                  <a:lnTo>
                    <a:pt x="2" y="1377"/>
                  </a:lnTo>
                  <a:lnTo>
                    <a:pt x="8" y="1354"/>
                  </a:lnTo>
                  <a:lnTo>
                    <a:pt x="19" y="1332"/>
                  </a:lnTo>
                  <a:lnTo>
                    <a:pt x="32" y="1312"/>
                  </a:lnTo>
                  <a:lnTo>
                    <a:pt x="49" y="1294"/>
                  </a:lnTo>
                  <a:lnTo>
                    <a:pt x="69" y="1279"/>
                  </a:lnTo>
                  <a:lnTo>
                    <a:pt x="83" y="1271"/>
                  </a:lnTo>
                  <a:lnTo>
                    <a:pt x="100" y="1259"/>
                  </a:lnTo>
                  <a:lnTo>
                    <a:pt x="122" y="1247"/>
                  </a:lnTo>
                  <a:lnTo>
                    <a:pt x="148" y="1232"/>
                  </a:lnTo>
                  <a:lnTo>
                    <a:pt x="175" y="1214"/>
                  </a:lnTo>
                  <a:lnTo>
                    <a:pt x="205" y="1197"/>
                  </a:lnTo>
                  <a:lnTo>
                    <a:pt x="239" y="1177"/>
                  </a:lnTo>
                  <a:lnTo>
                    <a:pt x="273" y="1155"/>
                  </a:lnTo>
                  <a:lnTo>
                    <a:pt x="310" y="1133"/>
                  </a:lnTo>
                  <a:lnTo>
                    <a:pt x="349" y="1110"/>
                  </a:lnTo>
                  <a:lnTo>
                    <a:pt x="388" y="1086"/>
                  </a:lnTo>
                  <a:lnTo>
                    <a:pt x="428" y="1060"/>
                  </a:lnTo>
                  <a:lnTo>
                    <a:pt x="469" y="1035"/>
                  </a:lnTo>
                  <a:lnTo>
                    <a:pt x="511" y="1010"/>
                  </a:lnTo>
                  <a:lnTo>
                    <a:pt x="553" y="985"/>
                  </a:lnTo>
                  <a:lnTo>
                    <a:pt x="594" y="960"/>
                  </a:lnTo>
                  <a:lnTo>
                    <a:pt x="635" y="936"/>
                  </a:lnTo>
                  <a:lnTo>
                    <a:pt x="674" y="912"/>
                  </a:lnTo>
                  <a:lnTo>
                    <a:pt x="713" y="888"/>
                  </a:lnTo>
                  <a:lnTo>
                    <a:pt x="750" y="866"/>
                  </a:lnTo>
                  <a:lnTo>
                    <a:pt x="785" y="844"/>
                  </a:lnTo>
                  <a:lnTo>
                    <a:pt x="819" y="823"/>
                  </a:lnTo>
                  <a:lnTo>
                    <a:pt x="850" y="804"/>
                  </a:lnTo>
                  <a:lnTo>
                    <a:pt x="880" y="787"/>
                  </a:lnTo>
                  <a:lnTo>
                    <a:pt x="905" y="771"/>
                  </a:lnTo>
                  <a:lnTo>
                    <a:pt x="928" y="757"/>
                  </a:lnTo>
                  <a:lnTo>
                    <a:pt x="947" y="745"/>
                  </a:lnTo>
                  <a:lnTo>
                    <a:pt x="962" y="736"/>
                  </a:lnTo>
                  <a:lnTo>
                    <a:pt x="974" y="729"/>
                  </a:lnTo>
                  <a:lnTo>
                    <a:pt x="980" y="725"/>
                  </a:lnTo>
                  <a:lnTo>
                    <a:pt x="983" y="723"/>
                  </a:lnTo>
                  <a:lnTo>
                    <a:pt x="983" y="693"/>
                  </a:lnTo>
                  <a:lnTo>
                    <a:pt x="983" y="658"/>
                  </a:lnTo>
                  <a:lnTo>
                    <a:pt x="983" y="621"/>
                  </a:lnTo>
                  <a:lnTo>
                    <a:pt x="983" y="580"/>
                  </a:lnTo>
                  <a:lnTo>
                    <a:pt x="983" y="539"/>
                  </a:lnTo>
                  <a:lnTo>
                    <a:pt x="983" y="496"/>
                  </a:lnTo>
                  <a:lnTo>
                    <a:pt x="983" y="453"/>
                  </a:lnTo>
                  <a:lnTo>
                    <a:pt x="983" y="411"/>
                  </a:lnTo>
                  <a:lnTo>
                    <a:pt x="983" y="370"/>
                  </a:lnTo>
                  <a:lnTo>
                    <a:pt x="983" y="332"/>
                  </a:lnTo>
                  <a:lnTo>
                    <a:pt x="983" y="295"/>
                  </a:lnTo>
                  <a:lnTo>
                    <a:pt x="983" y="262"/>
                  </a:lnTo>
                  <a:lnTo>
                    <a:pt x="983" y="234"/>
                  </a:lnTo>
                  <a:lnTo>
                    <a:pt x="983" y="211"/>
                  </a:lnTo>
                  <a:lnTo>
                    <a:pt x="983" y="194"/>
                  </a:lnTo>
                  <a:lnTo>
                    <a:pt x="983" y="183"/>
                  </a:lnTo>
                  <a:lnTo>
                    <a:pt x="983" y="179"/>
                  </a:lnTo>
                  <a:lnTo>
                    <a:pt x="986" y="147"/>
                  </a:lnTo>
                  <a:lnTo>
                    <a:pt x="996" y="117"/>
                  </a:lnTo>
                  <a:lnTo>
                    <a:pt x="1011" y="89"/>
                  </a:lnTo>
                  <a:lnTo>
                    <a:pt x="1028" y="63"/>
                  </a:lnTo>
                  <a:lnTo>
                    <a:pt x="1050" y="41"/>
                  </a:lnTo>
                  <a:lnTo>
                    <a:pt x="1077" y="24"/>
                  </a:lnTo>
                  <a:lnTo>
                    <a:pt x="1105" y="11"/>
                  </a:lnTo>
                  <a:lnTo>
                    <a:pt x="1135" y="3"/>
                  </a:lnTo>
                  <a:lnTo>
                    <a:pt x="1168" y="0"/>
                  </a:lnTo>
                  <a:close/>
                </a:path>
              </a:pathLst>
            </a:custGeom>
            <a:grp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grpSp>
        <p:nvGrpSpPr>
          <p:cNvPr id="123924" name="Group 54">
            <a:extLst>
              <a:ext uri="{FF2B5EF4-FFF2-40B4-BE49-F238E27FC236}">
                <a16:creationId xmlns:a16="http://schemas.microsoft.com/office/drawing/2014/main" id="{11CD687F-06F6-4193-B88B-40944DDA0A79}"/>
              </a:ext>
            </a:extLst>
          </p:cNvPr>
          <p:cNvGrpSpPr>
            <a:grpSpLocks noChangeAspect="1"/>
          </p:cNvGrpSpPr>
          <p:nvPr/>
        </p:nvGrpSpPr>
        <p:grpSpPr bwMode="auto">
          <a:xfrm>
            <a:off x="7050088" y="2524125"/>
            <a:ext cx="650875" cy="649288"/>
            <a:chOff x="1222" y="2021"/>
            <a:chExt cx="575" cy="575"/>
          </a:xfrm>
        </p:grpSpPr>
        <p:sp>
          <p:nvSpPr>
            <p:cNvPr id="72" name="Freeform 56">
              <a:extLst>
                <a:ext uri="{FF2B5EF4-FFF2-40B4-BE49-F238E27FC236}">
                  <a16:creationId xmlns:a16="http://schemas.microsoft.com/office/drawing/2014/main" id="{869E16EC-EF9B-4557-BA17-84A1190535B4}"/>
                </a:ext>
              </a:extLst>
            </p:cNvPr>
            <p:cNvSpPr>
              <a:spLocks/>
            </p:cNvSpPr>
            <p:nvPr/>
          </p:nvSpPr>
          <p:spPr bwMode="auto">
            <a:xfrm>
              <a:off x="1236" y="2021"/>
              <a:ext cx="532" cy="208"/>
            </a:xfrm>
            <a:custGeom>
              <a:avLst/>
              <a:gdLst>
                <a:gd name="T0" fmla="*/ 1850 w 3184"/>
                <a:gd name="T1" fmla="*/ 13 h 1251"/>
                <a:gd name="T2" fmla="*/ 2151 w 3184"/>
                <a:gd name="T3" fmla="*/ 77 h 1251"/>
                <a:gd name="T4" fmla="*/ 2428 w 3184"/>
                <a:gd name="T5" fmla="*/ 190 h 1251"/>
                <a:gd name="T6" fmla="*/ 2681 w 3184"/>
                <a:gd name="T7" fmla="*/ 349 h 1251"/>
                <a:gd name="T8" fmla="*/ 2901 w 3184"/>
                <a:gd name="T9" fmla="*/ 547 h 1251"/>
                <a:gd name="T10" fmla="*/ 3084 w 3184"/>
                <a:gd name="T11" fmla="*/ 779 h 1251"/>
                <a:gd name="T12" fmla="*/ 3137 w 3184"/>
                <a:gd name="T13" fmla="*/ 954 h 1251"/>
                <a:gd name="T14" fmla="*/ 3004 w 3184"/>
                <a:gd name="T15" fmla="*/ 988 h 1251"/>
                <a:gd name="T16" fmla="*/ 2949 w 3184"/>
                <a:gd name="T17" fmla="*/ 1013 h 1251"/>
                <a:gd name="T18" fmla="*/ 2941 w 3184"/>
                <a:gd name="T19" fmla="*/ 1018 h 1251"/>
                <a:gd name="T20" fmla="*/ 2834 w 3184"/>
                <a:gd name="T21" fmla="*/ 1097 h 1251"/>
                <a:gd name="T22" fmla="*/ 2744 w 3184"/>
                <a:gd name="T23" fmla="*/ 1188 h 1251"/>
                <a:gd name="T24" fmla="*/ 2654 w 3184"/>
                <a:gd name="T25" fmla="*/ 1240 h 1251"/>
                <a:gd name="T26" fmla="*/ 2557 w 3184"/>
                <a:gd name="T27" fmla="*/ 1248 h 1251"/>
                <a:gd name="T28" fmla="*/ 2524 w 3184"/>
                <a:gd name="T29" fmla="*/ 1240 h 1251"/>
                <a:gd name="T30" fmla="*/ 2438 w 3184"/>
                <a:gd name="T31" fmla="*/ 1192 h 1251"/>
                <a:gd name="T32" fmla="*/ 2383 w 3184"/>
                <a:gd name="T33" fmla="*/ 1134 h 1251"/>
                <a:gd name="T34" fmla="*/ 2242 w 3184"/>
                <a:gd name="T35" fmla="*/ 1021 h 1251"/>
                <a:gd name="T36" fmla="*/ 2088 w 3184"/>
                <a:gd name="T37" fmla="*/ 961 h 1251"/>
                <a:gd name="T38" fmla="*/ 1947 w 3184"/>
                <a:gd name="T39" fmla="*/ 951 h 1251"/>
                <a:gd name="T40" fmla="*/ 1903 w 3184"/>
                <a:gd name="T41" fmla="*/ 954 h 1251"/>
                <a:gd name="T42" fmla="*/ 1748 w 3184"/>
                <a:gd name="T43" fmla="*/ 996 h 1251"/>
                <a:gd name="T44" fmla="*/ 1604 w 3184"/>
                <a:gd name="T45" fmla="*/ 1091 h 1251"/>
                <a:gd name="T46" fmla="*/ 1531 w 3184"/>
                <a:gd name="T47" fmla="*/ 1168 h 1251"/>
                <a:gd name="T48" fmla="*/ 1449 w 3184"/>
                <a:gd name="T49" fmla="*/ 1229 h 1251"/>
                <a:gd name="T50" fmla="*/ 1386 w 3184"/>
                <a:gd name="T51" fmla="*/ 1248 h 1251"/>
                <a:gd name="T52" fmla="*/ 1321 w 3184"/>
                <a:gd name="T53" fmla="*/ 1249 h 1251"/>
                <a:gd name="T54" fmla="*/ 1228 w 3184"/>
                <a:gd name="T55" fmla="*/ 1211 h 1251"/>
                <a:gd name="T56" fmla="*/ 1138 w 3184"/>
                <a:gd name="T57" fmla="*/ 1123 h 1251"/>
                <a:gd name="T58" fmla="*/ 1021 w 3184"/>
                <a:gd name="T59" fmla="*/ 1023 h 1251"/>
                <a:gd name="T60" fmla="*/ 976 w 3184"/>
                <a:gd name="T61" fmla="*/ 999 h 1251"/>
                <a:gd name="T62" fmla="*/ 919 w 3184"/>
                <a:gd name="T63" fmla="*/ 977 h 1251"/>
                <a:gd name="T64" fmla="*/ 772 w 3184"/>
                <a:gd name="T65" fmla="*/ 951 h 1251"/>
                <a:gd name="T66" fmla="*/ 622 w 3184"/>
                <a:gd name="T67" fmla="*/ 970 h 1251"/>
                <a:gd name="T68" fmla="*/ 519 w 3184"/>
                <a:gd name="T69" fmla="*/ 1010 h 1251"/>
                <a:gd name="T70" fmla="*/ 504 w 3184"/>
                <a:gd name="T71" fmla="*/ 1018 h 1251"/>
                <a:gd name="T72" fmla="*/ 397 w 3184"/>
                <a:gd name="T73" fmla="*/ 1097 h 1251"/>
                <a:gd name="T74" fmla="*/ 308 w 3184"/>
                <a:gd name="T75" fmla="*/ 1188 h 1251"/>
                <a:gd name="T76" fmla="*/ 218 w 3184"/>
                <a:gd name="T77" fmla="*/ 1240 h 1251"/>
                <a:gd name="T78" fmla="*/ 120 w 3184"/>
                <a:gd name="T79" fmla="*/ 1248 h 1251"/>
                <a:gd name="T80" fmla="*/ 87 w 3184"/>
                <a:gd name="T81" fmla="*/ 1240 h 1251"/>
                <a:gd name="T82" fmla="*/ 0 w 3184"/>
                <a:gd name="T83" fmla="*/ 1190 h 1251"/>
                <a:gd name="T84" fmla="*/ 115 w 3184"/>
                <a:gd name="T85" fmla="*/ 919 h 1251"/>
                <a:gd name="T86" fmla="*/ 272 w 3184"/>
                <a:gd name="T87" fmla="*/ 674 h 1251"/>
                <a:gd name="T88" fmla="*/ 468 w 3184"/>
                <a:gd name="T89" fmla="*/ 460 h 1251"/>
                <a:gd name="T90" fmla="*/ 697 w 3184"/>
                <a:gd name="T91" fmla="*/ 281 h 1251"/>
                <a:gd name="T92" fmla="*/ 955 w 3184"/>
                <a:gd name="T93" fmla="*/ 142 h 1251"/>
                <a:gd name="T94" fmla="*/ 1236 w 3184"/>
                <a:gd name="T95" fmla="*/ 47 h 1251"/>
                <a:gd name="T96" fmla="*/ 1537 w 3184"/>
                <a:gd name="T97" fmla="*/ 3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4" h="1251">
                  <a:moveTo>
                    <a:pt x="1641" y="0"/>
                  </a:moveTo>
                  <a:lnTo>
                    <a:pt x="1747" y="3"/>
                  </a:lnTo>
                  <a:lnTo>
                    <a:pt x="1850" y="13"/>
                  </a:lnTo>
                  <a:lnTo>
                    <a:pt x="1953" y="29"/>
                  </a:lnTo>
                  <a:lnTo>
                    <a:pt x="2052" y="49"/>
                  </a:lnTo>
                  <a:lnTo>
                    <a:pt x="2151" y="77"/>
                  </a:lnTo>
                  <a:lnTo>
                    <a:pt x="2246" y="109"/>
                  </a:lnTo>
                  <a:lnTo>
                    <a:pt x="2338" y="147"/>
                  </a:lnTo>
                  <a:lnTo>
                    <a:pt x="2428" y="190"/>
                  </a:lnTo>
                  <a:lnTo>
                    <a:pt x="2516" y="238"/>
                  </a:lnTo>
                  <a:lnTo>
                    <a:pt x="2600" y="291"/>
                  </a:lnTo>
                  <a:lnTo>
                    <a:pt x="2681" y="349"/>
                  </a:lnTo>
                  <a:lnTo>
                    <a:pt x="2757" y="411"/>
                  </a:lnTo>
                  <a:lnTo>
                    <a:pt x="2831" y="477"/>
                  </a:lnTo>
                  <a:lnTo>
                    <a:pt x="2901" y="547"/>
                  </a:lnTo>
                  <a:lnTo>
                    <a:pt x="2966" y="620"/>
                  </a:lnTo>
                  <a:lnTo>
                    <a:pt x="3027" y="698"/>
                  </a:lnTo>
                  <a:lnTo>
                    <a:pt x="3084" y="779"/>
                  </a:lnTo>
                  <a:lnTo>
                    <a:pt x="3135" y="864"/>
                  </a:lnTo>
                  <a:lnTo>
                    <a:pt x="3184" y="951"/>
                  </a:lnTo>
                  <a:lnTo>
                    <a:pt x="3137" y="954"/>
                  </a:lnTo>
                  <a:lnTo>
                    <a:pt x="3092" y="962"/>
                  </a:lnTo>
                  <a:lnTo>
                    <a:pt x="3048" y="972"/>
                  </a:lnTo>
                  <a:lnTo>
                    <a:pt x="3004" y="988"/>
                  </a:lnTo>
                  <a:lnTo>
                    <a:pt x="2962" y="1007"/>
                  </a:lnTo>
                  <a:lnTo>
                    <a:pt x="2955" y="1010"/>
                  </a:lnTo>
                  <a:lnTo>
                    <a:pt x="2949" y="1013"/>
                  </a:lnTo>
                  <a:lnTo>
                    <a:pt x="2945" y="1016"/>
                  </a:lnTo>
                  <a:lnTo>
                    <a:pt x="2943" y="1017"/>
                  </a:lnTo>
                  <a:lnTo>
                    <a:pt x="2941" y="1018"/>
                  </a:lnTo>
                  <a:lnTo>
                    <a:pt x="2902" y="1042"/>
                  </a:lnTo>
                  <a:lnTo>
                    <a:pt x="2867" y="1068"/>
                  </a:lnTo>
                  <a:lnTo>
                    <a:pt x="2834" y="1097"/>
                  </a:lnTo>
                  <a:lnTo>
                    <a:pt x="2801" y="1127"/>
                  </a:lnTo>
                  <a:lnTo>
                    <a:pt x="2772" y="1161"/>
                  </a:lnTo>
                  <a:lnTo>
                    <a:pt x="2744" y="1188"/>
                  </a:lnTo>
                  <a:lnTo>
                    <a:pt x="2715" y="1211"/>
                  </a:lnTo>
                  <a:lnTo>
                    <a:pt x="2685" y="1228"/>
                  </a:lnTo>
                  <a:lnTo>
                    <a:pt x="2654" y="1240"/>
                  </a:lnTo>
                  <a:lnTo>
                    <a:pt x="2622" y="1249"/>
                  </a:lnTo>
                  <a:lnTo>
                    <a:pt x="2590" y="1251"/>
                  </a:lnTo>
                  <a:lnTo>
                    <a:pt x="2557" y="1248"/>
                  </a:lnTo>
                  <a:lnTo>
                    <a:pt x="2556" y="1248"/>
                  </a:lnTo>
                  <a:lnTo>
                    <a:pt x="2554" y="1248"/>
                  </a:lnTo>
                  <a:lnTo>
                    <a:pt x="2524" y="1240"/>
                  </a:lnTo>
                  <a:lnTo>
                    <a:pt x="2494" y="1229"/>
                  </a:lnTo>
                  <a:lnTo>
                    <a:pt x="2466" y="1213"/>
                  </a:lnTo>
                  <a:lnTo>
                    <a:pt x="2438" y="1192"/>
                  </a:lnTo>
                  <a:lnTo>
                    <a:pt x="2412" y="1168"/>
                  </a:lnTo>
                  <a:lnTo>
                    <a:pt x="2388" y="1139"/>
                  </a:lnTo>
                  <a:lnTo>
                    <a:pt x="2383" y="1134"/>
                  </a:lnTo>
                  <a:lnTo>
                    <a:pt x="2338" y="1090"/>
                  </a:lnTo>
                  <a:lnTo>
                    <a:pt x="2290" y="1053"/>
                  </a:lnTo>
                  <a:lnTo>
                    <a:pt x="2242" y="1021"/>
                  </a:lnTo>
                  <a:lnTo>
                    <a:pt x="2192" y="995"/>
                  </a:lnTo>
                  <a:lnTo>
                    <a:pt x="2140" y="975"/>
                  </a:lnTo>
                  <a:lnTo>
                    <a:pt x="2088" y="961"/>
                  </a:lnTo>
                  <a:lnTo>
                    <a:pt x="2034" y="953"/>
                  </a:lnTo>
                  <a:lnTo>
                    <a:pt x="1978" y="951"/>
                  </a:lnTo>
                  <a:lnTo>
                    <a:pt x="1947" y="951"/>
                  </a:lnTo>
                  <a:lnTo>
                    <a:pt x="1914" y="954"/>
                  </a:lnTo>
                  <a:lnTo>
                    <a:pt x="1909" y="953"/>
                  </a:lnTo>
                  <a:lnTo>
                    <a:pt x="1903" y="954"/>
                  </a:lnTo>
                  <a:lnTo>
                    <a:pt x="1850" y="963"/>
                  </a:lnTo>
                  <a:lnTo>
                    <a:pt x="1798" y="976"/>
                  </a:lnTo>
                  <a:lnTo>
                    <a:pt x="1748" y="996"/>
                  </a:lnTo>
                  <a:lnTo>
                    <a:pt x="1699" y="1022"/>
                  </a:lnTo>
                  <a:lnTo>
                    <a:pt x="1651" y="1054"/>
                  </a:lnTo>
                  <a:lnTo>
                    <a:pt x="1604" y="1091"/>
                  </a:lnTo>
                  <a:lnTo>
                    <a:pt x="1559" y="1134"/>
                  </a:lnTo>
                  <a:lnTo>
                    <a:pt x="1556" y="1139"/>
                  </a:lnTo>
                  <a:lnTo>
                    <a:pt x="1531" y="1168"/>
                  </a:lnTo>
                  <a:lnTo>
                    <a:pt x="1505" y="1192"/>
                  </a:lnTo>
                  <a:lnTo>
                    <a:pt x="1478" y="1213"/>
                  </a:lnTo>
                  <a:lnTo>
                    <a:pt x="1449" y="1229"/>
                  </a:lnTo>
                  <a:lnTo>
                    <a:pt x="1420" y="1240"/>
                  </a:lnTo>
                  <a:lnTo>
                    <a:pt x="1390" y="1248"/>
                  </a:lnTo>
                  <a:lnTo>
                    <a:pt x="1386" y="1248"/>
                  </a:lnTo>
                  <a:lnTo>
                    <a:pt x="1386" y="1248"/>
                  </a:lnTo>
                  <a:lnTo>
                    <a:pt x="1354" y="1251"/>
                  </a:lnTo>
                  <a:lnTo>
                    <a:pt x="1321" y="1249"/>
                  </a:lnTo>
                  <a:lnTo>
                    <a:pt x="1290" y="1240"/>
                  </a:lnTo>
                  <a:lnTo>
                    <a:pt x="1259" y="1228"/>
                  </a:lnTo>
                  <a:lnTo>
                    <a:pt x="1228" y="1211"/>
                  </a:lnTo>
                  <a:lnTo>
                    <a:pt x="1199" y="1188"/>
                  </a:lnTo>
                  <a:lnTo>
                    <a:pt x="1172" y="1161"/>
                  </a:lnTo>
                  <a:lnTo>
                    <a:pt x="1138" y="1123"/>
                  </a:lnTo>
                  <a:lnTo>
                    <a:pt x="1102" y="1087"/>
                  </a:lnTo>
                  <a:lnTo>
                    <a:pt x="1063" y="1054"/>
                  </a:lnTo>
                  <a:lnTo>
                    <a:pt x="1021" y="1023"/>
                  </a:lnTo>
                  <a:lnTo>
                    <a:pt x="1015" y="1019"/>
                  </a:lnTo>
                  <a:lnTo>
                    <a:pt x="1008" y="1015"/>
                  </a:lnTo>
                  <a:lnTo>
                    <a:pt x="976" y="999"/>
                  </a:lnTo>
                  <a:lnTo>
                    <a:pt x="973" y="998"/>
                  </a:lnTo>
                  <a:lnTo>
                    <a:pt x="966" y="995"/>
                  </a:lnTo>
                  <a:lnTo>
                    <a:pt x="919" y="977"/>
                  </a:lnTo>
                  <a:lnTo>
                    <a:pt x="871" y="964"/>
                  </a:lnTo>
                  <a:lnTo>
                    <a:pt x="822" y="955"/>
                  </a:lnTo>
                  <a:lnTo>
                    <a:pt x="772" y="951"/>
                  </a:lnTo>
                  <a:lnTo>
                    <a:pt x="721" y="952"/>
                  </a:lnTo>
                  <a:lnTo>
                    <a:pt x="671" y="958"/>
                  </a:lnTo>
                  <a:lnTo>
                    <a:pt x="622" y="970"/>
                  </a:lnTo>
                  <a:lnTo>
                    <a:pt x="573" y="986"/>
                  </a:lnTo>
                  <a:lnTo>
                    <a:pt x="526" y="1007"/>
                  </a:lnTo>
                  <a:lnTo>
                    <a:pt x="519" y="1010"/>
                  </a:lnTo>
                  <a:lnTo>
                    <a:pt x="513" y="1013"/>
                  </a:lnTo>
                  <a:lnTo>
                    <a:pt x="508" y="1016"/>
                  </a:lnTo>
                  <a:lnTo>
                    <a:pt x="504" y="1018"/>
                  </a:lnTo>
                  <a:lnTo>
                    <a:pt x="466" y="1042"/>
                  </a:lnTo>
                  <a:lnTo>
                    <a:pt x="430" y="1068"/>
                  </a:lnTo>
                  <a:lnTo>
                    <a:pt x="397" y="1097"/>
                  </a:lnTo>
                  <a:lnTo>
                    <a:pt x="365" y="1127"/>
                  </a:lnTo>
                  <a:lnTo>
                    <a:pt x="335" y="1161"/>
                  </a:lnTo>
                  <a:lnTo>
                    <a:pt x="308" y="1188"/>
                  </a:lnTo>
                  <a:lnTo>
                    <a:pt x="278" y="1211"/>
                  </a:lnTo>
                  <a:lnTo>
                    <a:pt x="248" y="1228"/>
                  </a:lnTo>
                  <a:lnTo>
                    <a:pt x="218" y="1240"/>
                  </a:lnTo>
                  <a:lnTo>
                    <a:pt x="185" y="1249"/>
                  </a:lnTo>
                  <a:lnTo>
                    <a:pt x="153" y="1251"/>
                  </a:lnTo>
                  <a:lnTo>
                    <a:pt x="120" y="1248"/>
                  </a:lnTo>
                  <a:lnTo>
                    <a:pt x="120" y="1248"/>
                  </a:lnTo>
                  <a:lnTo>
                    <a:pt x="117" y="1248"/>
                  </a:lnTo>
                  <a:lnTo>
                    <a:pt x="87" y="1240"/>
                  </a:lnTo>
                  <a:lnTo>
                    <a:pt x="56" y="1228"/>
                  </a:lnTo>
                  <a:lnTo>
                    <a:pt x="28" y="1211"/>
                  </a:lnTo>
                  <a:lnTo>
                    <a:pt x="0" y="1190"/>
                  </a:lnTo>
                  <a:lnTo>
                    <a:pt x="33" y="1097"/>
                  </a:lnTo>
                  <a:lnTo>
                    <a:pt x="71" y="1007"/>
                  </a:lnTo>
                  <a:lnTo>
                    <a:pt x="115" y="919"/>
                  </a:lnTo>
                  <a:lnTo>
                    <a:pt x="163" y="834"/>
                  </a:lnTo>
                  <a:lnTo>
                    <a:pt x="216" y="752"/>
                  </a:lnTo>
                  <a:lnTo>
                    <a:pt x="272" y="674"/>
                  </a:lnTo>
                  <a:lnTo>
                    <a:pt x="334" y="599"/>
                  </a:lnTo>
                  <a:lnTo>
                    <a:pt x="399" y="527"/>
                  </a:lnTo>
                  <a:lnTo>
                    <a:pt x="468" y="460"/>
                  </a:lnTo>
                  <a:lnTo>
                    <a:pt x="541" y="396"/>
                  </a:lnTo>
                  <a:lnTo>
                    <a:pt x="618" y="336"/>
                  </a:lnTo>
                  <a:lnTo>
                    <a:pt x="697" y="281"/>
                  </a:lnTo>
                  <a:lnTo>
                    <a:pt x="780" y="230"/>
                  </a:lnTo>
                  <a:lnTo>
                    <a:pt x="866" y="184"/>
                  </a:lnTo>
                  <a:lnTo>
                    <a:pt x="955" y="142"/>
                  </a:lnTo>
                  <a:lnTo>
                    <a:pt x="1046" y="105"/>
                  </a:lnTo>
                  <a:lnTo>
                    <a:pt x="1140" y="74"/>
                  </a:lnTo>
                  <a:lnTo>
                    <a:pt x="1236" y="47"/>
                  </a:lnTo>
                  <a:lnTo>
                    <a:pt x="1334" y="27"/>
                  </a:lnTo>
                  <a:lnTo>
                    <a:pt x="1435" y="12"/>
                  </a:lnTo>
                  <a:lnTo>
                    <a:pt x="1537" y="3"/>
                  </a:lnTo>
                  <a:lnTo>
                    <a:pt x="1641" y="0"/>
                  </a:lnTo>
                  <a:close/>
                </a:path>
              </a:pathLst>
            </a:custGeom>
            <a:solidFill>
              <a:srgbClr val="6DBEDC"/>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73" name="Freeform 57">
              <a:extLst>
                <a:ext uri="{FF2B5EF4-FFF2-40B4-BE49-F238E27FC236}">
                  <a16:creationId xmlns:a16="http://schemas.microsoft.com/office/drawing/2014/main" id="{BC7EE823-0E05-470F-8C56-10CAD18DB6EE}"/>
                </a:ext>
              </a:extLst>
            </p:cNvPr>
            <p:cNvSpPr>
              <a:spLocks/>
            </p:cNvSpPr>
            <p:nvPr/>
          </p:nvSpPr>
          <p:spPr bwMode="auto">
            <a:xfrm>
              <a:off x="1634" y="2364"/>
              <a:ext cx="34" cy="51"/>
            </a:xfrm>
            <a:custGeom>
              <a:avLst/>
              <a:gdLst>
                <a:gd name="T0" fmla="*/ 101 w 204"/>
                <a:gd name="T1" fmla="*/ 0 h 303"/>
                <a:gd name="T2" fmla="*/ 122 w 204"/>
                <a:gd name="T3" fmla="*/ 3 h 303"/>
                <a:gd name="T4" fmla="*/ 142 w 204"/>
                <a:gd name="T5" fmla="*/ 11 h 303"/>
                <a:gd name="T6" fmla="*/ 160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4 w 204"/>
                <a:gd name="T33" fmla="*/ 300 h 303"/>
                <a:gd name="T34" fmla="*/ 103 w 204"/>
                <a:gd name="T35" fmla="*/ 303 h 303"/>
                <a:gd name="T36" fmla="*/ 81 w 204"/>
                <a:gd name="T37" fmla="*/ 300 h 303"/>
                <a:gd name="T38" fmla="*/ 62 w 204"/>
                <a:gd name="T39" fmla="*/ 291 h 303"/>
                <a:gd name="T40" fmla="*/ 45 w 204"/>
                <a:gd name="T41" fmla="*/ 279 h 303"/>
                <a:gd name="T42" fmla="*/ 29 w 204"/>
                <a:gd name="T43" fmla="*/ 261 h 303"/>
                <a:gd name="T44" fmla="*/ 16 w 204"/>
                <a:gd name="T45" fmla="*/ 239 h 303"/>
                <a:gd name="T46" fmla="*/ 8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6 w 204"/>
                <a:gd name="T59" fmla="*/ 63 h 303"/>
                <a:gd name="T60" fmla="*/ 28 w 204"/>
                <a:gd name="T61" fmla="*/ 41 h 303"/>
                <a:gd name="T62" fmla="*/ 44 w 204"/>
                <a:gd name="T63" fmla="*/ 23 h 303"/>
                <a:gd name="T64" fmla="*/ 60 w 204"/>
                <a:gd name="T65" fmla="*/ 11 h 303"/>
                <a:gd name="T66" fmla="*/ 80 w 204"/>
                <a:gd name="T67" fmla="*/ 3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1"/>
                  </a:lnTo>
                  <a:lnTo>
                    <a:pt x="160"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4" y="300"/>
                  </a:lnTo>
                  <a:lnTo>
                    <a:pt x="103" y="303"/>
                  </a:lnTo>
                  <a:lnTo>
                    <a:pt x="81" y="300"/>
                  </a:lnTo>
                  <a:lnTo>
                    <a:pt x="62" y="291"/>
                  </a:lnTo>
                  <a:lnTo>
                    <a:pt x="45" y="279"/>
                  </a:lnTo>
                  <a:lnTo>
                    <a:pt x="29" y="261"/>
                  </a:lnTo>
                  <a:lnTo>
                    <a:pt x="16" y="239"/>
                  </a:lnTo>
                  <a:lnTo>
                    <a:pt x="8" y="213"/>
                  </a:lnTo>
                  <a:lnTo>
                    <a:pt x="2" y="183"/>
                  </a:lnTo>
                  <a:lnTo>
                    <a:pt x="0" y="151"/>
                  </a:lnTo>
                  <a:lnTo>
                    <a:pt x="0" y="149"/>
                  </a:lnTo>
                  <a:lnTo>
                    <a:pt x="2" y="117"/>
                  </a:lnTo>
                  <a:lnTo>
                    <a:pt x="7" y="88"/>
                  </a:lnTo>
                  <a:lnTo>
                    <a:pt x="16" y="63"/>
                  </a:lnTo>
                  <a:lnTo>
                    <a:pt x="28" y="41"/>
                  </a:lnTo>
                  <a:lnTo>
                    <a:pt x="44" y="23"/>
                  </a:lnTo>
                  <a:lnTo>
                    <a:pt x="60" y="11"/>
                  </a:lnTo>
                  <a:lnTo>
                    <a:pt x="80" y="3"/>
                  </a:lnTo>
                  <a:lnTo>
                    <a:pt x="101" y="0"/>
                  </a:lnTo>
                  <a:close/>
                </a:path>
              </a:pathLst>
            </a:custGeom>
            <a:solidFill>
              <a:srgbClr val="0067C5">
                <a:lumMod val="75000"/>
              </a:srgbClr>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74" name="Freeform 58">
              <a:extLst>
                <a:ext uri="{FF2B5EF4-FFF2-40B4-BE49-F238E27FC236}">
                  <a16:creationId xmlns:a16="http://schemas.microsoft.com/office/drawing/2014/main" id="{8FAA6A3D-9293-46CF-9EF2-C49222948617}"/>
                </a:ext>
              </a:extLst>
            </p:cNvPr>
            <p:cNvSpPr>
              <a:spLocks/>
            </p:cNvSpPr>
            <p:nvPr/>
          </p:nvSpPr>
          <p:spPr bwMode="auto">
            <a:xfrm>
              <a:off x="1432" y="2364"/>
              <a:ext cx="34" cy="51"/>
            </a:xfrm>
            <a:custGeom>
              <a:avLst/>
              <a:gdLst>
                <a:gd name="T0" fmla="*/ 102 w 204"/>
                <a:gd name="T1" fmla="*/ 0 h 303"/>
                <a:gd name="T2" fmla="*/ 122 w 204"/>
                <a:gd name="T3" fmla="*/ 3 h 303"/>
                <a:gd name="T4" fmla="*/ 142 w 204"/>
                <a:gd name="T5" fmla="*/ 11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5 w 204"/>
                <a:gd name="T33" fmla="*/ 300 h 303"/>
                <a:gd name="T34" fmla="*/ 103 w 204"/>
                <a:gd name="T35" fmla="*/ 303 h 303"/>
                <a:gd name="T36" fmla="*/ 82 w 204"/>
                <a:gd name="T37" fmla="*/ 300 h 303"/>
                <a:gd name="T38" fmla="*/ 62 w 204"/>
                <a:gd name="T39" fmla="*/ 291 h 303"/>
                <a:gd name="T40" fmla="*/ 45 w 204"/>
                <a:gd name="T41" fmla="*/ 279 h 303"/>
                <a:gd name="T42" fmla="*/ 29 w 204"/>
                <a:gd name="T43" fmla="*/ 261 h 303"/>
                <a:gd name="T44" fmla="*/ 17 w 204"/>
                <a:gd name="T45" fmla="*/ 239 h 303"/>
                <a:gd name="T46" fmla="*/ 7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7 w 204"/>
                <a:gd name="T59" fmla="*/ 63 h 303"/>
                <a:gd name="T60" fmla="*/ 28 w 204"/>
                <a:gd name="T61" fmla="*/ 41 h 303"/>
                <a:gd name="T62" fmla="*/ 43 w 204"/>
                <a:gd name="T63" fmla="*/ 23 h 303"/>
                <a:gd name="T64" fmla="*/ 61 w 204"/>
                <a:gd name="T65" fmla="*/ 11 h 303"/>
                <a:gd name="T66" fmla="*/ 80 w 204"/>
                <a:gd name="T67" fmla="*/ 3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2" y="3"/>
                  </a:lnTo>
                  <a:lnTo>
                    <a:pt x="142" y="11"/>
                  </a:lnTo>
                  <a:lnTo>
                    <a:pt x="159"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5" y="300"/>
                  </a:lnTo>
                  <a:lnTo>
                    <a:pt x="103" y="303"/>
                  </a:lnTo>
                  <a:lnTo>
                    <a:pt x="82" y="300"/>
                  </a:lnTo>
                  <a:lnTo>
                    <a:pt x="62" y="291"/>
                  </a:lnTo>
                  <a:lnTo>
                    <a:pt x="45" y="279"/>
                  </a:lnTo>
                  <a:lnTo>
                    <a:pt x="29" y="261"/>
                  </a:lnTo>
                  <a:lnTo>
                    <a:pt x="17" y="239"/>
                  </a:lnTo>
                  <a:lnTo>
                    <a:pt x="7" y="213"/>
                  </a:lnTo>
                  <a:lnTo>
                    <a:pt x="2" y="183"/>
                  </a:lnTo>
                  <a:lnTo>
                    <a:pt x="0" y="151"/>
                  </a:lnTo>
                  <a:lnTo>
                    <a:pt x="0" y="149"/>
                  </a:lnTo>
                  <a:lnTo>
                    <a:pt x="2" y="117"/>
                  </a:lnTo>
                  <a:lnTo>
                    <a:pt x="7" y="88"/>
                  </a:lnTo>
                  <a:lnTo>
                    <a:pt x="17" y="63"/>
                  </a:lnTo>
                  <a:lnTo>
                    <a:pt x="28" y="41"/>
                  </a:lnTo>
                  <a:lnTo>
                    <a:pt x="43" y="23"/>
                  </a:lnTo>
                  <a:lnTo>
                    <a:pt x="61" y="11"/>
                  </a:lnTo>
                  <a:lnTo>
                    <a:pt x="80" y="3"/>
                  </a:lnTo>
                  <a:lnTo>
                    <a:pt x="102" y="0"/>
                  </a:lnTo>
                  <a:close/>
                </a:path>
              </a:pathLst>
            </a:custGeom>
            <a:solidFill>
              <a:srgbClr val="0067C5">
                <a:lumMod val="75000"/>
              </a:srgbClr>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sp>
          <p:nvSpPr>
            <p:cNvPr id="75" name="Freeform 59">
              <a:extLst>
                <a:ext uri="{FF2B5EF4-FFF2-40B4-BE49-F238E27FC236}">
                  <a16:creationId xmlns:a16="http://schemas.microsoft.com/office/drawing/2014/main" id="{F451F774-2C5E-4E97-8E17-8C2D6B3BF94D}"/>
                </a:ext>
              </a:extLst>
            </p:cNvPr>
            <p:cNvSpPr>
              <a:spLocks noEditPoints="1"/>
            </p:cNvSpPr>
            <p:nvPr/>
          </p:nvSpPr>
          <p:spPr bwMode="auto">
            <a:xfrm>
              <a:off x="1222" y="2230"/>
              <a:ext cx="575" cy="366"/>
            </a:xfrm>
            <a:custGeom>
              <a:avLst/>
              <a:gdLst>
                <a:gd name="T0" fmla="*/ 1830 w 3451"/>
                <a:gd name="T1" fmla="*/ 662 h 2194"/>
                <a:gd name="T2" fmla="*/ 1812 w 3451"/>
                <a:gd name="T3" fmla="*/ 791 h 2194"/>
                <a:gd name="T4" fmla="*/ 1883 w 3451"/>
                <a:gd name="T5" fmla="*/ 827 h 2194"/>
                <a:gd name="T6" fmla="*/ 1925 w 3451"/>
                <a:gd name="T7" fmla="*/ 1237 h 2194"/>
                <a:gd name="T8" fmla="*/ 1981 w 3451"/>
                <a:gd name="T9" fmla="*/ 1285 h 2194"/>
                <a:gd name="T10" fmla="*/ 2129 w 3451"/>
                <a:gd name="T11" fmla="*/ 1237 h 2194"/>
                <a:gd name="T12" fmla="*/ 2100 w 3451"/>
                <a:gd name="T13" fmla="*/ 618 h 2194"/>
                <a:gd name="T14" fmla="*/ 750 w 3451"/>
                <a:gd name="T15" fmla="*/ 615 h 2194"/>
                <a:gd name="T16" fmla="*/ 569 w 3451"/>
                <a:gd name="T17" fmla="*/ 703 h 2194"/>
                <a:gd name="T18" fmla="*/ 627 w 3451"/>
                <a:gd name="T19" fmla="*/ 824 h 2194"/>
                <a:gd name="T20" fmla="*/ 699 w 3451"/>
                <a:gd name="T21" fmla="*/ 857 h 2194"/>
                <a:gd name="T22" fmla="*/ 730 w 3451"/>
                <a:gd name="T23" fmla="*/ 1273 h 2194"/>
                <a:gd name="T24" fmla="*/ 898 w 3451"/>
                <a:gd name="T25" fmla="*/ 1261 h 2194"/>
                <a:gd name="T26" fmla="*/ 894 w 3451"/>
                <a:gd name="T27" fmla="*/ 629 h 2194"/>
                <a:gd name="T28" fmla="*/ 2535 w 3451"/>
                <a:gd name="T29" fmla="*/ 612 h 2194"/>
                <a:gd name="T30" fmla="*/ 2349 w 3451"/>
                <a:gd name="T31" fmla="*/ 712 h 2194"/>
                <a:gd name="T32" fmla="*/ 2272 w 3451"/>
                <a:gd name="T33" fmla="*/ 912 h 2194"/>
                <a:gd name="T34" fmla="*/ 2296 w 3451"/>
                <a:gd name="T35" fmla="*/ 1098 h 2194"/>
                <a:gd name="T36" fmla="*/ 2428 w 3451"/>
                <a:gd name="T37" fmla="*/ 1256 h 2194"/>
                <a:gd name="T38" fmla="*/ 2655 w 3451"/>
                <a:gd name="T39" fmla="*/ 1282 h 2194"/>
                <a:gd name="T40" fmla="*/ 2823 w 3451"/>
                <a:gd name="T41" fmla="*/ 1160 h 2194"/>
                <a:gd name="T42" fmla="*/ 2882 w 3451"/>
                <a:gd name="T43" fmla="*/ 950 h 2194"/>
                <a:gd name="T44" fmla="*/ 2842 w 3451"/>
                <a:gd name="T45" fmla="*/ 770 h 2194"/>
                <a:gd name="T46" fmla="*/ 2691 w 3451"/>
                <a:gd name="T47" fmla="*/ 630 h 2194"/>
                <a:gd name="T48" fmla="*/ 1285 w 3451"/>
                <a:gd name="T49" fmla="*/ 619 h 2194"/>
                <a:gd name="T50" fmla="*/ 1115 w 3451"/>
                <a:gd name="T51" fmla="*/ 740 h 2194"/>
                <a:gd name="T52" fmla="*/ 1057 w 3451"/>
                <a:gd name="T53" fmla="*/ 950 h 2194"/>
                <a:gd name="T54" fmla="*/ 1096 w 3451"/>
                <a:gd name="T55" fmla="*/ 1131 h 2194"/>
                <a:gd name="T56" fmla="*/ 1247 w 3451"/>
                <a:gd name="T57" fmla="*/ 1270 h 2194"/>
                <a:gd name="T58" fmla="*/ 1477 w 3451"/>
                <a:gd name="T59" fmla="*/ 1270 h 2194"/>
                <a:gd name="T60" fmla="*/ 1629 w 3451"/>
                <a:gd name="T61" fmla="*/ 1129 h 2194"/>
                <a:gd name="T62" fmla="*/ 1669 w 3451"/>
                <a:gd name="T63" fmla="*/ 948 h 2194"/>
                <a:gd name="T64" fmla="*/ 1612 w 3451"/>
                <a:gd name="T65" fmla="*/ 739 h 2194"/>
                <a:gd name="T66" fmla="*/ 1443 w 3451"/>
                <a:gd name="T67" fmla="*/ 619 h 2194"/>
                <a:gd name="T68" fmla="*/ 940 w 3451"/>
                <a:gd name="T69" fmla="*/ 26 h 2194"/>
                <a:gd name="T70" fmla="*/ 1136 w 3451"/>
                <a:gd name="T71" fmla="*/ 200 h 2194"/>
                <a:gd name="T72" fmla="*/ 1415 w 3451"/>
                <a:gd name="T73" fmla="*/ 299 h 2194"/>
                <a:gd name="T74" fmla="*/ 1494 w 3451"/>
                <a:gd name="T75" fmla="*/ 299 h 2194"/>
                <a:gd name="T76" fmla="*/ 1796 w 3451"/>
                <a:gd name="T77" fmla="*/ 177 h 2194"/>
                <a:gd name="T78" fmla="*/ 1971 w 3451"/>
                <a:gd name="T79" fmla="*/ 25 h 2194"/>
                <a:gd name="T80" fmla="*/ 2156 w 3451"/>
                <a:gd name="T81" fmla="*/ 25 h 2194"/>
                <a:gd name="T82" fmla="*/ 2331 w 3451"/>
                <a:gd name="T83" fmla="*/ 177 h 2194"/>
                <a:gd name="T84" fmla="*/ 2633 w 3451"/>
                <a:gd name="T85" fmla="*/ 299 h 2194"/>
                <a:gd name="T86" fmla="*/ 2889 w 3451"/>
                <a:gd name="T87" fmla="*/ 252 h 2194"/>
                <a:gd name="T88" fmla="*/ 3112 w 3451"/>
                <a:gd name="T89" fmla="*/ 72 h 2194"/>
                <a:gd name="T90" fmla="*/ 3306 w 3451"/>
                <a:gd name="T91" fmla="*/ 2 h 2194"/>
                <a:gd name="T92" fmla="*/ 3442 w 3451"/>
                <a:gd name="T93" fmla="*/ 292 h 2194"/>
                <a:gd name="T94" fmla="*/ 3403 w 3451"/>
                <a:gd name="T95" fmla="*/ 879 h 2194"/>
                <a:gd name="T96" fmla="*/ 3163 w 3451"/>
                <a:gd name="T97" fmla="*/ 1423 h 2194"/>
                <a:gd name="T98" fmla="*/ 2761 w 3451"/>
                <a:gd name="T99" fmla="*/ 1849 h 2194"/>
                <a:gd name="T100" fmla="*/ 2233 w 3451"/>
                <a:gd name="T101" fmla="*/ 2119 h 2194"/>
                <a:gd name="T102" fmla="*/ 1620 w 3451"/>
                <a:gd name="T103" fmla="*/ 2191 h 2194"/>
                <a:gd name="T104" fmla="*/ 1031 w 3451"/>
                <a:gd name="T105" fmla="*/ 2048 h 2194"/>
                <a:gd name="T106" fmla="*/ 540 w 3451"/>
                <a:gd name="T107" fmla="*/ 1723 h 2194"/>
                <a:gd name="T108" fmla="*/ 189 w 3451"/>
                <a:gd name="T109" fmla="*/ 1253 h 2194"/>
                <a:gd name="T110" fmla="*/ 13 w 3451"/>
                <a:gd name="T111" fmla="*/ 677 h 2194"/>
                <a:gd name="T112" fmla="*/ 57 w 3451"/>
                <a:gd name="T113" fmla="*/ 270 h 2194"/>
                <a:gd name="T114" fmla="*/ 311 w 3451"/>
                <a:gd name="T115" fmla="*/ 295 h 2194"/>
                <a:gd name="T116" fmla="*/ 582 w 3451"/>
                <a:gd name="T117" fmla="*/ 166 h 2194"/>
                <a:gd name="T118" fmla="*/ 770 w 3451"/>
                <a:gd name="T119" fmla="*/ 11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51" h="2194">
                  <a:moveTo>
                    <a:pt x="1985" y="616"/>
                  </a:moveTo>
                  <a:lnTo>
                    <a:pt x="1981" y="617"/>
                  </a:lnTo>
                  <a:lnTo>
                    <a:pt x="1977" y="618"/>
                  </a:lnTo>
                  <a:lnTo>
                    <a:pt x="1974" y="620"/>
                  </a:lnTo>
                  <a:lnTo>
                    <a:pt x="1971" y="621"/>
                  </a:lnTo>
                  <a:lnTo>
                    <a:pt x="1830" y="662"/>
                  </a:lnTo>
                  <a:lnTo>
                    <a:pt x="1815" y="668"/>
                  </a:lnTo>
                  <a:lnTo>
                    <a:pt x="1804" y="679"/>
                  </a:lnTo>
                  <a:lnTo>
                    <a:pt x="1796" y="692"/>
                  </a:lnTo>
                  <a:lnTo>
                    <a:pt x="1793" y="708"/>
                  </a:lnTo>
                  <a:lnTo>
                    <a:pt x="1794" y="724"/>
                  </a:lnTo>
                  <a:lnTo>
                    <a:pt x="1812" y="791"/>
                  </a:lnTo>
                  <a:lnTo>
                    <a:pt x="1817" y="805"/>
                  </a:lnTo>
                  <a:lnTo>
                    <a:pt x="1826" y="817"/>
                  </a:lnTo>
                  <a:lnTo>
                    <a:pt x="1838" y="825"/>
                  </a:lnTo>
                  <a:lnTo>
                    <a:pt x="1852" y="828"/>
                  </a:lnTo>
                  <a:lnTo>
                    <a:pt x="1867" y="828"/>
                  </a:lnTo>
                  <a:lnTo>
                    <a:pt x="1883" y="827"/>
                  </a:lnTo>
                  <a:lnTo>
                    <a:pt x="1897" y="830"/>
                  </a:lnTo>
                  <a:lnTo>
                    <a:pt x="1908" y="838"/>
                  </a:lnTo>
                  <a:lnTo>
                    <a:pt x="1917" y="849"/>
                  </a:lnTo>
                  <a:lnTo>
                    <a:pt x="1923" y="862"/>
                  </a:lnTo>
                  <a:lnTo>
                    <a:pt x="1925" y="878"/>
                  </a:lnTo>
                  <a:lnTo>
                    <a:pt x="1925" y="1237"/>
                  </a:lnTo>
                  <a:lnTo>
                    <a:pt x="1927" y="1250"/>
                  </a:lnTo>
                  <a:lnTo>
                    <a:pt x="1933" y="1262"/>
                  </a:lnTo>
                  <a:lnTo>
                    <a:pt x="1943" y="1271"/>
                  </a:lnTo>
                  <a:lnTo>
                    <a:pt x="1954" y="1279"/>
                  </a:lnTo>
                  <a:lnTo>
                    <a:pt x="1968" y="1283"/>
                  </a:lnTo>
                  <a:lnTo>
                    <a:pt x="1981" y="1285"/>
                  </a:lnTo>
                  <a:lnTo>
                    <a:pt x="2086" y="1285"/>
                  </a:lnTo>
                  <a:lnTo>
                    <a:pt x="2102" y="1282"/>
                  </a:lnTo>
                  <a:lnTo>
                    <a:pt x="2113" y="1276"/>
                  </a:lnTo>
                  <a:lnTo>
                    <a:pt x="2122" y="1266"/>
                  </a:lnTo>
                  <a:lnTo>
                    <a:pt x="2127" y="1253"/>
                  </a:lnTo>
                  <a:lnTo>
                    <a:pt x="2129" y="1237"/>
                  </a:lnTo>
                  <a:lnTo>
                    <a:pt x="2129" y="673"/>
                  </a:lnTo>
                  <a:lnTo>
                    <a:pt x="2128" y="659"/>
                  </a:lnTo>
                  <a:lnTo>
                    <a:pt x="2124" y="646"/>
                  </a:lnTo>
                  <a:lnTo>
                    <a:pt x="2119" y="634"/>
                  </a:lnTo>
                  <a:lnTo>
                    <a:pt x="2110" y="624"/>
                  </a:lnTo>
                  <a:lnTo>
                    <a:pt x="2100" y="618"/>
                  </a:lnTo>
                  <a:lnTo>
                    <a:pt x="2086" y="616"/>
                  </a:lnTo>
                  <a:lnTo>
                    <a:pt x="1985" y="616"/>
                  </a:lnTo>
                  <a:close/>
                  <a:moveTo>
                    <a:pt x="760" y="611"/>
                  </a:moveTo>
                  <a:lnTo>
                    <a:pt x="756" y="612"/>
                  </a:lnTo>
                  <a:lnTo>
                    <a:pt x="753" y="613"/>
                  </a:lnTo>
                  <a:lnTo>
                    <a:pt x="750" y="615"/>
                  </a:lnTo>
                  <a:lnTo>
                    <a:pt x="747" y="616"/>
                  </a:lnTo>
                  <a:lnTo>
                    <a:pt x="605" y="657"/>
                  </a:lnTo>
                  <a:lnTo>
                    <a:pt x="591" y="663"/>
                  </a:lnTo>
                  <a:lnTo>
                    <a:pt x="580" y="673"/>
                  </a:lnTo>
                  <a:lnTo>
                    <a:pt x="572" y="687"/>
                  </a:lnTo>
                  <a:lnTo>
                    <a:pt x="569" y="703"/>
                  </a:lnTo>
                  <a:lnTo>
                    <a:pt x="570" y="718"/>
                  </a:lnTo>
                  <a:lnTo>
                    <a:pt x="588" y="785"/>
                  </a:lnTo>
                  <a:lnTo>
                    <a:pt x="593" y="800"/>
                  </a:lnTo>
                  <a:lnTo>
                    <a:pt x="602" y="812"/>
                  </a:lnTo>
                  <a:lnTo>
                    <a:pt x="614" y="820"/>
                  </a:lnTo>
                  <a:lnTo>
                    <a:pt x="627" y="824"/>
                  </a:lnTo>
                  <a:lnTo>
                    <a:pt x="643" y="823"/>
                  </a:lnTo>
                  <a:lnTo>
                    <a:pt x="658" y="822"/>
                  </a:lnTo>
                  <a:lnTo>
                    <a:pt x="672" y="825"/>
                  </a:lnTo>
                  <a:lnTo>
                    <a:pt x="684" y="833"/>
                  </a:lnTo>
                  <a:lnTo>
                    <a:pt x="692" y="844"/>
                  </a:lnTo>
                  <a:lnTo>
                    <a:pt x="699" y="857"/>
                  </a:lnTo>
                  <a:lnTo>
                    <a:pt x="701" y="872"/>
                  </a:lnTo>
                  <a:lnTo>
                    <a:pt x="701" y="1232"/>
                  </a:lnTo>
                  <a:lnTo>
                    <a:pt x="703" y="1245"/>
                  </a:lnTo>
                  <a:lnTo>
                    <a:pt x="709" y="1257"/>
                  </a:lnTo>
                  <a:lnTo>
                    <a:pt x="718" y="1266"/>
                  </a:lnTo>
                  <a:lnTo>
                    <a:pt x="730" y="1273"/>
                  </a:lnTo>
                  <a:lnTo>
                    <a:pt x="744" y="1278"/>
                  </a:lnTo>
                  <a:lnTo>
                    <a:pt x="757" y="1280"/>
                  </a:lnTo>
                  <a:lnTo>
                    <a:pt x="862" y="1280"/>
                  </a:lnTo>
                  <a:lnTo>
                    <a:pt x="878" y="1278"/>
                  </a:lnTo>
                  <a:lnTo>
                    <a:pt x="889" y="1270"/>
                  </a:lnTo>
                  <a:lnTo>
                    <a:pt x="898" y="1261"/>
                  </a:lnTo>
                  <a:lnTo>
                    <a:pt x="903" y="1247"/>
                  </a:lnTo>
                  <a:lnTo>
                    <a:pt x="905" y="1232"/>
                  </a:lnTo>
                  <a:lnTo>
                    <a:pt x="905" y="668"/>
                  </a:lnTo>
                  <a:lnTo>
                    <a:pt x="904" y="655"/>
                  </a:lnTo>
                  <a:lnTo>
                    <a:pt x="900" y="641"/>
                  </a:lnTo>
                  <a:lnTo>
                    <a:pt x="894" y="629"/>
                  </a:lnTo>
                  <a:lnTo>
                    <a:pt x="886" y="619"/>
                  </a:lnTo>
                  <a:lnTo>
                    <a:pt x="876" y="613"/>
                  </a:lnTo>
                  <a:lnTo>
                    <a:pt x="862" y="611"/>
                  </a:lnTo>
                  <a:lnTo>
                    <a:pt x="760" y="611"/>
                  </a:lnTo>
                  <a:close/>
                  <a:moveTo>
                    <a:pt x="2577" y="609"/>
                  </a:moveTo>
                  <a:lnTo>
                    <a:pt x="2535" y="612"/>
                  </a:lnTo>
                  <a:lnTo>
                    <a:pt x="2498" y="619"/>
                  </a:lnTo>
                  <a:lnTo>
                    <a:pt x="2462" y="630"/>
                  </a:lnTo>
                  <a:lnTo>
                    <a:pt x="2430" y="645"/>
                  </a:lnTo>
                  <a:lnTo>
                    <a:pt x="2399" y="665"/>
                  </a:lnTo>
                  <a:lnTo>
                    <a:pt x="2373" y="687"/>
                  </a:lnTo>
                  <a:lnTo>
                    <a:pt x="2349" y="712"/>
                  </a:lnTo>
                  <a:lnTo>
                    <a:pt x="2328" y="740"/>
                  </a:lnTo>
                  <a:lnTo>
                    <a:pt x="2310" y="771"/>
                  </a:lnTo>
                  <a:lnTo>
                    <a:pt x="2296" y="804"/>
                  </a:lnTo>
                  <a:lnTo>
                    <a:pt x="2284" y="839"/>
                  </a:lnTo>
                  <a:lnTo>
                    <a:pt x="2276" y="874"/>
                  </a:lnTo>
                  <a:lnTo>
                    <a:pt x="2272" y="912"/>
                  </a:lnTo>
                  <a:lnTo>
                    <a:pt x="2269" y="950"/>
                  </a:lnTo>
                  <a:lnTo>
                    <a:pt x="2269" y="952"/>
                  </a:lnTo>
                  <a:lnTo>
                    <a:pt x="2272" y="991"/>
                  </a:lnTo>
                  <a:lnTo>
                    <a:pt x="2276" y="1027"/>
                  </a:lnTo>
                  <a:lnTo>
                    <a:pt x="2284" y="1064"/>
                  </a:lnTo>
                  <a:lnTo>
                    <a:pt x="2296" y="1098"/>
                  </a:lnTo>
                  <a:lnTo>
                    <a:pt x="2310" y="1131"/>
                  </a:lnTo>
                  <a:lnTo>
                    <a:pt x="2327" y="1161"/>
                  </a:lnTo>
                  <a:lnTo>
                    <a:pt x="2348" y="1189"/>
                  </a:lnTo>
                  <a:lnTo>
                    <a:pt x="2372" y="1214"/>
                  </a:lnTo>
                  <a:lnTo>
                    <a:pt x="2398" y="1237"/>
                  </a:lnTo>
                  <a:lnTo>
                    <a:pt x="2428" y="1256"/>
                  </a:lnTo>
                  <a:lnTo>
                    <a:pt x="2460" y="1270"/>
                  </a:lnTo>
                  <a:lnTo>
                    <a:pt x="2496" y="1282"/>
                  </a:lnTo>
                  <a:lnTo>
                    <a:pt x="2534" y="1288"/>
                  </a:lnTo>
                  <a:lnTo>
                    <a:pt x="2575" y="1291"/>
                  </a:lnTo>
                  <a:lnTo>
                    <a:pt x="2616" y="1288"/>
                  </a:lnTo>
                  <a:lnTo>
                    <a:pt x="2655" y="1282"/>
                  </a:lnTo>
                  <a:lnTo>
                    <a:pt x="2689" y="1270"/>
                  </a:lnTo>
                  <a:lnTo>
                    <a:pt x="2723" y="1255"/>
                  </a:lnTo>
                  <a:lnTo>
                    <a:pt x="2752" y="1236"/>
                  </a:lnTo>
                  <a:lnTo>
                    <a:pt x="2779" y="1214"/>
                  </a:lnTo>
                  <a:lnTo>
                    <a:pt x="2803" y="1188"/>
                  </a:lnTo>
                  <a:lnTo>
                    <a:pt x="2823" y="1160"/>
                  </a:lnTo>
                  <a:lnTo>
                    <a:pt x="2841" y="1129"/>
                  </a:lnTo>
                  <a:lnTo>
                    <a:pt x="2856" y="1096"/>
                  </a:lnTo>
                  <a:lnTo>
                    <a:pt x="2867" y="1062"/>
                  </a:lnTo>
                  <a:lnTo>
                    <a:pt x="2876" y="1025"/>
                  </a:lnTo>
                  <a:lnTo>
                    <a:pt x="2881" y="989"/>
                  </a:lnTo>
                  <a:lnTo>
                    <a:pt x="2882" y="950"/>
                  </a:lnTo>
                  <a:lnTo>
                    <a:pt x="2882" y="948"/>
                  </a:lnTo>
                  <a:lnTo>
                    <a:pt x="2881" y="910"/>
                  </a:lnTo>
                  <a:lnTo>
                    <a:pt x="2876" y="872"/>
                  </a:lnTo>
                  <a:lnTo>
                    <a:pt x="2867" y="837"/>
                  </a:lnTo>
                  <a:lnTo>
                    <a:pt x="2857" y="802"/>
                  </a:lnTo>
                  <a:lnTo>
                    <a:pt x="2842" y="770"/>
                  </a:lnTo>
                  <a:lnTo>
                    <a:pt x="2824" y="739"/>
                  </a:lnTo>
                  <a:lnTo>
                    <a:pt x="2804" y="711"/>
                  </a:lnTo>
                  <a:lnTo>
                    <a:pt x="2781" y="686"/>
                  </a:lnTo>
                  <a:lnTo>
                    <a:pt x="2753" y="664"/>
                  </a:lnTo>
                  <a:lnTo>
                    <a:pt x="2724" y="645"/>
                  </a:lnTo>
                  <a:lnTo>
                    <a:pt x="2691" y="630"/>
                  </a:lnTo>
                  <a:lnTo>
                    <a:pt x="2656" y="619"/>
                  </a:lnTo>
                  <a:lnTo>
                    <a:pt x="2618" y="612"/>
                  </a:lnTo>
                  <a:lnTo>
                    <a:pt x="2577" y="609"/>
                  </a:lnTo>
                  <a:close/>
                  <a:moveTo>
                    <a:pt x="1364" y="609"/>
                  </a:moveTo>
                  <a:lnTo>
                    <a:pt x="1323" y="612"/>
                  </a:lnTo>
                  <a:lnTo>
                    <a:pt x="1285" y="619"/>
                  </a:lnTo>
                  <a:lnTo>
                    <a:pt x="1249" y="630"/>
                  </a:lnTo>
                  <a:lnTo>
                    <a:pt x="1217" y="645"/>
                  </a:lnTo>
                  <a:lnTo>
                    <a:pt x="1187" y="665"/>
                  </a:lnTo>
                  <a:lnTo>
                    <a:pt x="1160" y="687"/>
                  </a:lnTo>
                  <a:lnTo>
                    <a:pt x="1136" y="712"/>
                  </a:lnTo>
                  <a:lnTo>
                    <a:pt x="1115" y="740"/>
                  </a:lnTo>
                  <a:lnTo>
                    <a:pt x="1098" y="771"/>
                  </a:lnTo>
                  <a:lnTo>
                    <a:pt x="1083" y="804"/>
                  </a:lnTo>
                  <a:lnTo>
                    <a:pt x="1071" y="839"/>
                  </a:lnTo>
                  <a:lnTo>
                    <a:pt x="1063" y="874"/>
                  </a:lnTo>
                  <a:lnTo>
                    <a:pt x="1058" y="912"/>
                  </a:lnTo>
                  <a:lnTo>
                    <a:pt x="1057" y="950"/>
                  </a:lnTo>
                  <a:lnTo>
                    <a:pt x="1057" y="952"/>
                  </a:lnTo>
                  <a:lnTo>
                    <a:pt x="1058" y="991"/>
                  </a:lnTo>
                  <a:lnTo>
                    <a:pt x="1063" y="1027"/>
                  </a:lnTo>
                  <a:lnTo>
                    <a:pt x="1071" y="1064"/>
                  </a:lnTo>
                  <a:lnTo>
                    <a:pt x="1083" y="1098"/>
                  </a:lnTo>
                  <a:lnTo>
                    <a:pt x="1096" y="1131"/>
                  </a:lnTo>
                  <a:lnTo>
                    <a:pt x="1114" y="1161"/>
                  </a:lnTo>
                  <a:lnTo>
                    <a:pt x="1135" y="1189"/>
                  </a:lnTo>
                  <a:lnTo>
                    <a:pt x="1158" y="1214"/>
                  </a:lnTo>
                  <a:lnTo>
                    <a:pt x="1186" y="1237"/>
                  </a:lnTo>
                  <a:lnTo>
                    <a:pt x="1215" y="1256"/>
                  </a:lnTo>
                  <a:lnTo>
                    <a:pt x="1247" y="1270"/>
                  </a:lnTo>
                  <a:lnTo>
                    <a:pt x="1283" y="1282"/>
                  </a:lnTo>
                  <a:lnTo>
                    <a:pt x="1321" y="1288"/>
                  </a:lnTo>
                  <a:lnTo>
                    <a:pt x="1363" y="1291"/>
                  </a:lnTo>
                  <a:lnTo>
                    <a:pt x="1403" y="1288"/>
                  </a:lnTo>
                  <a:lnTo>
                    <a:pt x="1441" y="1282"/>
                  </a:lnTo>
                  <a:lnTo>
                    <a:pt x="1477" y="1270"/>
                  </a:lnTo>
                  <a:lnTo>
                    <a:pt x="1509" y="1255"/>
                  </a:lnTo>
                  <a:lnTo>
                    <a:pt x="1539" y="1236"/>
                  </a:lnTo>
                  <a:lnTo>
                    <a:pt x="1566" y="1214"/>
                  </a:lnTo>
                  <a:lnTo>
                    <a:pt x="1590" y="1188"/>
                  </a:lnTo>
                  <a:lnTo>
                    <a:pt x="1611" y="1160"/>
                  </a:lnTo>
                  <a:lnTo>
                    <a:pt x="1629" y="1129"/>
                  </a:lnTo>
                  <a:lnTo>
                    <a:pt x="1643" y="1096"/>
                  </a:lnTo>
                  <a:lnTo>
                    <a:pt x="1655" y="1062"/>
                  </a:lnTo>
                  <a:lnTo>
                    <a:pt x="1663" y="1025"/>
                  </a:lnTo>
                  <a:lnTo>
                    <a:pt x="1668" y="989"/>
                  </a:lnTo>
                  <a:lnTo>
                    <a:pt x="1669" y="950"/>
                  </a:lnTo>
                  <a:lnTo>
                    <a:pt x="1669" y="948"/>
                  </a:lnTo>
                  <a:lnTo>
                    <a:pt x="1668" y="910"/>
                  </a:lnTo>
                  <a:lnTo>
                    <a:pt x="1663" y="872"/>
                  </a:lnTo>
                  <a:lnTo>
                    <a:pt x="1655" y="837"/>
                  </a:lnTo>
                  <a:lnTo>
                    <a:pt x="1643" y="802"/>
                  </a:lnTo>
                  <a:lnTo>
                    <a:pt x="1630" y="770"/>
                  </a:lnTo>
                  <a:lnTo>
                    <a:pt x="1612" y="739"/>
                  </a:lnTo>
                  <a:lnTo>
                    <a:pt x="1591" y="711"/>
                  </a:lnTo>
                  <a:lnTo>
                    <a:pt x="1568" y="686"/>
                  </a:lnTo>
                  <a:lnTo>
                    <a:pt x="1541" y="664"/>
                  </a:lnTo>
                  <a:lnTo>
                    <a:pt x="1511" y="645"/>
                  </a:lnTo>
                  <a:lnTo>
                    <a:pt x="1479" y="630"/>
                  </a:lnTo>
                  <a:lnTo>
                    <a:pt x="1443" y="619"/>
                  </a:lnTo>
                  <a:lnTo>
                    <a:pt x="1405" y="612"/>
                  </a:lnTo>
                  <a:lnTo>
                    <a:pt x="1364" y="609"/>
                  </a:lnTo>
                  <a:close/>
                  <a:moveTo>
                    <a:pt x="839" y="0"/>
                  </a:moveTo>
                  <a:lnTo>
                    <a:pt x="873" y="3"/>
                  </a:lnTo>
                  <a:lnTo>
                    <a:pt x="907" y="11"/>
                  </a:lnTo>
                  <a:lnTo>
                    <a:pt x="940" y="26"/>
                  </a:lnTo>
                  <a:lnTo>
                    <a:pt x="972" y="46"/>
                  </a:lnTo>
                  <a:lnTo>
                    <a:pt x="1001" y="72"/>
                  </a:lnTo>
                  <a:lnTo>
                    <a:pt x="1032" y="104"/>
                  </a:lnTo>
                  <a:lnTo>
                    <a:pt x="1062" y="136"/>
                  </a:lnTo>
                  <a:lnTo>
                    <a:pt x="1094" y="166"/>
                  </a:lnTo>
                  <a:lnTo>
                    <a:pt x="1136" y="200"/>
                  </a:lnTo>
                  <a:lnTo>
                    <a:pt x="1179" y="228"/>
                  </a:lnTo>
                  <a:lnTo>
                    <a:pt x="1224" y="252"/>
                  </a:lnTo>
                  <a:lnTo>
                    <a:pt x="1270" y="271"/>
                  </a:lnTo>
                  <a:lnTo>
                    <a:pt x="1319" y="286"/>
                  </a:lnTo>
                  <a:lnTo>
                    <a:pt x="1366" y="295"/>
                  </a:lnTo>
                  <a:lnTo>
                    <a:pt x="1415" y="299"/>
                  </a:lnTo>
                  <a:lnTo>
                    <a:pt x="1463" y="299"/>
                  </a:lnTo>
                  <a:lnTo>
                    <a:pt x="1468" y="299"/>
                  </a:lnTo>
                  <a:lnTo>
                    <a:pt x="1474" y="299"/>
                  </a:lnTo>
                  <a:lnTo>
                    <a:pt x="1477" y="299"/>
                  </a:lnTo>
                  <a:lnTo>
                    <a:pt x="1477" y="299"/>
                  </a:lnTo>
                  <a:lnTo>
                    <a:pt x="1494" y="299"/>
                  </a:lnTo>
                  <a:lnTo>
                    <a:pt x="1550" y="292"/>
                  </a:lnTo>
                  <a:lnTo>
                    <a:pt x="1604" y="280"/>
                  </a:lnTo>
                  <a:lnTo>
                    <a:pt x="1656" y="262"/>
                  </a:lnTo>
                  <a:lnTo>
                    <a:pt x="1705" y="239"/>
                  </a:lnTo>
                  <a:lnTo>
                    <a:pt x="1751" y="210"/>
                  </a:lnTo>
                  <a:lnTo>
                    <a:pt x="1796" y="177"/>
                  </a:lnTo>
                  <a:lnTo>
                    <a:pt x="1829" y="147"/>
                  </a:lnTo>
                  <a:lnTo>
                    <a:pt x="1860" y="115"/>
                  </a:lnTo>
                  <a:lnTo>
                    <a:pt x="1890" y="83"/>
                  </a:lnTo>
                  <a:lnTo>
                    <a:pt x="1915" y="59"/>
                  </a:lnTo>
                  <a:lnTo>
                    <a:pt x="1943" y="40"/>
                  </a:lnTo>
                  <a:lnTo>
                    <a:pt x="1971" y="25"/>
                  </a:lnTo>
                  <a:lnTo>
                    <a:pt x="2001" y="14"/>
                  </a:lnTo>
                  <a:lnTo>
                    <a:pt x="2032" y="7"/>
                  </a:lnTo>
                  <a:lnTo>
                    <a:pt x="2063" y="4"/>
                  </a:lnTo>
                  <a:lnTo>
                    <a:pt x="2095" y="7"/>
                  </a:lnTo>
                  <a:lnTo>
                    <a:pt x="2126" y="14"/>
                  </a:lnTo>
                  <a:lnTo>
                    <a:pt x="2156" y="25"/>
                  </a:lnTo>
                  <a:lnTo>
                    <a:pt x="2185" y="40"/>
                  </a:lnTo>
                  <a:lnTo>
                    <a:pt x="2212" y="59"/>
                  </a:lnTo>
                  <a:lnTo>
                    <a:pt x="2237" y="83"/>
                  </a:lnTo>
                  <a:lnTo>
                    <a:pt x="2267" y="115"/>
                  </a:lnTo>
                  <a:lnTo>
                    <a:pt x="2299" y="147"/>
                  </a:lnTo>
                  <a:lnTo>
                    <a:pt x="2331" y="177"/>
                  </a:lnTo>
                  <a:lnTo>
                    <a:pt x="2376" y="210"/>
                  </a:lnTo>
                  <a:lnTo>
                    <a:pt x="2422" y="239"/>
                  </a:lnTo>
                  <a:lnTo>
                    <a:pt x="2472" y="262"/>
                  </a:lnTo>
                  <a:lnTo>
                    <a:pt x="2523" y="280"/>
                  </a:lnTo>
                  <a:lnTo>
                    <a:pt x="2577" y="292"/>
                  </a:lnTo>
                  <a:lnTo>
                    <a:pt x="2633" y="299"/>
                  </a:lnTo>
                  <a:lnTo>
                    <a:pt x="2651" y="299"/>
                  </a:lnTo>
                  <a:lnTo>
                    <a:pt x="2699" y="299"/>
                  </a:lnTo>
                  <a:lnTo>
                    <a:pt x="2747" y="295"/>
                  </a:lnTo>
                  <a:lnTo>
                    <a:pt x="2795" y="286"/>
                  </a:lnTo>
                  <a:lnTo>
                    <a:pt x="2842" y="271"/>
                  </a:lnTo>
                  <a:lnTo>
                    <a:pt x="2889" y="252"/>
                  </a:lnTo>
                  <a:lnTo>
                    <a:pt x="2934" y="228"/>
                  </a:lnTo>
                  <a:lnTo>
                    <a:pt x="2977" y="200"/>
                  </a:lnTo>
                  <a:lnTo>
                    <a:pt x="3019" y="166"/>
                  </a:lnTo>
                  <a:lnTo>
                    <a:pt x="3051" y="136"/>
                  </a:lnTo>
                  <a:lnTo>
                    <a:pt x="3081" y="104"/>
                  </a:lnTo>
                  <a:lnTo>
                    <a:pt x="3112" y="72"/>
                  </a:lnTo>
                  <a:lnTo>
                    <a:pt x="3142" y="46"/>
                  </a:lnTo>
                  <a:lnTo>
                    <a:pt x="3173" y="26"/>
                  </a:lnTo>
                  <a:lnTo>
                    <a:pt x="3207" y="11"/>
                  </a:lnTo>
                  <a:lnTo>
                    <a:pt x="3240" y="3"/>
                  </a:lnTo>
                  <a:lnTo>
                    <a:pt x="3275" y="0"/>
                  </a:lnTo>
                  <a:lnTo>
                    <a:pt x="3306" y="2"/>
                  </a:lnTo>
                  <a:lnTo>
                    <a:pt x="3338" y="10"/>
                  </a:lnTo>
                  <a:lnTo>
                    <a:pt x="3368" y="22"/>
                  </a:lnTo>
                  <a:lnTo>
                    <a:pt x="3397" y="39"/>
                  </a:lnTo>
                  <a:lnTo>
                    <a:pt x="3416" y="121"/>
                  </a:lnTo>
                  <a:lnTo>
                    <a:pt x="3431" y="206"/>
                  </a:lnTo>
                  <a:lnTo>
                    <a:pt x="3442" y="292"/>
                  </a:lnTo>
                  <a:lnTo>
                    <a:pt x="3449" y="380"/>
                  </a:lnTo>
                  <a:lnTo>
                    <a:pt x="3451" y="468"/>
                  </a:lnTo>
                  <a:lnTo>
                    <a:pt x="3448" y="574"/>
                  </a:lnTo>
                  <a:lnTo>
                    <a:pt x="3438" y="677"/>
                  </a:lnTo>
                  <a:lnTo>
                    <a:pt x="3424" y="779"/>
                  </a:lnTo>
                  <a:lnTo>
                    <a:pt x="3403" y="879"/>
                  </a:lnTo>
                  <a:lnTo>
                    <a:pt x="3375" y="976"/>
                  </a:lnTo>
                  <a:lnTo>
                    <a:pt x="3343" y="1070"/>
                  </a:lnTo>
                  <a:lnTo>
                    <a:pt x="3305" y="1163"/>
                  </a:lnTo>
                  <a:lnTo>
                    <a:pt x="3263" y="1253"/>
                  </a:lnTo>
                  <a:lnTo>
                    <a:pt x="3215" y="1339"/>
                  </a:lnTo>
                  <a:lnTo>
                    <a:pt x="3163" y="1423"/>
                  </a:lnTo>
                  <a:lnTo>
                    <a:pt x="3106" y="1504"/>
                  </a:lnTo>
                  <a:lnTo>
                    <a:pt x="3045" y="1580"/>
                  </a:lnTo>
                  <a:lnTo>
                    <a:pt x="2979" y="1654"/>
                  </a:lnTo>
                  <a:lnTo>
                    <a:pt x="2910" y="1723"/>
                  </a:lnTo>
                  <a:lnTo>
                    <a:pt x="2837" y="1788"/>
                  </a:lnTo>
                  <a:lnTo>
                    <a:pt x="2761" y="1849"/>
                  </a:lnTo>
                  <a:lnTo>
                    <a:pt x="2680" y="1906"/>
                  </a:lnTo>
                  <a:lnTo>
                    <a:pt x="2596" y="1958"/>
                  </a:lnTo>
                  <a:lnTo>
                    <a:pt x="2509" y="2005"/>
                  </a:lnTo>
                  <a:lnTo>
                    <a:pt x="2420" y="2048"/>
                  </a:lnTo>
                  <a:lnTo>
                    <a:pt x="2328" y="2086"/>
                  </a:lnTo>
                  <a:lnTo>
                    <a:pt x="2233" y="2119"/>
                  </a:lnTo>
                  <a:lnTo>
                    <a:pt x="2135" y="2145"/>
                  </a:lnTo>
                  <a:lnTo>
                    <a:pt x="2036" y="2166"/>
                  </a:lnTo>
                  <a:lnTo>
                    <a:pt x="1934" y="2181"/>
                  </a:lnTo>
                  <a:lnTo>
                    <a:pt x="1831" y="2191"/>
                  </a:lnTo>
                  <a:lnTo>
                    <a:pt x="1726" y="2194"/>
                  </a:lnTo>
                  <a:lnTo>
                    <a:pt x="1620" y="2191"/>
                  </a:lnTo>
                  <a:lnTo>
                    <a:pt x="1516" y="2181"/>
                  </a:lnTo>
                  <a:lnTo>
                    <a:pt x="1415" y="2166"/>
                  </a:lnTo>
                  <a:lnTo>
                    <a:pt x="1315" y="2145"/>
                  </a:lnTo>
                  <a:lnTo>
                    <a:pt x="1218" y="2119"/>
                  </a:lnTo>
                  <a:lnTo>
                    <a:pt x="1124" y="2086"/>
                  </a:lnTo>
                  <a:lnTo>
                    <a:pt x="1031" y="2048"/>
                  </a:lnTo>
                  <a:lnTo>
                    <a:pt x="941" y="2005"/>
                  </a:lnTo>
                  <a:lnTo>
                    <a:pt x="855" y="1958"/>
                  </a:lnTo>
                  <a:lnTo>
                    <a:pt x="771" y="1906"/>
                  </a:lnTo>
                  <a:lnTo>
                    <a:pt x="690" y="1849"/>
                  </a:lnTo>
                  <a:lnTo>
                    <a:pt x="614" y="1788"/>
                  </a:lnTo>
                  <a:lnTo>
                    <a:pt x="540" y="1723"/>
                  </a:lnTo>
                  <a:lnTo>
                    <a:pt x="471" y="1654"/>
                  </a:lnTo>
                  <a:lnTo>
                    <a:pt x="406" y="1580"/>
                  </a:lnTo>
                  <a:lnTo>
                    <a:pt x="345" y="1504"/>
                  </a:lnTo>
                  <a:lnTo>
                    <a:pt x="288" y="1423"/>
                  </a:lnTo>
                  <a:lnTo>
                    <a:pt x="236" y="1339"/>
                  </a:lnTo>
                  <a:lnTo>
                    <a:pt x="189" y="1253"/>
                  </a:lnTo>
                  <a:lnTo>
                    <a:pt x="146" y="1163"/>
                  </a:lnTo>
                  <a:lnTo>
                    <a:pt x="108" y="1070"/>
                  </a:lnTo>
                  <a:lnTo>
                    <a:pt x="75" y="976"/>
                  </a:lnTo>
                  <a:lnTo>
                    <a:pt x="49" y="879"/>
                  </a:lnTo>
                  <a:lnTo>
                    <a:pt x="28" y="779"/>
                  </a:lnTo>
                  <a:lnTo>
                    <a:pt x="13" y="677"/>
                  </a:lnTo>
                  <a:lnTo>
                    <a:pt x="3" y="574"/>
                  </a:lnTo>
                  <a:lnTo>
                    <a:pt x="0" y="468"/>
                  </a:lnTo>
                  <a:lnTo>
                    <a:pt x="1" y="396"/>
                  </a:lnTo>
                  <a:lnTo>
                    <a:pt x="6" y="324"/>
                  </a:lnTo>
                  <a:lnTo>
                    <a:pt x="14" y="252"/>
                  </a:lnTo>
                  <a:lnTo>
                    <a:pt x="57" y="270"/>
                  </a:lnTo>
                  <a:lnTo>
                    <a:pt x="102" y="284"/>
                  </a:lnTo>
                  <a:lnTo>
                    <a:pt x="148" y="293"/>
                  </a:lnTo>
                  <a:lnTo>
                    <a:pt x="196" y="299"/>
                  </a:lnTo>
                  <a:lnTo>
                    <a:pt x="214" y="299"/>
                  </a:lnTo>
                  <a:lnTo>
                    <a:pt x="262" y="299"/>
                  </a:lnTo>
                  <a:lnTo>
                    <a:pt x="311" y="295"/>
                  </a:lnTo>
                  <a:lnTo>
                    <a:pt x="359" y="286"/>
                  </a:lnTo>
                  <a:lnTo>
                    <a:pt x="406" y="271"/>
                  </a:lnTo>
                  <a:lnTo>
                    <a:pt x="452" y="252"/>
                  </a:lnTo>
                  <a:lnTo>
                    <a:pt x="497" y="228"/>
                  </a:lnTo>
                  <a:lnTo>
                    <a:pt x="541" y="200"/>
                  </a:lnTo>
                  <a:lnTo>
                    <a:pt x="582" y="166"/>
                  </a:lnTo>
                  <a:lnTo>
                    <a:pt x="615" y="136"/>
                  </a:lnTo>
                  <a:lnTo>
                    <a:pt x="645" y="104"/>
                  </a:lnTo>
                  <a:lnTo>
                    <a:pt x="675" y="72"/>
                  </a:lnTo>
                  <a:lnTo>
                    <a:pt x="705" y="46"/>
                  </a:lnTo>
                  <a:lnTo>
                    <a:pt x="736" y="26"/>
                  </a:lnTo>
                  <a:lnTo>
                    <a:pt x="770" y="11"/>
                  </a:lnTo>
                  <a:lnTo>
                    <a:pt x="804" y="3"/>
                  </a:lnTo>
                  <a:lnTo>
                    <a:pt x="839" y="0"/>
                  </a:lnTo>
                  <a:close/>
                </a:path>
              </a:pathLst>
            </a:custGeom>
            <a:solidFill>
              <a:srgbClr val="0067C5">
                <a:lumMod val="75000"/>
              </a:srgbClr>
            </a:solidFill>
            <a:ln w="0">
              <a:noFill/>
              <a:prstDash val="solid"/>
              <a:round/>
              <a:headEnd/>
              <a:tailEnd/>
            </a:ln>
          </p:spPr>
          <p:txBody>
            <a:bodyPr lIns="68562" tIns="34281" rIns="68562" bIns="34281"/>
            <a:lstStyle/>
            <a:p>
              <a:pPr defTabSz="685800" eaLnBrk="1" fontAlgn="auto" hangingPunct="1">
                <a:spcBef>
                  <a:spcPts val="0"/>
                </a:spcBef>
                <a:spcAft>
                  <a:spcPts val="0"/>
                </a:spcAft>
                <a:defRPr/>
              </a:pPr>
              <a:endParaRPr lang="en-US" sz="1424" kern="0">
                <a:solidFill>
                  <a:prstClr val="black"/>
                </a:solidFill>
                <a:latin typeface="Arial"/>
              </a:endParaRPr>
            </a:p>
          </p:txBody>
        </p:sp>
      </p:grpSp>
      <p:grpSp>
        <p:nvGrpSpPr>
          <p:cNvPr id="123925" name="Group 90">
            <a:extLst>
              <a:ext uri="{FF2B5EF4-FFF2-40B4-BE49-F238E27FC236}">
                <a16:creationId xmlns:a16="http://schemas.microsoft.com/office/drawing/2014/main" id="{E257AC7D-4DB5-407F-A7BB-F274C3A0D0BE}"/>
              </a:ext>
            </a:extLst>
          </p:cNvPr>
          <p:cNvGrpSpPr>
            <a:grpSpLocks/>
          </p:cNvGrpSpPr>
          <p:nvPr/>
        </p:nvGrpSpPr>
        <p:grpSpPr bwMode="auto">
          <a:xfrm>
            <a:off x="6483350" y="3629025"/>
            <a:ext cx="1917700" cy="936625"/>
            <a:chOff x="6973313" y="1463401"/>
            <a:chExt cx="4528265" cy="2210862"/>
          </a:xfrm>
        </p:grpSpPr>
        <p:grpSp>
          <p:nvGrpSpPr>
            <p:cNvPr id="123926" name="Group 91">
              <a:extLst>
                <a:ext uri="{FF2B5EF4-FFF2-40B4-BE49-F238E27FC236}">
                  <a16:creationId xmlns:a16="http://schemas.microsoft.com/office/drawing/2014/main" id="{B153267F-E900-4AA9-BEF0-1FA0FF592398}"/>
                </a:ext>
              </a:extLst>
            </p:cNvPr>
            <p:cNvGrpSpPr>
              <a:grpSpLocks/>
            </p:cNvGrpSpPr>
            <p:nvPr/>
          </p:nvGrpSpPr>
          <p:grpSpPr bwMode="auto">
            <a:xfrm>
              <a:off x="8142848" y="1463401"/>
              <a:ext cx="2409921" cy="1193222"/>
              <a:chOff x="8066648" y="1463401"/>
              <a:chExt cx="2409921" cy="1193222"/>
            </a:xfrm>
          </p:grpSpPr>
          <p:sp>
            <p:nvSpPr>
              <p:cNvPr id="99" name="Freeform 6">
                <a:extLst>
                  <a:ext uri="{FF2B5EF4-FFF2-40B4-BE49-F238E27FC236}">
                    <a16:creationId xmlns:a16="http://schemas.microsoft.com/office/drawing/2014/main" id="{2D374D88-99ED-4C3F-8F3B-DD8B395ABBF6}"/>
                  </a:ext>
                </a:extLst>
              </p:cNvPr>
              <p:cNvSpPr>
                <a:spLocks/>
              </p:cNvSpPr>
              <p:nvPr/>
            </p:nvSpPr>
            <p:spPr bwMode="auto">
              <a:xfrm>
                <a:off x="8066648" y="1463401"/>
                <a:ext cx="2409921" cy="1193222"/>
              </a:xfrm>
              <a:custGeom>
                <a:avLst/>
                <a:gdLst>
                  <a:gd name="T0" fmla="*/ 716 w 807"/>
                  <a:gd name="T1" fmla="*/ 199 h 427"/>
                  <a:gd name="T2" fmla="*/ 567 w 807"/>
                  <a:gd name="T3" fmla="*/ 72 h 427"/>
                  <a:gd name="T4" fmla="*/ 505 w 807"/>
                  <a:gd name="T5" fmla="*/ 85 h 427"/>
                  <a:gd name="T6" fmla="*/ 505 w 807"/>
                  <a:gd name="T7" fmla="*/ 85 h 427"/>
                  <a:gd name="T8" fmla="*/ 505 w 807"/>
                  <a:gd name="T9" fmla="*/ 85 h 427"/>
                  <a:gd name="T10" fmla="*/ 346 w 807"/>
                  <a:gd name="T11" fmla="*/ 0 h 427"/>
                  <a:gd name="T12" fmla="*/ 346 w 807"/>
                  <a:gd name="T13" fmla="*/ 0 h 427"/>
                  <a:gd name="T14" fmla="*/ 346 w 807"/>
                  <a:gd name="T15" fmla="*/ 0 h 427"/>
                  <a:gd name="T16" fmla="*/ 346 w 807"/>
                  <a:gd name="T17" fmla="*/ 0 h 427"/>
                  <a:gd name="T18" fmla="*/ 163 w 807"/>
                  <a:gd name="T19" fmla="*/ 134 h 427"/>
                  <a:gd name="T20" fmla="*/ 163 w 807"/>
                  <a:gd name="T21" fmla="*/ 134 h 427"/>
                  <a:gd name="T22" fmla="*/ 147 w 807"/>
                  <a:gd name="T23" fmla="*/ 133 h 427"/>
                  <a:gd name="T24" fmla="*/ 0 w 807"/>
                  <a:gd name="T25" fmla="*/ 279 h 427"/>
                  <a:gd name="T26" fmla="*/ 147 w 807"/>
                  <a:gd name="T27" fmla="*/ 427 h 427"/>
                  <a:gd name="T28" fmla="*/ 692 w 807"/>
                  <a:gd name="T29" fmla="*/ 427 h 427"/>
                  <a:gd name="T30" fmla="*/ 807 w 807"/>
                  <a:gd name="T31" fmla="*/ 311 h 427"/>
                  <a:gd name="T32" fmla="*/ 716 w 807"/>
                  <a:gd name="T33" fmla="*/ 19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7" h="427">
                    <a:moveTo>
                      <a:pt x="716" y="199"/>
                    </a:moveTo>
                    <a:cubicBezTo>
                      <a:pt x="704" y="127"/>
                      <a:pt x="642" y="72"/>
                      <a:pt x="567" y="72"/>
                    </a:cubicBezTo>
                    <a:cubicBezTo>
                      <a:pt x="545" y="72"/>
                      <a:pt x="524" y="76"/>
                      <a:pt x="505" y="85"/>
                    </a:cubicBezTo>
                    <a:cubicBezTo>
                      <a:pt x="505" y="85"/>
                      <a:pt x="505" y="85"/>
                      <a:pt x="505" y="85"/>
                    </a:cubicBezTo>
                    <a:cubicBezTo>
                      <a:pt x="505" y="85"/>
                      <a:pt x="505" y="85"/>
                      <a:pt x="505" y="85"/>
                    </a:cubicBezTo>
                    <a:cubicBezTo>
                      <a:pt x="470" y="33"/>
                      <a:pt x="411" y="0"/>
                      <a:pt x="346" y="0"/>
                    </a:cubicBezTo>
                    <a:cubicBezTo>
                      <a:pt x="346" y="0"/>
                      <a:pt x="346" y="0"/>
                      <a:pt x="346" y="0"/>
                    </a:cubicBezTo>
                    <a:cubicBezTo>
                      <a:pt x="346" y="0"/>
                      <a:pt x="346" y="0"/>
                      <a:pt x="346" y="0"/>
                    </a:cubicBezTo>
                    <a:cubicBezTo>
                      <a:pt x="346" y="0"/>
                      <a:pt x="346" y="0"/>
                      <a:pt x="346" y="0"/>
                    </a:cubicBezTo>
                    <a:cubicBezTo>
                      <a:pt x="262" y="0"/>
                      <a:pt x="188" y="55"/>
                      <a:pt x="163" y="134"/>
                    </a:cubicBezTo>
                    <a:cubicBezTo>
                      <a:pt x="163" y="134"/>
                      <a:pt x="163" y="134"/>
                      <a:pt x="163" y="134"/>
                    </a:cubicBezTo>
                    <a:cubicBezTo>
                      <a:pt x="158" y="134"/>
                      <a:pt x="153" y="133"/>
                      <a:pt x="147" y="133"/>
                    </a:cubicBezTo>
                    <a:cubicBezTo>
                      <a:pt x="66" y="133"/>
                      <a:pt x="0" y="199"/>
                      <a:pt x="0" y="279"/>
                    </a:cubicBezTo>
                    <a:cubicBezTo>
                      <a:pt x="0" y="361"/>
                      <a:pt x="66" y="427"/>
                      <a:pt x="147" y="427"/>
                    </a:cubicBezTo>
                    <a:cubicBezTo>
                      <a:pt x="692" y="427"/>
                      <a:pt x="692" y="427"/>
                      <a:pt x="692" y="427"/>
                    </a:cubicBezTo>
                    <a:cubicBezTo>
                      <a:pt x="756" y="427"/>
                      <a:pt x="807" y="375"/>
                      <a:pt x="807" y="311"/>
                    </a:cubicBezTo>
                    <a:cubicBezTo>
                      <a:pt x="807" y="257"/>
                      <a:pt x="768" y="211"/>
                      <a:pt x="716" y="199"/>
                    </a:cubicBezTo>
                    <a:close/>
                  </a:path>
                </a:pathLst>
              </a:custGeom>
              <a:solidFill>
                <a:srgbClr val="0067C5">
                  <a:lumMod val="20000"/>
                  <a:lumOff val="80000"/>
                </a:srgbClr>
              </a:solidFill>
              <a:ln>
                <a:noFill/>
              </a:ln>
              <a:sp3d prstMaterial="matte"/>
            </p:spPr>
            <p:txBody>
              <a:bodyPr lIns="50809" tIns="25405" rIns="50809" bIns="25405"/>
              <a:lstStyle/>
              <a:p>
                <a:pPr defTabSz="686120" eaLnBrk="1" fontAlgn="auto" hangingPunct="1">
                  <a:spcBef>
                    <a:spcPts val="0"/>
                  </a:spcBef>
                  <a:spcAft>
                    <a:spcPts val="0"/>
                  </a:spcAft>
                  <a:defRPr/>
                </a:pPr>
                <a:endParaRPr lang="en-US" sz="525" kern="0">
                  <a:solidFill>
                    <a:prstClr val="black"/>
                  </a:solidFill>
                  <a:latin typeface="Arial"/>
                </a:endParaRPr>
              </a:p>
            </p:txBody>
          </p:sp>
          <p:pic>
            <p:nvPicPr>
              <p:cNvPr id="123934" name="Picture 99">
                <a:extLst>
                  <a:ext uri="{FF2B5EF4-FFF2-40B4-BE49-F238E27FC236}">
                    <a16:creationId xmlns:a16="http://schemas.microsoft.com/office/drawing/2014/main" id="{A1709726-0208-4F32-9B38-2D275BE1E1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6178" y="1909983"/>
                <a:ext cx="879715" cy="52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927" name="Group 92">
              <a:extLst>
                <a:ext uri="{FF2B5EF4-FFF2-40B4-BE49-F238E27FC236}">
                  <a16:creationId xmlns:a16="http://schemas.microsoft.com/office/drawing/2014/main" id="{7C83B6B0-9C3B-417A-81B4-6D2B9F98BB66}"/>
                </a:ext>
              </a:extLst>
            </p:cNvPr>
            <p:cNvGrpSpPr>
              <a:grpSpLocks/>
            </p:cNvGrpSpPr>
            <p:nvPr/>
          </p:nvGrpSpPr>
          <p:grpSpPr bwMode="auto">
            <a:xfrm>
              <a:off x="6973313" y="2280190"/>
              <a:ext cx="2409921" cy="1193222"/>
              <a:chOff x="6897113" y="2280190"/>
              <a:chExt cx="2409921" cy="1193222"/>
            </a:xfrm>
          </p:grpSpPr>
          <p:sp>
            <p:nvSpPr>
              <p:cNvPr id="97" name="Freeform 6">
                <a:extLst>
                  <a:ext uri="{FF2B5EF4-FFF2-40B4-BE49-F238E27FC236}">
                    <a16:creationId xmlns:a16="http://schemas.microsoft.com/office/drawing/2014/main" id="{A3970089-B6FA-479F-8B29-ADC3D22DB32C}"/>
                  </a:ext>
                </a:extLst>
              </p:cNvPr>
              <p:cNvSpPr>
                <a:spLocks/>
              </p:cNvSpPr>
              <p:nvPr/>
            </p:nvSpPr>
            <p:spPr bwMode="auto">
              <a:xfrm>
                <a:off x="6897113" y="2280190"/>
                <a:ext cx="2409921" cy="1193222"/>
              </a:xfrm>
              <a:custGeom>
                <a:avLst/>
                <a:gdLst>
                  <a:gd name="T0" fmla="*/ 716 w 807"/>
                  <a:gd name="T1" fmla="*/ 199 h 427"/>
                  <a:gd name="T2" fmla="*/ 567 w 807"/>
                  <a:gd name="T3" fmla="*/ 72 h 427"/>
                  <a:gd name="T4" fmla="*/ 505 w 807"/>
                  <a:gd name="T5" fmla="*/ 85 h 427"/>
                  <a:gd name="T6" fmla="*/ 505 w 807"/>
                  <a:gd name="T7" fmla="*/ 85 h 427"/>
                  <a:gd name="T8" fmla="*/ 505 w 807"/>
                  <a:gd name="T9" fmla="*/ 85 h 427"/>
                  <a:gd name="T10" fmla="*/ 346 w 807"/>
                  <a:gd name="T11" fmla="*/ 0 h 427"/>
                  <a:gd name="T12" fmla="*/ 346 w 807"/>
                  <a:gd name="T13" fmla="*/ 0 h 427"/>
                  <a:gd name="T14" fmla="*/ 346 w 807"/>
                  <a:gd name="T15" fmla="*/ 0 h 427"/>
                  <a:gd name="T16" fmla="*/ 346 w 807"/>
                  <a:gd name="T17" fmla="*/ 0 h 427"/>
                  <a:gd name="T18" fmla="*/ 163 w 807"/>
                  <a:gd name="T19" fmla="*/ 134 h 427"/>
                  <a:gd name="T20" fmla="*/ 163 w 807"/>
                  <a:gd name="T21" fmla="*/ 134 h 427"/>
                  <a:gd name="T22" fmla="*/ 147 w 807"/>
                  <a:gd name="T23" fmla="*/ 133 h 427"/>
                  <a:gd name="T24" fmla="*/ 0 w 807"/>
                  <a:gd name="T25" fmla="*/ 279 h 427"/>
                  <a:gd name="T26" fmla="*/ 147 w 807"/>
                  <a:gd name="T27" fmla="*/ 427 h 427"/>
                  <a:gd name="T28" fmla="*/ 692 w 807"/>
                  <a:gd name="T29" fmla="*/ 427 h 427"/>
                  <a:gd name="T30" fmla="*/ 807 w 807"/>
                  <a:gd name="T31" fmla="*/ 311 h 427"/>
                  <a:gd name="T32" fmla="*/ 716 w 807"/>
                  <a:gd name="T33" fmla="*/ 19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7" h="427">
                    <a:moveTo>
                      <a:pt x="716" y="199"/>
                    </a:moveTo>
                    <a:cubicBezTo>
                      <a:pt x="704" y="127"/>
                      <a:pt x="642" y="72"/>
                      <a:pt x="567" y="72"/>
                    </a:cubicBezTo>
                    <a:cubicBezTo>
                      <a:pt x="545" y="72"/>
                      <a:pt x="524" y="76"/>
                      <a:pt x="505" y="85"/>
                    </a:cubicBezTo>
                    <a:cubicBezTo>
                      <a:pt x="505" y="85"/>
                      <a:pt x="505" y="85"/>
                      <a:pt x="505" y="85"/>
                    </a:cubicBezTo>
                    <a:cubicBezTo>
                      <a:pt x="505" y="85"/>
                      <a:pt x="505" y="85"/>
                      <a:pt x="505" y="85"/>
                    </a:cubicBezTo>
                    <a:cubicBezTo>
                      <a:pt x="470" y="33"/>
                      <a:pt x="411" y="0"/>
                      <a:pt x="346" y="0"/>
                    </a:cubicBezTo>
                    <a:cubicBezTo>
                      <a:pt x="346" y="0"/>
                      <a:pt x="346" y="0"/>
                      <a:pt x="346" y="0"/>
                    </a:cubicBezTo>
                    <a:cubicBezTo>
                      <a:pt x="346" y="0"/>
                      <a:pt x="346" y="0"/>
                      <a:pt x="346" y="0"/>
                    </a:cubicBezTo>
                    <a:cubicBezTo>
                      <a:pt x="346" y="0"/>
                      <a:pt x="346" y="0"/>
                      <a:pt x="346" y="0"/>
                    </a:cubicBezTo>
                    <a:cubicBezTo>
                      <a:pt x="262" y="0"/>
                      <a:pt x="188" y="55"/>
                      <a:pt x="163" y="134"/>
                    </a:cubicBezTo>
                    <a:cubicBezTo>
                      <a:pt x="163" y="134"/>
                      <a:pt x="163" y="134"/>
                      <a:pt x="163" y="134"/>
                    </a:cubicBezTo>
                    <a:cubicBezTo>
                      <a:pt x="158" y="134"/>
                      <a:pt x="153" y="133"/>
                      <a:pt x="147" y="133"/>
                    </a:cubicBezTo>
                    <a:cubicBezTo>
                      <a:pt x="66" y="133"/>
                      <a:pt x="0" y="199"/>
                      <a:pt x="0" y="279"/>
                    </a:cubicBezTo>
                    <a:cubicBezTo>
                      <a:pt x="0" y="361"/>
                      <a:pt x="66" y="427"/>
                      <a:pt x="147" y="427"/>
                    </a:cubicBezTo>
                    <a:cubicBezTo>
                      <a:pt x="692" y="427"/>
                      <a:pt x="692" y="427"/>
                      <a:pt x="692" y="427"/>
                    </a:cubicBezTo>
                    <a:cubicBezTo>
                      <a:pt x="756" y="427"/>
                      <a:pt x="807" y="375"/>
                      <a:pt x="807" y="311"/>
                    </a:cubicBezTo>
                    <a:cubicBezTo>
                      <a:pt x="807" y="257"/>
                      <a:pt x="768" y="211"/>
                      <a:pt x="716" y="199"/>
                    </a:cubicBezTo>
                    <a:close/>
                  </a:path>
                </a:pathLst>
              </a:custGeom>
              <a:solidFill>
                <a:srgbClr val="32872D">
                  <a:lumMod val="20000"/>
                  <a:lumOff val="80000"/>
                </a:srgbClr>
              </a:solidFill>
              <a:ln>
                <a:noFill/>
              </a:ln>
              <a:sp3d prstMaterial="matte"/>
            </p:spPr>
            <p:txBody>
              <a:bodyPr lIns="50809" tIns="25405" rIns="50809" bIns="25405"/>
              <a:lstStyle/>
              <a:p>
                <a:pPr defTabSz="686120" eaLnBrk="1" fontAlgn="auto" hangingPunct="1">
                  <a:spcBef>
                    <a:spcPts val="0"/>
                  </a:spcBef>
                  <a:spcAft>
                    <a:spcPts val="0"/>
                  </a:spcAft>
                  <a:defRPr/>
                </a:pPr>
                <a:endParaRPr lang="en-US" sz="525" kern="0">
                  <a:solidFill>
                    <a:prstClr val="black"/>
                  </a:solidFill>
                  <a:latin typeface="Arial"/>
                </a:endParaRPr>
              </a:p>
            </p:txBody>
          </p:sp>
          <p:pic>
            <p:nvPicPr>
              <p:cNvPr id="123932" name="Picture 97">
                <a:extLst>
                  <a:ext uri="{FF2B5EF4-FFF2-40B4-BE49-F238E27FC236}">
                    <a16:creationId xmlns:a16="http://schemas.microsoft.com/office/drawing/2014/main" id="{87D5910B-778D-4679-B312-63AD1167D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61899" y="2740821"/>
                <a:ext cx="1448696" cy="41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928" name="Group 93">
              <a:extLst>
                <a:ext uri="{FF2B5EF4-FFF2-40B4-BE49-F238E27FC236}">
                  <a16:creationId xmlns:a16="http://schemas.microsoft.com/office/drawing/2014/main" id="{E6847429-6F09-43B4-97A1-895F755815F4}"/>
                </a:ext>
              </a:extLst>
            </p:cNvPr>
            <p:cNvGrpSpPr>
              <a:grpSpLocks/>
            </p:cNvGrpSpPr>
            <p:nvPr/>
          </p:nvGrpSpPr>
          <p:grpSpPr bwMode="auto">
            <a:xfrm>
              <a:off x="9091657" y="2481041"/>
              <a:ext cx="2409921" cy="1193222"/>
              <a:chOff x="9091657" y="2481041"/>
              <a:chExt cx="2409921" cy="1193222"/>
            </a:xfrm>
          </p:grpSpPr>
          <p:sp>
            <p:nvSpPr>
              <p:cNvPr id="95" name="Freeform 6">
                <a:extLst>
                  <a:ext uri="{FF2B5EF4-FFF2-40B4-BE49-F238E27FC236}">
                    <a16:creationId xmlns:a16="http://schemas.microsoft.com/office/drawing/2014/main" id="{54D49FC8-EACB-44F8-AA04-D590862001C0}"/>
                  </a:ext>
                </a:extLst>
              </p:cNvPr>
              <p:cNvSpPr>
                <a:spLocks/>
              </p:cNvSpPr>
              <p:nvPr/>
            </p:nvSpPr>
            <p:spPr bwMode="auto">
              <a:xfrm>
                <a:off x="9091657" y="2481041"/>
                <a:ext cx="2409921" cy="1193222"/>
              </a:xfrm>
              <a:custGeom>
                <a:avLst/>
                <a:gdLst>
                  <a:gd name="T0" fmla="*/ 716 w 807"/>
                  <a:gd name="T1" fmla="*/ 199 h 427"/>
                  <a:gd name="T2" fmla="*/ 567 w 807"/>
                  <a:gd name="T3" fmla="*/ 72 h 427"/>
                  <a:gd name="T4" fmla="*/ 505 w 807"/>
                  <a:gd name="T5" fmla="*/ 85 h 427"/>
                  <a:gd name="T6" fmla="*/ 505 w 807"/>
                  <a:gd name="T7" fmla="*/ 85 h 427"/>
                  <a:gd name="T8" fmla="*/ 505 w 807"/>
                  <a:gd name="T9" fmla="*/ 85 h 427"/>
                  <a:gd name="T10" fmla="*/ 346 w 807"/>
                  <a:gd name="T11" fmla="*/ 0 h 427"/>
                  <a:gd name="T12" fmla="*/ 346 w 807"/>
                  <a:gd name="T13" fmla="*/ 0 h 427"/>
                  <a:gd name="T14" fmla="*/ 346 w 807"/>
                  <a:gd name="T15" fmla="*/ 0 h 427"/>
                  <a:gd name="T16" fmla="*/ 346 w 807"/>
                  <a:gd name="T17" fmla="*/ 0 h 427"/>
                  <a:gd name="T18" fmla="*/ 163 w 807"/>
                  <a:gd name="T19" fmla="*/ 134 h 427"/>
                  <a:gd name="T20" fmla="*/ 163 w 807"/>
                  <a:gd name="T21" fmla="*/ 134 h 427"/>
                  <a:gd name="T22" fmla="*/ 147 w 807"/>
                  <a:gd name="T23" fmla="*/ 133 h 427"/>
                  <a:gd name="T24" fmla="*/ 0 w 807"/>
                  <a:gd name="T25" fmla="*/ 279 h 427"/>
                  <a:gd name="T26" fmla="*/ 147 w 807"/>
                  <a:gd name="T27" fmla="*/ 427 h 427"/>
                  <a:gd name="T28" fmla="*/ 692 w 807"/>
                  <a:gd name="T29" fmla="*/ 427 h 427"/>
                  <a:gd name="T30" fmla="*/ 807 w 807"/>
                  <a:gd name="T31" fmla="*/ 311 h 427"/>
                  <a:gd name="T32" fmla="*/ 716 w 807"/>
                  <a:gd name="T33" fmla="*/ 19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7" h="427">
                    <a:moveTo>
                      <a:pt x="716" y="199"/>
                    </a:moveTo>
                    <a:cubicBezTo>
                      <a:pt x="704" y="127"/>
                      <a:pt x="642" y="72"/>
                      <a:pt x="567" y="72"/>
                    </a:cubicBezTo>
                    <a:cubicBezTo>
                      <a:pt x="545" y="72"/>
                      <a:pt x="524" y="76"/>
                      <a:pt x="505" y="85"/>
                    </a:cubicBezTo>
                    <a:cubicBezTo>
                      <a:pt x="505" y="85"/>
                      <a:pt x="505" y="85"/>
                      <a:pt x="505" y="85"/>
                    </a:cubicBezTo>
                    <a:cubicBezTo>
                      <a:pt x="505" y="85"/>
                      <a:pt x="505" y="85"/>
                      <a:pt x="505" y="85"/>
                    </a:cubicBezTo>
                    <a:cubicBezTo>
                      <a:pt x="470" y="33"/>
                      <a:pt x="411" y="0"/>
                      <a:pt x="346" y="0"/>
                    </a:cubicBezTo>
                    <a:cubicBezTo>
                      <a:pt x="346" y="0"/>
                      <a:pt x="346" y="0"/>
                      <a:pt x="346" y="0"/>
                    </a:cubicBezTo>
                    <a:cubicBezTo>
                      <a:pt x="346" y="0"/>
                      <a:pt x="346" y="0"/>
                      <a:pt x="346" y="0"/>
                    </a:cubicBezTo>
                    <a:cubicBezTo>
                      <a:pt x="346" y="0"/>
                      <a:pt x="346" y="0"/>
                      <a:pt x="346" y="0"/>
                    </a:cubicBezTo>
                    <a:cubicBezTo>
                      <a:pt x="262" y="0"/>
                      <a:pt x="188" y="55"/>
                      <a:pt x="163" y="134"/>
                    </a:cubicBezTo>
                    <a:cubicBezTo>
                      <a:pt x="163" y="134"/>
                      <a:pt x="163" y="134"/>
                      <a:pt x="163" y="134"/>
                    </a:cubicBezTo>
                    <a:cubicBezTo>
                      <a:pt x="158" y="134"/>
                      <a:pt x="153" y="133"/>
                      <a:pt x="147" y="133"/>
                    </a:cubicBezTo>
                    <a:cubicBezTo>
                      <a:pt x="66" y="133"/>
                      <a:pt x="0" y="199"/>
                      <a:pt x="0" y="279"/>
                    </a:cubicBezTo>
                    <a:cubicBezTo>
                      <a:pt x="0" y="361"/>
                      <a:pt x="66" y="427"/>
                      <a:pt x="147" y="427"/>
                    </a:cubicBezTo>
                    <a:cubicBezTo>
                      <a:pt x="692" y="427"/>
                      <a:pt x="692" y="427"/>
                      <a:pt x="692" y="427"/>
                    </a:cubicBezTo>
                    <a:cubicBezTo>
                      <a:pt x="756" y="427"/>
                      <a:pt x="807" y="375"/>
                      <a:pt x="807" y="311"/>
                    </a:cubicBezTo>
                    <a:cubicBezTo>
                      <a:pt x="807" y="257"/>
                      <a:pt x="768" y="211"/>
                      <a:pt x="716" y="199"/>
                    </a:cubicBezTo>
                    <a:close/>
                  </a:path>
                </a:pathLst>
              </a:custGeom>
              <a:solidFill>
                <a:srgbClr val="6DBEDC">
                  <a:lumMod val="20000"/>
                  <a:lumOff val="80000"/>
                </a:srgbClr>
              </a:solidFill>
              <a:ln>
                <a:noFill/>
              </a:ln>
              <a:sp3d prstMaterial="matte"/>
            </p:spPr>
            <p:txBody>
              <a:bodyPr lIns="50809" tIns="25405" rIns="50809" bIns="25405"/>
              <a:lstStyle/>
              <a:p>
                <a:pPr defTabSz="686120" eaLnBrk="1" fontAlgn="auto" hangingPunct="1">
                  <a:spcBef>
                    <a:spcPts val="0"/>
                  </a:spcBef>
                  <a:spcAft>
                    <a:spcPts val="0"/>
                  </a:spcAft>
                  <a:defRPr/>
                </a:pPr>
                <a:endParaRPr lang="en-US" sz="525" kern="0">
                  <a:solidFill>
                    <a:prstClr val="black"/>
                  </a:solidFill>
                  <a:latin typeface="Arial"/>
                </a:endParaRPr>
              </a:p>
            </p:txBody>
          </p:sp>
          <p:pic>
            <p:nvPicPr>
              <p:cNvPr id="123930" name="Picture 95">
                <a:extLst>
                  <a:ext uri="{FF2B5EF4-FFF2-40B4-BE49-F238E27FC236}">
                    <a16:creationId xmlns:a16="http://schemas.microsoft.com/office/drawing/2014/main" id="{11A691C4-25D5-4121-98B8-F7F6E73E63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00409" y="2710233"/>
                <a:ext cx="1592416" cy="904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0874060"/>
      </p:ext>
    </p:extLst>
  </p:cSld>
  <p:clrMapOvr>
    <a:masterClrMapping/>
  </p:clrMapOvr>
  <p:transition spd="slow">
    <p:circl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5">
            <a:extLst>
              <a:ext uri="{FF2B5EF4-FFF2-40B4-BE49-F238E27FC236}">
                <a16:creationId xmlns:a16="http://schemas.microsoft.com/office/drawing/2014/main" id="{FD0E2605-F359-9843-844C-55FB882645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7250"/>
            <a:ext cx="9155113" cy="428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Rectangle 84">
            <a:extLst>
              <a:ext uri="{FF2B5EF4-FFF2-40B4-BE49-F238E27FC236}">
                <a16:creationId xmlns:a16="http://schemas.microsoft.com/office/drawing/2014/main" id="{31BE5E22-2708-D746-A584-D99D2BE9E0B8}"/>
              </a:ext>
            </a:extLst>
          </p:cNvPr>
          <p:cNvSpPr/>
          <p:nvPr/>
        </p:nvSpPr>
        <p:spPr>
          <a:xfrm>
            <a:off x="11113" y="857250"/>
            <a:ext cx="9144000" cy="4286250"/>
          </a:xfrm>
          <a:prstGeom prst="rect">
            <a:avLst/>
          </a:prstGeom>
          <a:gradFill>
            <a:gsLst>
              <a:gs pos="0">
                <a:schemeClr val="bg1"/>
              </a:gs>
              <a:gs pos="49000">
                <a:schemeClr val="bg1">
                  <a:alpha val="0"/>
                </a:schemeClr>
              </a:gs>
              <a:gs pos="100000">
                <a:schemeClr val="bg1"/>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68544" rIns="0" bIns="68544" anchor="ctr"/>
          <a:lstStyle/>
          <a:p>
            <a:pPr algn="ctr" defTabSz="686206">
              <a:lnSpc>
                <a:spcPct val="95000"/>
              </a:lnSpc>
              <a:defRPr/>
            </a:pPr>
            <a:endParaRPr lang="en-US" sz="1349">
              <a:solidFill>
                <a:prstClr val="white"/>
              </a:solidFill>
            </a:endParaRPr>
          </a:p>
        </p:txBody>
      </p:sp>
      <p:sp>
        <p:nvSpPr>
          <p:cNvPr id="105" name="Rectangle 104">
            <a:extLst>
              <a:ext uri="{FF2B5EF4-FFF2-40B4-BE49-F238E27FC236}">
                <a16:creationId xmlns:a16="http://schemas.microsoft.com/office/drawing/2014/main" id="{EEDF9551-B8EB-4340-95FA-4492BF84106E}"/>
              </a:ext>
            </a:extLst>
          </p:cNvPr>
          <p:cNvSpPr/>
          <p:nvPr/>
        </p:nvSpPr>
        <p:spPr>
          <a:xfrm>
            <a:off x="4678363" y="2068513"/>
            <a:ext cx="819150" cy="115887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sp>
        <p:nvSpPr>
          <p:cNvPr id="106" name="Rectangle 105">
            <a:extLst>
              <a:ext uri="{FF2B5EF4-FFF2-40B4-BE49-F238E27FC236}">
                <a16:creationId xmlns:a16="http://schemas.microsoft.com/office/drawing/2014/main" id="{F3C6CE2F-B8B0-43A7-A005-31F0065933C8}"/>
              </a:ext>
            </a:extLst>
          </p:cNvPr>
          <p:cNvSpPr/>
          <p:nvPr/>
        </p:nvSpPr>
        <p:spPr>
          <a:xfrm>
            <a:off x="2801938" y="2085975"/>
            <a:ext cx="817562" cy="136683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cxnSp>
        <p:nvCxnSpPr>
          <p:cNvPr id="94" name="Straight Arrow Connector 93">
            <a:extLst>
              <a:ext uri="{FF2B5EF4-FFF2-40B4-BE49-F238E27FC236}">
                <a16:creationId xmlns:a16="http://schemas.microsoft.com/office/drawing/2014/main" id="{B2D73E2E-36CA-1E4A-83F6-49CEC9FCAD03}"/>
              </a:ext>
            </a:extLst>
          </p:cNvPr>
          <p:cNvCxnSpPr>
            <a:cxnSpLocks/>
          </p:cNvCxnSpPr>
          <p:nvPr/>
        </p:nvCxnSpPr>
        <p:spPr>
          <a:xfrm>
            <a:off x="5792788" y="3887788"/>
            <a:ext cx="3151187" cy="0"/>
          </a:xfrm>
          <a:prstGeom prst="straightConnector1">
            <a:avLst/>
          </a:prstGeom>
          <a:ln w="571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367634BD-4E70-9141-A2DC-CAEEB3060AD3}"/>
              </a:ext>
            </a:extLst>
          </p:cNvPr>
          <p:cNvCxnSpPr>
            <a:cxnSpLocks/>
          </p:cNvCxnSpPr>
          <p:nvPr/>
        </p:nvCxnSpPr>
        <p:spPr>
          <a:xfrm flipH="1" flipV="1">
            <a:off x="279400" y="3873500"/>
            <a:ext cx="4846638" cy="17463"/>
          </a:xfrm>
          <a:prstGeom prst="straightConnector1">
            <a:avLst/>
          </a:prstGeom>
          <a:ln w="571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A705BC5-E574-463E-9E4F-CF00E0109650}"/>
              </a:ext>
            </a:extLst>
          </p:cNvPr>
          <p:cNvSpPr txBox="1"/>
          <p:nvPr/>
        </p:nvSpPr>
        <p:spPr>
          <a:xfrm>
            <a:off x="2857500" y="1189038"/>
            <a:ext cx="2490788" cy="300037"/>
          </a:xfrm>
          <a:prstGeom prst="rect">
            <a:avLst/>
          </a:prstGeom>
          <a:noFill/>
          <a:ln>
            <a:noFill/>
          </a:ln>
        </p:spPr>
        <p:txBody>
          <a:bodyPr>
            <a:spAutoFit/>
          </a:bodyPr>
          <a:lstStyle/>
          <a:p>
            <a:pPr algn="ctr" defTabSz="685800" eaLnBrk="1" fontAlgn="auto" hangingPunct="1">
              <a:spcBef>
                <a:spcPts val="0"/>
              </a:spcBef>
              <a:spcAft>
                <a:spcPts val="0"/>
              </a:spcAft>
              <a:defRPr/>
            </a:pPr>
            <a:r>
              <a:rPr lang="en-US" sz="1350" b="1" dirty="0">
                <a:solidFill>
                  <a:srgbClr val="0067C5"/>
                </a:solidFill>
                <a:cs typeface="Arial" panose="020B0604020202020204" pitchFamily="34" charset="0"/>
              </a:rPr>
              <a:t>ON PREMISES (CORE)</a:t>
            </a:r>
          </a:p>
        </p:txBody>
      </p:sp>
      <p:sp>
        <p:nvSpPr>
          <p:cNvPr id="3" name="TextBox 2">
            <a:extLst>
              <a:ext uri="{FF2B5EF4-FFF2-40B4-BE49-F238E27FC236}">
                <a16:creationId xmlns:a16="http://schemas.microsoft.com/office/drawing/2014/main" id="{A2630463-4645-2E43-9816-449C088C85AC}"/>
              </a:ext>
            </a:extLst>
          </p:cNvPr>
          <p:cNvSpPr txBox="1"/>
          <p:nvPr/>
        </p:nvSpPr>
        <p:spPr>
          <a:xfrm>
            <a:off x="325438" y="841375"/>
            <a:ext cx="685800" cy="685800"/>
          </a:xfrm>
          <a:prstGeom prst="rect">
            <a:avLst/>
          </a:prstGeom>
        </p:spPr>
        <p:txBody>
          <a:bodyPr wrap="none" lIns="68580" tIns="34290" rIns="68580" bIns="34290"/>
          <a:lstStyle/>
          <a:p>
            <a:pPr marL="129779" indent="-129779" defTabSz="685800" eaLnBrk="1" fontAlgn="auto" hangingPunct="1">
              <a:lnSpc>
                <a:spcPct val="95000"/>
              </a:lnSpc>
              <a:spcBef>
                <a:spcPts val="300"/>
              </a:spcBef>
              <a:spcAft>
                <a:spcPts val="150"/>
              </a:spcAft>
              <a:buClr>
                <a:srgbClr val="0067C5"/>
              </a:buClr>
              <a:buFont typeface="Wingdings" panose="05000000000000000000" pitchFamily="2" charset="2"/>
              <a:buChar char="§"/>
              <a:defRPr/>
            </a:pPr>
            <a:endParaRPr lang="en-US" sz="1050" dirty="0">
              <a:solidFill>
                <a:sysClr val="windowText" lastClr="000000"/>
              </a:solidFill>
              <a:cs typeface="Arial" panose="020B0604020202020204" pitchFamily="34" charset="0"/>
            </a:endParaRPr>
          </a:p>
        </p:txBody>
      </p:sp>
      <p:sp>
        <p:nvSpPr>
          <p:cNvPr id="6" name="TextBox 5">
            <a:extLst>
              <a:ext uri="{FF2B5EF4-FFF2-40B4-BE49-F238E27FC236}">
                <a16:creationId xmlns:a16="http://schemas.microsoft.com/office/drawing/2014/main" id="{18A48586-16AC-F244-9088-440D0C40BBDC}"/>
              </a:ext>
            </a:extLst>
          </p:cNvPr>
          <p:cNvSpPr txBox="1"/>
          <p:nvPr/>
        </p:nvSpPr>
        <p:spPr>
          <a:xfrm>
            <a:off x="2401888" y="685800"/>
            <a:ext cx="685800" cy="685800"/>
          </a:xfrm>
          <a:prstGeom prst="rect">
            <a:avLst/>
          </a:prstGeom>
        </p:spPr>
        <p:txBody>
          <a:bodyPr wrap="none" lIns="68580" tIns="34290" rIns="68580" bIns="34290"/>
          <a:lstStyle/>
          <a:p>
            <a:pPr marL="129779" indent="-129779" defTabSz="685800" eaLnBrk="1" fontAlgn="auto" hangingPunct="1">
              <a:lnSpc>
                <a:spcPct val="95000"/>
              </a:lnSpc>
              <a:spcBef>
                <a:spcPts val="300"/>
              </a:spcBef>
              <a:spcAft>
                <a:spcPts val="150"/>
              </a:spcAft>
              <a:buClr>
                <a:srgbClr val="0067C5"/>
              </a:buClr>
              <a:buFont typeface="Wingdings" panose="05000000000000000000" pitchFamily="2" charset="2"/>
              <a:buChar char="§"/>
              <a:defRPr/>
            </a:pPr>
            <a:endParaRPr lang="en-US" sz="1050" dirty="0">
              <a:solidFill>
                <a:sysClr val="windowText" lastClr="000000"/>
              </a:solidFill>
              <a:cs typeface="Arial" panose="020B0604020202020204" pitchFamily="34" charset="0"/>
            </a:endParaRPr>
          </a:p>
        </p:txBody>
      </p:sp>
      <p:grpSp>
        <p:nvGrpSpPr>
          <p:cNvPr id="176137" name="Group 48">
            <a:extLst>
              <a:ext uri="{FF2B5EF4-FFF2-40B4-BE49-F238E27FC236}">
                <a16:creationId xmlns:a16="http://schemas.microsoft.com/office/drawing/2014/main" id="{A2E44517-1315-4D5C-A30C-DC8B3EFF3B8E}"/>
              </a:ext>
            </a:extLst>
          </p:cNvPr>
          <p:cNvGrpSpPr>
            <a:grpSpLocks/>
          </p:cNvGrpSpPr>
          <p:nvPr/>
        </p:nvGrpSpPr>
        <p:grpSpPr bwMode="auto">
          <a:xfrm>
            <a:off x="590550" y="2228850"/>
            <a:ext cx="938213" cy="941388"/>
            <a:chOff x="984217" y="2396936"/>
            <a:chExt cx="660400" cy="661551"/>
          </a:xfrm>
        </p:grpSpPr>
        <p:sp>
          <p:nvSpPr>
            <p:cNvPr id="56" name="Rectangle: Rounded Corners 55">
              <a:extLst>
                <a:ext uri="{FF2B5EF4-FFF2-40B4-BE49-F238E27FC236}">
                  <a16:creationId xmlns:a16="http://schemas.microsoft.com/office/drawing/2014/main" id="{B152E921-3575-4E38-84B5-DB45AA16184B}"/>
                </a:ext>
              </a:extLst>
            </p:cNvPr>
            <p:cNvSpPr/>
            <p:nvPr/>
          </p:nvSpPr>
          <p:spPr>
            <a:xfrm>
              <a:off x="996509" y="2406977"/>
              <a:ext cx="643638" cy="642585"/>
            </a:xfrm>
            <a:prstGeom prst="roundRect">
              <a:avLst>
                <a:gd name="adj" fmla="val 9468"/>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1424" dirty="0">
                <a:solidFill>
                  <a:prstClr val="white"/>
                </a:solidFill>
                <a:cs typeface="Arial" panose="020B0604020202020204" pitchFamily="34" charset="0"/>
              </a:endParaRPr>
            </a:p>
          </p:txBody>
        </p:sp>
        <p:grpSp>
          <p:nvGrpSpPr>
            <p:cNvPr id="63" name="Group 62">
              <a:extLst>
                <a:ext uri="{FF2B5EF4-FFF2-40B4-BE49-F238E27FC236}">
                  <a16:creationId xmlns:a16="http://schemas.microsoft.com/office/drawing/2014/main" id="{E0134863-78EC-4350-AACF-D11EA24501D5}"/>
                </a:ext>
              </a:extLst>
            </p:cNvPr>
            <p:cNvGrpSpPr/>
            <p:nvPr/>
          </p:nvGrpSpPr>
          <p:grpSpPr>
            <a:xfrm>
              <a:off x="1061302" y="2465969"/>
              <a:ext cx="506230" cy="523488"/>
              <a:chOff x="10225088" y="1733551"/>
              <a:chExt cx="698500" cy="722312"/>
            </a:xfrm>
            <a:solidFill>
              <a:schemeClr val="accent1">
                <a:lumMod val="75000"/>
              </a:schemeClr>
            </a:solidFill>
          </p:grpSpPr>
          <p:sp>
            <p:nvSpPr>
              <p:cNvPr id="67" name="Freeform 41">
                <a:extLst>
                  <a:ext uri="{FF2B5EF4-FFF2-40B4-BE49-F238E27FC236}">
                    <a16:creationId xmlns:a16="http://schemas.microsoft.com/office/drawing/2014/main" id="{DFEF81F6-E964-4089-A4C9-6C702E75F8FD}"/>
                  </a:ext>
                </a:extLst>
              </p:cNvPr>
              <p:cNvSpPr>
                <a:spLocks/>
              </p:cNvSpPr>
              <p:nvPr/>
            </p:nvSpPr>
            <p:spPr bwMode="auto">
              <a:xfrm>
                <a:off x="10868025" y="2376488"/>
                <a:ext cx="55563" cy="79375"/>
              </a:xfrm>
              <a:custGeom>
                <a:avLst/>
                <a:gdLst>
                  <a:gd name="T0" fmla="*/ 102 w 204"/>
                  <a:gd name="T1" fmla="*/ 0 h 303"/>
                  <a:gd name="T2" fmla="*/ 122 w 204"/>
                  <a:gd name="T3" fmla="*/ 3 h 303"/>
                  <a:gd name="T4" fmla="*/ 142 w 204"/>
                  <a:gd name="T5" fmla="*/ 11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6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5 w 204"/>
                  <a:gd name="T33" fmla="*/ 300 h 303"/>
                  <a:gd name="T34" fmla="*/ 103 w 204"/>
                  <a:gd name="T35" fmla="*/ 303 h 303"/>
                  <a:gd name="T36" fmla="*/ 82 w 204"/>
                  <a:gd name="T37" fmla="*/ 300 h 303"/>
                  <a:gd name="T38" fmla="*/ 62 w 204"/>
                  <a:gd name="T39" fmla="*/ 291 h 303"/>
                  <a:gd name="T40" fmla="*/ 45 w 204"/>
                  <a:gd name="T41" fmla="*/ 278 h 303"/>
                  <a:gd name="T42" fmla="*/ 29 w 204"/>
                  <a:gd name="T43" fmla="*/ 260 h 303"/>
                  <a:gd name="T44" fmla="*/ 17 w 204"/>
                  <a:gd name="T45" fmla="*/ 238 h 303"/>
                  <a:gd name="T46" fmla="*/ 7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7 w 204"/>
                  <a:gd name="T59" fmla="*/ 63 h 303"/>
                  <a:gd name="T60" fmla="*/ 28 w 204"/>
                  <a:gd name="T61" fmla="*/ 41 h 303"/>
                  <a:gd name="T62" fmla="*/ 43 w 204"/>
                  <a:gd name="T63" fmla="*/ 23 h 303"/>
                  <a:gd name="T64" fmla="*/ 61 w 204"/>
                  <a:gd name="T65" fmla="*/ 11 h 303"/>
                  <a:gd name="T66" fmla="*/ 80 w 204"/>
                  <a:gd name="T67" fmla="*/ 2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2" y="3"/>
                    </a:lnTo>
                    <a:lnTo>
                      <a:pt x="142" y="11"/>
                    </a:lnTo>
                    <a:lnTo>
                      <a:pt x="159" y="24"/>
                    </a:lnTo>
                    <a:lnTo>
                      <a:pt x="175" y="42"/>
                    </a:lnTo>
                    <a:lnTo>
                      <a:pt x="187" y="64"/>
                    </a:lnTo>
                    <a:lnTo>
                      <a:pt x="197" y="90"/>
                    </a:lnTo>
                    <a:lnTo>
                      <a:pt x="202" y="119"/>
                    </a:lnTo>
                    <a:lnTo>
                      <a:pt x="204" y="151"/>
                    </a:lnTo>
                    <a:lnTo>
                      <a:pt x="204" y="153"/>
                    </a:lnTo>
                    <a:lnTo>
                      <a:pt x="202" y="186"/>
                    </a:lnTo>
                    <a:lnTo>
                      <a:pt x="197" y="214"/>
                    </a:lnTo>
                    <a:lnTo>
                      <a:pt x="187" y="240"/>
                    </a:lnTo>
                    <a:lnTo>
                      <a:pt x="176" y="261"/>
                    </a:lnTo>
                    <a:lnTo>
                      <a:pt x="161" y="279"/>
                    </a:lnTo>
                    <a:lnTo>
                      <a:pt x="143" y="291"/>
                    </a:lnTo>
                    <a:lnTo>
                      <a:pt x="125" y="300"/>
                    </a:lnTo>
                    <a:lnTo>
                      <a:pt x="103" y="303"/>
                    </a:lnTo>
                    <a:lnTo>
                      <a:pt x="82" y="300"/>
                    </a:lnTo>
                    <a:lnTo>
                      <a:pt x="62" y="291"/>
                    </a:lnTo>
                    <a:lnTo>
                      <a:pt x="45" y="278"/>
                    </a:lnTo>
                    <a:lnTo>
                      <a:pt x="29" y="260"/>
                    </a:lnTo>
                    <a:lnTo>
                      <a:pt x="17" y="238"/>
                    </a:lnTo>
                    <a:lnTo>
                      <a:pt x="7" y="213"/>
                    </a:lnTo>
                    <a:lnTo>
                      <a:pt x="2" y="183"/>
                    </a:lnTo>
                    <a:lnTo>
                      <a:pt x="0" y="151"/>
                    </a:lnTo>
                    <a:lnTo>
                      <a:pt x="0" y="149"/>
                    </a:lnTo>
                    <a:lnTo>
                      <a:pt x="2" y="117"/>
                    </a:lnTo>
                    <a:lnTo>
                      <a:pt x="7" y="88"/>
                    </a:lnTo>
                    <a:lnTo>
                      <a:pt x="17" y="63"/>
                    </a:lnTo>
                    <a:lnTo>
                      <a:pt x="28" y="41"/>
                    </a:lnTo>
                    <a:lnTo>
                      <a:pt x="43" y="23"/>
                    </a:lnTo>
                    <a:lnTo>
                      <a:pt x="61" y="11"/>
                    </a:lnTo>
                    <a:lnTo>
                      <a:pt x="80" y="2"/>
                    </a:lnTo>
                    <a:lnTo>
                      <a:pt x="102"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68" name="Freeform 42">
                <a:extLst>
                  <a:ext uri="{FF2B5EF4-FFF2-40B4-BE49-F238E27FC236}">
                    <a16:creationId xmlns:a16="http://schemas.microsoft.com/office/drawing/2014/main" id="{93FFADC0-B661-43B3-B07F-DD9005163A0A}"/>
                  </a:ext>
                </a:extLst>
              </p:cNvPr>
              <p:cNvSpPr>
                <a:spLocks/>
              </p:cNvSpPr>
              <p:nvPr/>
            </p:nvSpPr>
            <p:spPr bwMode="auto">
              <a:xfrm>
                <a:off x="10369550" y="1947863"/>
                <a:ext cx="53975" cy="79375"/>
              </a:xfrm>
              <a:custGeom>
                <a:avLst/>
                <a:gdLst>
                  <a:gd name="T0" fmla="*/ 101 w 204"/>
                  <a:gd name="T1" fmla="*/ 0 h 303"/>
                  <a:gd name="T2" fmla="*/ 122 w 204"/>
                  <a:gd name="T3" fmla="*/ 3 h 303"/>
                  <a:gd name="T4" fmla="*/ 142 w 204"/>
                  <a:gd name="T5" fmla="*/ 12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5 h 303"/>
                  <a:gd name="T24" fmla="*/ 187 w 204"/>
                  <a:gd name="T25" fmla="*/ 240 h 303"/>
                  <a:gd name="T26" fmla="*/ 176 w 204"/>
                  <a:gd name="T27" fmla="*/ 262 h 303"/>
                  <a:gd name="T28" fmla="*/ 161 w 204"/>
                  <a:gd name="T29" fmla="*/ 279 h 303"/>
                  <a:gd name="T30" fmla="*/ 143 w 204"/>
                  <a:gd name="T31" fmla="*/ 292 h 303"/>
                  <a:gd name="T32" fmla="*/ 124 w 204"/>
                  <a:gd name="T33" fmla="*/ 300 h 303"/>
                  <a:gd name="T34" fmla="*/ 102 w 204"/>
                  <a:gd name="T35" fmla="*/ 303 h 303"/>
                  <a:gd name="T36" fmla="*/ 81 w 204"/>
                  <a:gd name="T37" fmla="*/ 300 h 303"/>
                  <a:gd name="T38" fmla="*/ 62 w 204"/>
                  <a:gd name="T39" fmla="*/ 291 h 303"/>
                  <a:gd name="T40" fmla="*/ 45 w 204"/>
                  <a:gd name="T41" fmla="*/ 279 h 303"/>
                  <a:gd name="T42" fmla="*/ 29 w 204"/>
                  <a:gd name="T43" fmla="*/ 261 h 303"/>
                  <a:gd name="T44" fmla="*/ 17 w 204"/>
                  <a:gd name="T45" fmla="*/ 239 h 303"/>
                  <a:gd name="T46" fmla="*/ 7 w 204"/>
                  <a:gd name="T47" fmla="*/ 213 h 303"/>
                  <a:gd name="T48" fmla="*/ 2 w 204"/>
                  <a:gd name="T49" fmla="*/ 183 h 303"/>
                  <a:gd name="T50" fmla="*/ 0 w 204"/>
                  <a:gd name="T51" fmla="*/ 151 h 303"/>
                  <a:gd name="T52" fmla="*/ 0 w 204"/>
                  <a:gd name="T53" fmla="*/ 150 h 303"/>
                  <a:gd name="T54" fmla="*/ 2 w 204"/>
                  <a:gd name="T55" fmla="*/ 117 h 303"/>
                  <a:gd name="T56" fmla="*/ 7 w 204"/>
                  <a:gd name="T57" fmla="*/ 88 h 303"/>
                  <a:gd name="T58" fmla="*/ 17 w 204"/>
                  <a:gd name="T59" fmla="*/ 63 h 303"/>
                  <a:gd name="T60" fmla="*/ 28 w 204"/>
                  <a:gd name="T61" fmla="*/ 41 h 303"/>
                  <a:gd name="T62" fmla="*/ 43 w 204"/>
                  <a:gd name="T63" fmla="*/ 24 h 303"/>
                  <a:gd name="T64" fmla="*/ 61 w 204"/>
                  <a:gd name="T65" fmla="*/ 10 h 303"/>
                  <a:gd name="T66" fmla="*/ 79 w 204"/>
                  <a:gd name="T67" fmla="*/ 3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2"/>
                    </a:lnTo>
                    <a:lnTo>
                      <a:pt x="159" y="24"/>
                    </a:lnTo>
                    <a:lnTo>
                      <a:pt x="175" y="42"/>
                    </a:lnTo>
                    <a:lnTo>
                      <a:pt x="187" y="64"/>
                    </a:lnTo>
                    <a:lnTo>
                      <a:pt x="197" y="90"/>
                    </a:lnTo>
                    <a:lnTo>
                      <a:pt x="202" y="119"/>
                    </a:lnTo>
                    <a:lnTo>
                      <a:pt x="204" y="151"/>
                    </a:lnTo>
                    <a:lnTo>
                      <a:pt x="204" y="153"/>
                    </a:lnTo>
                    <a:lnTo>
                      <a:pt x="202" y="185"/>
                    </a:lnTo>
                    <a:lnTo>
                      <a:pt x="197" y="215"/>
                    </a:lnTo>
                    <a:lnTo>
                      <a:pt x="187" y="240"/>
                    </a:lnTo>
                    <a:lnTo>
                      <a:pt x="176" y="262"/>
                    </a:lnTo>
                    <a:lnTo>
                      <a:pt x="161" y="279"/>
                    </a:lnTo>
                    <a:lnTo>
                      <a:pt x="143" y="292"/>
                    </a:lnTo>
                    <a:lnTo>
                      <a:pt x="124" y="300"/>
                    </a:lnTo>
                    <a:lnTo>
                      <a:pt x="102" y="303"/>
                    </a:lnTo>
                    <a:lnTo>
                      <a:pt x="81" y="300"/>
                    </a:lnTo>
                    <a:lnTo>
                      <a:pt x="62" y="291"/>
                    </a:lnTo>
                    <a:lnTo>
                      <a:pt x="45" y="279"/>
                    </a:lnTo>
                    <a:lnTo>
                      <a:pt x="29" y="261"/>
                    </a:lnTo>
                    <a:lnTo>
                      <a:pt x="17" y="239"/>
                    </a:lnTo>
                    <a:lnTo>
                      <a:pt x="7" y="213"/>
                    </a:lnTo>
                    <a:lnTo>
                      <a:pt x="2" y="183"/>
                    </a:lnTo>
                    <a:lnTo>
                      <a:pt x="0" y="151"/>
                    </a:lnTo>
                    <a:lnTo>
                      <a:pt x="0" y="150"/>
                    </a:lnTo>
                    <a:lnTo>
                      <a:pt x="2" y="117"/>
                    </a:lnTo>
                    <a:lnTo>
                      <a:pt x="7" y="88"/>
                    </a:lnTo>
                    <a:lnTo>
                      <a:pt x="17" y="63"/>
                    </a:lnTo>
                    <a:lnTo>
                      <a:pt x="28" y="41"/>
                    </a:lnTo>
                    <a:lnTo>
                      <a:pt x="43" y="24"/>
                    </a:lnTo>
                    <a:lnTo>
                      <a:pt x="61" y="10"/>
                    </a:lnTo>
                    <a:lnTo>
                      <a:pt x="79" y="3"/>
                    </a:lnTo>
                    <a:lnTo>
                      <a:pt x="101"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69" name="Freeform 43">
                <a:extLst>
                  <a:ext uri="{FF2B5EF4-FFF2-40B4-BE49-F238E27FC236}">
                    <a16:creationId xmlns:a16="http://schemas.microsoft.com/office/drawing/2014/main" id="{5F4708A3-E236-4C63-933A-E47168A10D15}"/>
                  </a:ext>
                </a:extLst>
              </p:cNvPr>
              <p:cNvSpPr>
                <a:spLocks/>
              </p:cNvSpPr>
              <p:nvPr/>
            </p:nvSpPr>
            <p:spPr bwMode="auto">
              <a:xfrm>
                <a:off x="10721975" y="1947863"/>
                <a:ext cx="53975" cy="79375"/>
              </a:xfrm>
              <a:custGeom>
                <a:avLst/>
                <a:gdLst>
                  <a:gd name="T0" fmla="*/ 101 w 204"/>
                  <a:gd name="T1" fmla="*/ 0 h 303"/>
                  <a:gd name="T2" fmla="*/ 122 w 204"/>
                  <a:gd name="T3" fmla="*/ 3 h 303"/>
                  <a:gd name="T4" fmla="*/ 142 w 204"/>
                  <a:gd name="T5" fmla="*/ 12 h 303"/>
                  <a:gd name="T6" fmla="*/ 160 w 204"/>
                  <a:gd name="T7" fmla="*/ 24 h 303"/>
                  <a:gd name="T8" fmla="*/ 175 w 204"/>
                  <a:gd name="T9" fmla="*/ 42 h 303"/>
                  <a:gd name="T10" fmla="*/ 187 w 204"/>
                  <a:gd name="T11" fmla="*/ 64 h 303"/>
                  <a:gd name="T12" fmla="*/ 197 w 204"/>
                  <a:gd name="T13" fmla="*/ 90 h 303"/>
                  <a:gd name="T14" fmla="*/ 203 w 204"/>
                  <a:gd name="T15" fmla="*/ 119 h 303"/>
                  <a:gd name="T16" fmla="*/ 204 w 204"/>
                  <a:gd name="T17" fmla="*/ 151 h 303"/>
                  <a:gd name="T18" fmla="*/ 204 w 204"/>
                  <a:gd name="T19" fmla="*/ 153 h 303"/>
                  <a:gd name="T20" fmla="*/ 203 w 204"/>
                  <a:gd name="T21" fmla="*/ 185 h 303"/>
                  <a:gd name="T22" fmla="*/ 197 w 204"/>
                  <a:gd name="T23" fmla="*/ 215 h 303"/>
                  <a:gd name="T24" fmla="*/ 188 w 204"/>
                  <a:gd name="T25" fmla="*/ 240 h 303"/>
                  <a:gd name="T26" fmla="*/ 176 w 204"/>
                  <a:gd name="T27" fmla="*/ 262 h 303"/>
                  <a:gd name="T28" fmla="*/ 161 w 204"/>
                  <a:gd name="T29" fmla="*/ 279 h 303"/>
                  <a:gd name="T30" fmla="*/ 144 w 204"/>
                  <a:gd name="T31" fmla="*/ 292 h 303"/>
                  <a:gd name="T32" fmla="*/ 124 w 204"/>
                  <a:gd name="T33" fmla="*/ 300 h 303"/>
                  <a:gd name="T34" fmla="*/ 103 w 204"/>
                  <a:gd name="T35" fmla="*/ 303 h 303"/>
                  <a:gd name="T36" fmla="*/ 82 w 204"/>
                  <a:gd name="T37" fmla="*/ 300 h 303"/>
                  <a:gd name="T38" fmla="*/ 63 w 204"/>
                  <a:gd name="T39" fmla="*/ 291 h 303"/>
                  <a:gd name="T40" fmla="*/ 45 w 204"/>
                  <a:gd name="T41" fmla="*/ 279 h 303"/>
                  <a:gd name="T42" fmla="*/ 30 w 204"/>
                  <a:gd name="T43" fmla="*/ 261 h 303"/>
                  <a:gd name="T44" fmla="*/ 18 w 204"/>
                  <a:gd name="T45" fmla="*/ 239 h 303"/>
                  <a:gd name="T46" fmla="*/ 8 w 204"/>
                  <a:gd name="T47" fmla="*/ 213 h 303"/>
                  <a:gd name="T48" fmla="*/ 2 w 204"/>
                  <a:gd name="T49" fmla="*/ 183 h 303"/>
                  <a:gd name="T50" fmla="*/ 0 w 204"/>
                  <a:gd name="T51" fmla="*/ 151 h 303"/>
                  <a:gd name="T52" fmla="*/ 0 w 204"/>
                  <a:gd name="T53" fmla="*/ 150 h 303"/>
                  <a:gd name="T54" fmla="*/ 2 w 204"/>
                  <a:gd name="T55" fmla="*/ 117 h 303"/>
                  <a:gd name="T56" fmla="*/ 8 w 204"/>
                  <a:gd name="T57" fmla="*/ 88 h 303"/>
                  <a:gd name="T58" fmla="*/ 17 w 204"/>
                  <a:gd name="T59" fmla="*/ 63 h 303"/>
                  <a:gd name="T60" fmla="*/ 29 w 204"/>
                  <a:gd name="T61" fmla="*/ 41 h 303"/>
                  <a:gd name="T62" fmla="*/ 44 w 204"/>
                  <a:gd name="T63" fmla="*/ 24 h 303"/>
                  <a:gd name="T64" fmla="*/ 61 w 204"/>
                  <a:gd name="T65" fmla="*/ 10 h 303"/>
                  <a:gd name="T66" fmla="*/ 80 w 204"/>
                  <a:gd name="T67" fmla="*/ 3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2"/>
                    </a:lnTo>
                    <a:lnTo>
                      <a:pt x="160" y="24"/>
                    </a:lnTo>
                    <a:lnTo>
                      <a:pt x="175" y="42"/>
                    </a:lnTo>
                    <a:lnTo>
                      <a:pt x="187" y="64"/>
                    </a:lnTo>
                    <a:lnTo>
                      <a:pt x="197" y="90"/>
                    </a:lnTo>
                    <a:lnTo>
                      <a:pt x="203" y="119"/>
                    </a:lnTo>
                    <a:lnTo>
                      <a:pt x="204" y="151"/>
                    </a:lnTo>
                    <a:lnTo>
                      <a:pt x="204" y="153"/>
                    </a:lnTo>
                    <a:lnTo>
                      <a:pt x="203" y="185"/>
                    </a:lnTo>
                    <a:lnTo>
                      <a:pt x="197" y="215"/>
                    </a:lnTo>
                    <a:lnTo>
                      <a:pt x="188" y="240"/>
                    </a:lnTo>
                    <a:lnTo>
                      <a:pt x="176" y="262"/>
                    </a:lnTo>
                    <a:lnTo>
                      <a:pt x="161" y="279"/>
                    </a:lnTo>
                    <a:lnTo>
                      <a:pt x="144" y="292"/>
                    </a:lnTo>
                    <a:lnTo>
                      <a:pt x="124" y="300"/>
                    </a:lnTo>
                    <a:lnTo>
                      <a:pt x="103" y="303"/>
                    </a:lnTo>
                    <a:lnTo>
                      <a:pt x="82" y="300"/>
                    </a:lnTo>
                    <a:lnTo>
                      <a:pt x="63" y="291"/>
                    </a:lnTo>
                    <a:lnTo>
                      <a:pt x="45" y="279"/>
                    </a:lnTo>
                    <a:lnTo>
                      <a:pt x="30" y="261"/>
                    </a:lnTo>
                    <a:lnTo>
                      <a:pt x="18" y="239"/>
                    </a:lnTo>
                    <a:lnTo>
                      <a:pt x="8" y="213"/>
                    </a:lnTo>
                    <a:lnTo>
                      <a:pt x="2" y="183"/>
                    </a:lnTo>
                    <a:lnTo>
                      <a:pt x="0" y="151"/>
                    </a:lnTo>
                    <a:lnTo>
                      <a:pt x="0" y="150"/>
                    </a:lnTo>
                    <a:lnTo>
                      <a:pt x="2" y="117"/>
                    </a:lnTo>
                    <a:lnTo>
                      <a:pt x="8" y="88"/>
                    </a:lnTo>
                    <a:lnTo>
                      <a:pt x="17" y="63"/>
                    </a:lnTo>
                    <a:lnTo>
                      <a:pt x="29" y="41"/>
                    </a:lnTo>
                    <a:lnTo>
                      <a:pt x="44" y="24"/>
                    </a:lnTo>
                    <a:lnTo>
                      <a:pt x="61" y="10"/>
                    </a:lnTo>
                    <a:lnTo>
                      <a:pt x="80" y="3"/>
                    </a:lnTo>
                    <a:lnTo>
                      <a:pt x="101"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0" name="Freeform 44">
                <a:extLst>
                  <a:ext uri="{FF2B5EF4-FFF2-40B4-BE49-F238E27FC236}">
                    <a16:creationId xmlns:a16="http://schemas.microsoft.com/office/drawing/2014/main" id="{C872C4E9-C387-48CD-A3A2-4664A49A30DE}"/>
                  </a:ext>
                </a:extLst>
              </p:cNvPr>
              <p:cNvSpPr>
                <a:spLocks/>
              </p:cNvSpPr>
              <p:nvPr/>
            </p:nvSpPr>
            <p:spPr bwMode="auto">
              <a:xfrm>
                <a:off x="10225088" y="2162176"/>
                <a:ext cx="53975" cy="79375"/>
              </a:xfrm>
              <a:custGeom>
                <a:avLst/>
                <a:gdLst>
                  <a:gd name="T0" fmla="*/ 102 w 204"/>
                  <a:gd name="T1" fmla="*/ 0 h 302"/>
                  <a:gd name="T2" fmla="*/ 123 w 204"/>
                  <a:gd name="T3" fmla="*/ 3 h 302"/>
                  <a:gd name="T4" fmla="*/ 143 w 204"/>
                  <a:gd name="T5" fmla="*/ 10 h 302"/>
                  <a:gd name="T6" fmla="*/ 160 w 204"/>
                  <a:gd name="T7" fmla="*/ 24 h 302"/>
                  <a:gd name="T8" fmla="*/ 175 w 204"/>
                  <a:gd name="T9" fmla="*/ 41 h 302"/>
                  <a:gd name="T10" fmla="*/ 188 w 204"/>
                  <a:gd name="T11" fmla="*/ 63 h 302"/>
                  <a:gd name="T12" fmla="*/ 197 w 204"/>
                  <a:gd name="T13" fmla="*/ 90 h 302"/>
                  <a:gd name="T14" fmla="*/ 202 w 204"/>
                  <a:gd name="T15" fmla="*/ 119 h 302"/>
                  <a:gd name="T16" fmla="*/ 204 w 204"/>
                  <a:gd name="T17" fmla="*/ 150 h 302"/>
                  <a:gd name="T18" fmla="*/ 204 w 204"/>
                  <a:gd name="T19" fmla="*/ 152 h 302"/>
                  <a:gd name="T20" fmla="*/ 202 w 204"/>
                  <a:gd name="T21" fmla="*/ 185 h 302"/>
                  <a:gd name="T22" fmla="*/ 197 w 204"/>
                  <a:gd name="T23" fmla="*/ 213 h 302"/>
                  <a:gd name="T24" fmla="*/ 188 w 204"/>
                  <a:gd name="T25" fmla="*/ 239 h 302"/>
                  <a:gd name="T26" fmla="*/ 176 w 204"/>
                  <a:gd name="T27" fmla="*/ 260 h 302"/>
                  <a:gd name="T28" fmla="*/ 161 w 204"/>
                  <a:gd name="T29" fmla="*/ 278 h 302"/>
                  <a:gd name="T30" fmla="*/ 144 w 204"/>
                  <a:gd name="T31" fmla="*/ 291 h 302"/>
                  <a:gd name="T32" fmla="*/ 125 w 204"/>
                  <a:gd name="T33" fmla="*/ 299 h 302"/>
                  <a:gd name="T34" fmla="*/ 104 w 204"/>
                  <a:gd name="T35" fmla="*/ 302 h 302"/>
                  <a:gd name="T36" fmla="*/ 82 w 204"/>
                  <a:gd name="T37" fmla="*/ 299 h 302"/>
                  <a:gd name="T38" fmla="*/ 62 w 204"/>
                  <a:gd name="T39" fmla="*/ 291 h 302"/>
                  <a:gd name="T40" fmla="*/ 45 w 204"/>
                  <a:gd name="T41" fmla="*/ 278 h 302"/>
                  <a:gd name="T42" fmla="*/ 30 w 204"/>
                  <a:gd name="T43" fmla="*/ 260 h 302"/>
                  <a:gd name="T44" fmla="*/ 17 w 204"/>
                  <a:gd name="T45" fmla="*/ 238 h 302"/>
                  <a:gd name="T46" fmla="*/ 9 w 204"/>
                  <a:gd name="T47" fmla="*/ 212 h 302"/>
                  <a:gd name="T48" fmla="*/ 2 w 204"/>
                  <a:gd name="T49" fmla="*/ 183 h 302"/>
                  <a:gd name="T50" fmla="*/ 0 w 204"/>
                  <a:gd name="T51" fmla="*/ 150 h 302"/>
                  <a:gd name="T52" fmla="*/ 0 w 204"/>
                  <a:gd name="T53" fmla="*/ 149 h 302"/>
                  <a:gd name="T54" fmla="*/ 2 w 204"/>
                  <a:gd name="T55" fmla="*/ 117 h 302"/>
                  <a:gd name="T56" fmla="*/ 8 w 204"/>
                  <a:gd name="T57" fmla="*/ 88 h 302"/>
                  <a:gd name="T58" fmla="*/ 17 w 204"/>
                  <a:gd name="T59" fmla="*/ 62 h 302"/>
                  <a:gd name="T60" fmla="*/ 28 w 204"/>
                  <a:gd name="T61" fmla="*/ 40 h 302"/>
                  <a:gd name="T62" fmla="*/ 43 w 204"/>
                  <a:gd name="T63" fmla="*/ 23 h 302"/>
                  <a:gd name="T64" fmla="*/ 61 w 204"/>
                  <a:gd name="T65" fmla="*/ 10 h 302"/>
                  <a:gd name="T66" fmla="*/ 80 w 204"/>
                  <a:gd name="T67" fmla="*/ 3 h 302"/>
                  <a:gd name="T68" fmla="*/ 102 w 20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2">
                    <a:moveTo>
                      <a:pt x="102" y="0"/>
                    </a:moveTo>
                    <a:lnTo>
                      <a:pt x="123" y="3"/>
                    </a:lnTo>
                    <a:lnTo>
                      <a:pt x="143" y="10"/>
                    </a:lnTo>
                    <a:lnTo>
                      <a:pt x="160" y="24"/>
                    </a:lnTo>
                    <a:lnTo>
                      <a:pt x="175" y="41"/>
                    </a:lnTo>
                    <a:lnTo>
                      <a:pt x="188" y="63"/>
                    </a:lnTo>
                    <a:lnTo>
                      <a:pt x="197" y="90"/>
                    </a:lnTo>
                    <a:lnTo>
                      <a:pt x="202" y="119"/>
                    </a:lnTo>
                    <a:lnTo>
                      <a:pt x="204" y="150"/>
                    </a:lnTo>
                    <a:lnTo>
                      <a:pt x="204" y="152"/>
                    </a:lnTo>
                    <a:lnTo>
                      <a:pt x="202" y="185"/>
                    </a:lnTo>
                    <a:lnTo>
                      <a:pt x="197" y="213"/>
                    </a:lnTo>
                    <a:lnTo>
                      <a:pt x="188" y="239"/>
                    </a:lnTo>
                    <a:lnTo>
                      <a:pt x="176" y="260"/>
                    </a:lnTo>
                    <a:lnTo>
                      <a:pt x="161" y="278"/>
                    </a:lnTo>
                    <a:lnTo>
                      <a:pt x="144" y="291"/>
                    </a:lnTo>
                    <a:lnTo>
                      <a:pt x="125" y="299"/>
                    </a:lnTo>
                    <a:lnTo>
                      <a:pt x="104" y="302"/>
                    </a:lnTo>
                    <a:lnTo>
                      <a:pt x="82" y="299"/>
                    </a:lnTo>
                    <a:lnTo>
                      <a:pt x="62" y="291"/>
                    </a:lnTo>
                    <a:lnTo>
                      <a:pt x="45" y="278"/>
                    </a:lnTo>
                    <a:lnTo>
                      <a:pt x="30" y="260"/>
                    </a:lnTo>
                    <a:lnTo>
                      <a:pt x="17" y="238"/>
                    </a:lnTo>
                    <a:lnTo>
                      <a:pt x="9" y="212"/>
                    </a:lnTo>
                    <a:lnTo>
                      <a:pt x="2" y="183"/>
                    </a:lnTo>
                    <a:lnTo>
                      <a:pt x="0" y="150"/>
                    </a:lnTo>
                    <a:lnTo>
                      <a:pt x="0" y="149"/>
                    </a:lnTo>
                    <a:lnTo>
                      <a:pt x="2" y="117"/>
                    </a:lnTo>
                    <a:lnTo>
                      <a:pt x="8" y="88"/>
                    </a:lnTo>
                    <a:lnTo>
                      <a:pt x="17" y="62"/>
                    </a:lnTo>
                    <a:lnTo>
                      <a:pt x="28" y="40"/>
                    </a:lnTo>
                    <a:lnTo>
                      <a:pt x="43" y="23"/>
                    </a:lnTo>
                    <a:lnTo>
                      <a:pt x="61" y="10"/>
                    </a:lnTo>
                    <a:lnTo>
                      <a:pt x="80" y="3"/>
                    </a:lnTo>
                    <a:lnTo>
                      <a:pt x="102"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1" name="Freeform 45">
                <a:extLst>
                  <a:ext uri="{FF2B5EF4-FFF2-40B4-BE49-F238E27FC236}">
                    <a16:creationId xmlns:a16="http://schemas.microsoft.com/office/drawing/2014/main" id="{2EB8B698-1997-46A0-A0D4-538F28179567}"/>
                  </a:ext>
                </a:extLst>
              </p:cNvPr>
              <p:cNvSpPr>
                <a:spLocks/>
              </p:cNvSpPr>
              <p:nvPr/>
            </p:nvSpPr>
            <p:spPr bwMode="auto">
              <a:xfrm>
                <a:off x="10369550" y="2376488"/>
                <a:ext cx="53975" cy="79375"/>
              </a:xfrm>
              <a:custGeom>
                <a:avLst/>
                <a:gdLst>
                  <a:gd name="T0" fmla="*/ 101 w 204"/>
                  <a:gd name="T1" fmla="*/ 0 h 303"/>
                  <a:gd name="T2" fmla="*/ 122 w 204"/>
                  <a:gd name="T3" fmla="*/ 3 h 303"/>
                  <a:gd name="T4" fmla="*/ 142 w 204"/>
                  <a:gd name="T5" fmla="*/ 11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6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4 w 204"/>
                  <a:gd name="T33" fmla="*/ 300 h 303"/>
                  <a:gd name="T34" fmla="*/ 102 w 204"/>
                  <a:gd name="T35" fmla="*/ 303 h 303"/>
                  <a:gd name="T36" fmla="*/ 81 w 204"/>
                  <a:gd name="T37" fmla="*/ 300 h 303"/>
                  <a:gd name="T38" fmla="*/ 62 w 204"/>
                  <a:gd name="T39" fmla="*/ 291 h 303"/>
                  <a:gd name="T40" fmla="*/ 45 w 204"/>
                  <a:gd name="T41" fmla="*/ 278 h 303"/>
                  <a:gd name="T42" fmla="*/ 29 w 204"/>
                  <a:gd name="T43" fmla="*/ 260 h 303"/>
                  <a:gd name="T44" fmla="*/ 17 w 204"/>
                  <a:gd name="T45" fmla="*/ 238 h 303"/>
                  <a:gd name="T46" fmla="*/ 7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7 w 204"/>
                  <a:gd name="T59" fmla="*/ 63 h 303"/>
                  <a:gd name="T60" fmla="*/ 28 w 204"/>
                  <a:gd name="T61" fmla="*/ 41 h 303"/>
                  <a:gd name="T62" fmla="*/ 43 w 204"/>
                  <a:gd name="T63" fmla="*/ 23 h 303"/>
                  <a:gd name="T64" fmla="*/ 61 w 204"/>
                  <a:gd name="T65" fmla="*/ 11 h 303"/>
                  <a:gd name="T66" fmla="*/ 79 w 204"/>
                  <a:gd name="T67" fmla="*/ 2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1"/>
                    </a:lnTo>
                    <a:lnTo>
                      <a:pt x="159" y="24"/>
                    </a:lnTo>
                    <a:lnTo>
                      <a:pt x="175" y="42"/>
                    </a:lnTo>
                    <a:lnTo>
                      <a:pt x="187" y="64"/>
                    </a:lnTo>
                    <a:lnTo>
                      <a:pt x="197" y="90"/>
                    </a:lnTo>
                    <a:lnTo>
                      <a:pt x="202" y="119"/>
                    </a:lnTo>
                    <a:lnTo>
                      <a:pt x="204" y="151"/>
                    </a:lnTo>
                    <a:lnTo>
                      <a:pt x="204" y="153"/>
                    </a:lnTo>
                    <a:lnTo>
                      <a:pt x="202" y="186"/>
                    </a:lnTo>
                    <a:lnTo>
                      <a:pt x="197" y="214"/>
                    </a:lnTo>
                    <a:lnTo>
                      <a:pt x="187" y="240"/>
                    </a:lnTo>
                    <a:lnTo>
                      <a:pt x="176" y="261"/>
                    </a:lnTo>
                    <a:lnTo>
                      <a:pt x="161" y="279"/>
                    </a:lnTo>
                    <a:lnTo>
                      <a:pt x="143" y="291"/>
                    </a:lnTo>
                    <a:lnTo>
                      <a:pt x="124" y="300"/>
                    </a:lnTo>
                    <a:lnTo>
                      <a:pt x="102" y="303"/>
                    </a:lnTo>
                    <a:lnTo>
                      <a:pt x="81" y="300"/>
                    </a:lnTo>
                    <a:lnTo>
                      <a:pt x="62" y="291"/>
                    </a:lnTo>
                    <a:lnTo>
                      <a:pt x="45" y="278"/>
                    </a:lnTo>
                    <a:lnTo>
                      <a:pt x="29" y="260"/>
                    </a:lnTo>
                    <a:lnTo>
                      <a:pt x="17" y="238"/>
                    </a:lnTo>
                    <a:lnTo>
                      <a:pt x="7" y="213"/>
                    </a:lnTo>
                    <a:lnTo>
                      <a:pt x="2" y="183"/>
                    </a:lnTo>
                    <a:lnTo>
                      <a:pt x="0" y="151"/>
                    </a:lnTo>
                    <a:lnTo>
                      <a:pt x="0" y="149"/>
                    </a:lnTo>
                    <a:lnTo>
                      <a:pt x="2" y="117"/>
                    </a:lnTo>
                    <a:lnTo>
                      <a:pt x="7" y="88"/>
                    </a:lnTo>
                    <a:lnTo>
                      <a:pt x="17" y="63"/>
                    </a:lnTo>
                    <a:lnTo>
                      <a:pt x="28" y="41"/>
                    </a:lnTo>
                    <a:lnTo>
                      <a:pt x="43" y="23"/>
                    </a:lnTo>
                    <a:lnTo>
                      <a:pt x="61" y="11"/>
                    </a:lnTo>
                    <a:lnTo>
                      <a:pt x="79" y="2"/>
                    </a:lnTo>
                    <a:lnTo>
                      <a:pt x="101"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2" name="Freeform 46">
                <a:extLst>
                  <a:ext uri="{FF2B5EF4-FFF2-40B4-BE49-F238E27FC236}">
                    <a16:creationId xmlns:a16="http://schemas.microsoft.com/office/drawing/2014/main" id="{E37FFA31-A1A3-4415-8F97-71B6D7865D5B}"/>
                  </a:ext>
                </a:extLst>
              </p:cNvPr>
              <p:cNvSpPr>
                <a:spLocks/>
              </p:cNvSpPr>
              <p:nvPr/>
            </p:nvSpPr>
            <p:spPr bwMode="auto">
              <a:xfrm>
                <a:off x="10868025" y="1733551"/>
                <a:ext cx="55563" cy="79375"/>
              </a:xfrm>
              <a:custGeom>
                <a:avLst/>
                <a:gdLst>
                  <a:gd name="T0" fmla="*/ 102 w 204"/>
                  <a:gd name="T1" fmla="*/ 0 h 303"/>
                  <a:gd name="T2" fmla="*/ 122 w 204"/>
                  <a:gd name="T3" fmla="*/ 4 h 303"/>
                  <a:gd name="T4" fmla="*/ 142 w 204"/>
                  <a:gd name="T5" fmla="*/ 12 h 303"/>
                  <a:gd name="T6" fmla="*/ 159 w 204"/>
                  <a:gd name="T7" fmla="*/ 24 h 303"/>
                  <a:gd name="T8" fmla="*/ 175 w 204"/>
                  <a:gd name="T9" fmla="*/ 42 h 303"/>
                  <a:gd name="T10" fmla="*/ 187 w 204"/>
                  <a:gd name="T11" fmla="*/ 64 h 303"/>
                  <a:gd name="T12" fmla="*/ 197 w 204"/>
                  <a:gd name="T13" fmla="*/ 90 h 303"/>
                  <a:gd name="T14" fmla="*/ 202 w 204"/>
                  <a:gd name="T15" fmla="*/ 120 h 303"/>
                  <a:gd name="T16" fmla="*/ 204 w 204"/>
                  <a:gd name="T17" fmla="*/ 152 h 303"/>
                  <a:gd name="T18" fmla="*/ 204 w 204"/>
                  <a:gd name="T19" fmla="*/ 153 h 303"/>
                  <a:gd name="T20" fmla="*/ 202 w 204"/>
                  <a:gd name="T21" fmla="*/ 186 h 303"/>
                  <a:gd name="T22" fmla="*/ 197 w 204"/>
                  <a:gd name="T23" fmla="*/ 215 h 303"/>
                  <a:gd name="T24" fmla="*/ 187 w 204"/>
                  <a:gd name="T25" fmla="*/ 240 h 303"/>
                  <a:gd name="T26" fmla="*/ 176 w 204"/>
                  <a:gd name="T27" fmla="*/ 262 h 303"/>
                  <a:gd name="T28" fmla="*/ 161 w 204"/>
                  <a:gd name="T29" fmla="*/ 279 h 303"/>
                  <a:gd name="T30" fmla="*/ 143 w 204"/>
                  <a:gd name="T31" fmla="*/ 293 h 303"/>
                  <a:gd name="T32" fmla="*/ 125 w 204"/>
                  <a:gd name="T33" fmla="*/ 300 h 303"/>
                  <a:gd name="T34" fmla="*/ 103 w 204"/>
                  <a:gd name="T35" fmla="*/ 303 h 303"/>
                  <a:gd name="T36" fmla="*/ 82 w 204"/>
                  <a:gd name="T37" fmla="*/ 300 h 303"/>
                  <a:gd name="T38" fmla="*/ 62 w 204"/>
                  <a:gd name="T39" fmla="*/ 292 h 303"/>
                  <a:gd name="T40" fmla="*/ 45 w 204"/>
                  <a:gd name="T41" fmla="*/ 279 h 303"/>
                  <a:gd name="T42" fmla="*/ 29 w 204"/>
                  <a:gd name="T43" fmla="*/ 261 h 303"/>
                  <a:gd name="T44" fmla="*/ 17 w 204"/>
                  <a:gd name="T45" fmla="*/ 239 h 303"/>
                  <a:gd name="T46" fmla="*/ 7 w 204"/>
                  <a:gd name="T47" fmla="*/ 213 h 303"/>
                  <a:gd name="T48" fmla="*/ 2 w 204"/>
                  <a:gd name="T49" fmla="*/ 184 h 303"/>
                  <a:gd name="T50" fmla="*/ 0 w 204"/>
                  <a:gd name="T51" fmla="*/ 152 h 303"/>
                  <a:gd name="T52" fmla="*/ 0 w 204"/>
                  <a:gd name="T53" fmla="*/ 150 h 303"/>
                  <a:gd name="T54" fmla="*/ 2 w 204"/>
                  <a:gd name="T55" fmla="*/ 118 h 303"/>
                  <a:gd name="T56" fmla="*/ 7 w 204"/>
                  <a:gd name="T57" fmla="*/ 88 h 303"/>
                  <a:gd name="T58" fmla="*/ 17 w 204"/>
                  <a:gd name="T59" fmla="*/ 63 h 303"/>
                  <a:gd name="T60" fmla="*/ 28 w 204"/>
                  <a:gd name="T61" fmla="*/ 41 h 303"/>
                  <a:gd name="T62" fmla="*/ 43 w 204"/>
                  <a:gd name="T63" fmla="*/ 24 h 303"/>
                  <a:gd name="T64" fmla="*/ 61 w 204"/>
                  <a:gd name="T65" fmla="*/ 11 h 303"/>
                  <a:gd name="T66" fmla="*/ 80 w 204"/>
                  <a:gd name="T67" fmla="*/ 4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2" y="4"/>
                    </a:lnTo>
                    <a:lnTo>
                      <a:pt x="142" y="12"/>
                    </a:lnTo>
                    <a:lnTo>
                      <a:pt x="159" y="24"/>
                    </a:lnTo>
                    <a:lnTo>
                      <a:pt x="175" y="42"/>
                    </a:lnTo>
                    <a:lnTo>
                      <a:pt x="187" y="64"/>
                    </a:lnTo>
                    <a:lnTo>
                      <a:pt x="197" y="90"/>
                    </a:lnTo>
                    <a:lnTo>
                      <a:pt x="202" y="120"/>
                    </a:lnTo>
                    <a:lnTo>
                      <a:pt x="204" y="152"/>
                    </a:lnTo>
                    <a:lnTo>
                      <a:pt x="204" y="153"/>
                    </a:lnTo>
                    <a:lnTo>
                      <a:pt x="202" y="186"/>
                    </a:lnTo>
                    <a:lnTo>
                      <a:pt x="197" y="215"/>
                    </a:lnTo>
                    <a:lnTo>
                      <a:pt x="187" y="240"/>
                    </a:lnTo>
                    <a:lnTo>
                      <a:pt x="176" y="262"/>
                    </a:lnTo>
                    <a:lnTo>
                      <a:pt x="161" y="279"/>
                    </a:lnTo>
                    <a:lnTo>
                      <a:pt x="143" y="293"/>
                    </a:lnTo>
                    <a:lnTo>
                      <a:pt x="125" y="300"/>
                    </a:lnTo>
                    <a:lnTo>
                      <a:pt x="103" y="303"/>
                    </a:lnTo>
                    <a:lnTo>
                      <a:pt x="82" y="300"/>
                    </a:lnTo>
                    <a:lnTo>
                      <a:pt x="62" y="292"/>
                    </a:lnTo>
                    <a:lnTo>
                      <a:pt x="45" y="279"/>
                    </a:lnTo>
                    <a:lnTo>
                      <a:pt x="29" y="261"/>
                    </a:lnTo>
                    <a:lnTo>
                      <a:pt x="17" y="239"/>
                    </a:lnTo>
                    <a:lnTo>
                      <a:pt x="7" y="213"/>
                    </a:lnTo>
                    <a:lnTo>
                      <a:pt x="2" y="184"/>
                    </a:lnTo>
                    <a:lnTo>
                      <a:pt x="0" y="152"/>
                    </a:lnTo>
                    <a:lnTo>
                      <a:pt x="0" y="150"/>
                    </a:lnTo>
                    <a:lnTo>
                      <a:pt x="2" y="118"/>
                    </a:lnTo>
                    <a:lnTo>
                      <a:pt x="7" y="88"/>
                    </a:lnTo>
                    <a:lnTo>
                      <a:pt x="17" y="63"/>
                    </a:lnTo>
                    <a:lnTo>
                      <a:pt x="28" y="41"/>
                    </a:lnTo>
                    <a:lnTo>
                      <a:pt x="43" y="24"/>
                    </a:lnTo>
                    <a:lnTo>
                      <a:pt x="61" y="11"/>
                    </a:lnTo>
                    <a:lnTo>
                      <a:pt x="80" y="4"/>
                    </a:lnTo>
                    <a:lnTo>
                      <a:pt x="102"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3" name="Freeform 47">
                <a:extLst>
                  <a:ext uri="{FF2B5EF4-FFF2-40B4-BE49-F238E27FC236}">
                    <a16:creationId xmlns:a16="http://schemas.microsoft.com/office/drawing/2014/main" id="{6AA4B1B2-D441-4656-85D1-1AF5F3BBE6CB}"/>
                  </a:ext>
                </a:extLst>
              </p:cNvPr>
              <p:cNvSpPr>
                <a:spLocks/>
              </p:cNvSpPr>
              <p:nvPr/>
            </p:nvSpPr>
            <p:spPr bwMode="auto">
              <a:xfrm>
                <a:off x="10868025" y="2162176"/>
                <a:ext cx="55563" cy="79375"/>
              </a:xfrm>
              <a:custGeom>
                <a:avLst/>
                <a:gdLst>
                  <a:gd name="T0" fmla="*/ 102 w 204"/>
                  <a:gd name="T1" fmla="*/ 0 h 302"/>
                  <a:gd name="T2" fmla="*/ 122 w 204"/>
                  <a:gd name="T3" fmla="*/ 3 h 302"/>
                  <a:gd name="T4" fmla="*/ 142 w 204"/>
                  <a:gd name="T5" fmla="*/ 10 h 302"/>
                  <a:gd name="T6" fmla="*/ 159 w 204"/>
                  <a:gd name="T7" fmla="*/ 24 h 302"/>
                  <a:gd name="T8" fmla="*/ 175 w 204"/>
                  <a:gd name="T9" fmla="*/ 41 h 302"/>
                  <a:gd name="T10" fmla="*/ 187 w 204"/>
                  <a:gd name="T11" fmla="*/ 63 h 302"/>
                  <a:gd name="T12" fmla="*/ 197 w 204"/>
                  <a:gd name="T13" fmla="*/ 90 h 302"/>
                  <a:gd name="T14" fmla="*/ 202 w 204"/>
                  <a:gd name="T15" fmla="*/ 119 h 302"/>
                  <a:gd name="T16" fmla="*/ 204 w 204"/>
                  <a:gd name="T17" fmla="*/ 150 h 302"/>
                  <a:gd name="T18" fmla="*/ 204 w 204"/>
                  <a:gd name="T19" fmla="*/ 152 h 302"/>
                  <a:gd name="T20" fmla="*/ 202 w 204"/>
                  <a:gd name="T21" fmla="*/ 185 h 302"/>
                  <a:gd name="T22" fmla="*/ 197 w 204"/>
                  <a:gd name="T23" fmla="*/ 213 h 302"/>
                  <a:gd name="T24" fmla="*/ 187 w 204"/>
                  <a:gd name="T25" fmla="*/ 239 h 302"/>
                  <a:gd name="T26" fmla="*/ 176 w 204"/>
                  <a:gd name="T27" fmla="*/ 260 h 302"/>
                  <a:gd name="T28" fmla="*/ 161 w 204"/>
                  <a:gd name="T29" fmla="*/ 278 h 302"/>
                  <a:gd name="T30" fmla="*/ 143 w 204"/>
                  <a:gd name="T31" fmla="*/ 291 h 302"/>
                  <a:gd name="T32" fmla="*/ 125 w 204"/>
                  <a:gd name="T33" fmla="*/ 299 h 302"/>
                  <a:gd name="T34" fmla="*/ 103 w 204"/>
                  <a:gd name="T35" fmla="*/ 302 h 302"/>
                  <a:gd name="T36" fmla="*/ 82 w 204"/>
                  <a:gd name="T37" fmla="*/ 299 h 302"/>
                  <a:gd name="T38" fmla="*/ 62 w 204"/>
                  <a:gd name="T39" fmla="*/ 291 h 302"/>
                  <a:gd name="T40" fmla="*/ 45 w 204"/>
                  <a:gd name="T41" fmla="*/ 278 h 302"/>
                  <a:gd name="T42" fmla="*/ 29 w 204"/>
                  <a:gd name="T43" fmla="*/ 260 h 302"/>
                  <a:gd name="T44" fmla="*/ 17 w 204"/>
                  <a:gd name="T45" fmla="*/ 238 h 302"/>
                  <a:gd name="T46" fmla="*/ 7 w 204"/>
                  <a:gd name="T47" fmla="*/ 212 h 302"/>
                  <a:gd name="T48" fmla="*/ 2 w 204"/>
                  <a:gd name="T49" fmla="*/ 183 h 302"/>
                  <a:gd name="T50" fmla="*/ 0 w 204"/>
                  <a:gd name="T51" fmla="*/ 150 h 302"/>
                  <a:gd name="T52" fmla="*/ 0 w 204"/>
                  <a:gd name="T53" fmla="*/ 149 h 302"/>
                  <a:gd name="T54" fmla="*/ 2 w 204"/>
                  <a:gd name="T55" fmla="*/ 117 h 302"/>
                  <a:gd name="T56" fmla="*/ 7 w 204"/>
                  <a:gd name="T57" fmla="*/ 88 h 302"/>
                  <a:gd name="T58" fmla="*/ 17 w 204"/>
                  <a:gd name="T59" fmla="*/ 62 h 302"/>
                  <a:gd name="T60" fmla="*/ 28 w 204"/>
                  <a:gd name="T61" fmla="*/ 40 h 302"/>
                  <a:gd name="T62" fmla="*/ 43 w 204"/>
                  <a:gd name="T63" fmla="*/ 23 h 302"/>
                  <a:gd name="T64" fmla="*/ 61 w 204"/>
                  <a:gd name="T65" fmla="*/ 10 h 302"/>
                  <a:gd name="T66" fmla="*/ 80 w 204"/>
                  <a:gd name="T67" fmla="*/ 3 h 302"/>
                  <a:gd name="T68" fmla="*/ 102 w 20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2">
                    <a:moveTo>
                      <a:pt x="102" y="0"/>
                    </a:moveTo>
                    <a:lnTo>
                      <a:pt x="122" y="3"/>
                    </a:lnTo>
                    <a:lnTo>
                      <a:pt x="142" y="10"/>
                    </a:lnTo>
                    <a:lnTo>
                      <a:pt x="159" y="24"/>
                    </a:lnTo>
                    <a:lnTo>
                      <a:pt x="175" y="41"/>
                    </a:lnTo>
                    <a:lnTo>
                      <a:pt x="187" y="63"/>
                    </a:lnTo>
                    <a:lnTo>
                      <a:pt x="197" y="90"/>
                    </a:lnTo>
                    <a:lnTo>
                      <a:pt x="202" y="119"/>
                    </a:lnTo>
                    <a:lnTo>
                      <a:pt x="204" y="150"/>
                    </a:lnTo>
                    <a:lnTo>
                      <a:pt x="204" y="152"/>
                    </a:lnTo>
                    <a:lnTo>
                      <a:pt x="202" y="185"/>
                    </a:lnTo>
                    <a:lnTo>
                      <a:pt x="197" y="213"/>
                    </a:lnTo>
                    <a:lnTo>
                      <a:pt x="187" y="239"/>
                    </a:lnTo>
                    <a:lnTo>
                      <a:pt x="176" y="260"/>
                    </a:lnTo>
                    <a:lnTo>
                      <a:pt x="161" y="278"/>
                    </a:lnTo>
                    <a:lnTo>
                      <a:pt x="143" y="291"/>
                    </a:lnTo>
                    <a:lnTo>
                      <a:pt x="125" y="299"/>
                    </a:lnTo>
                    <a:lnTo>
                      <a:pt x="103" y="302"/>
                    </a:lnTo>
                    <a:lnTo>
                      <a:pt x="82" y="299"/>
                    </a:lnTo>
                    <a:lnTo>
                      <a:pt x="62" y="291"/>
                    </a:lnTo>
                    <a:lnTo>
                      <a:pt x="45" y="278"/>
                    </a:lnTo>
                    <a:lnTo>
                      <a:pt x="29" y="260"/>
                    </a:lnTo>
                    <a:lnTo>
                      <a:pt x="17" y="238"/>
                    </a:lnTo>
                    <a:lnTo>
                      <a:pt x="7" y="212"/>
                    </a:lnTo>
                    <a:lnTo>
                      <a:pt x="2" y="183"/>
                    </a:lnTo>
                    <a:lnTo>
                      <a:pt x="0" y="150"/>
                    </a:lnTo>
                    <a:lnTo>
                      <a:pt x="0" y="149"/>
                    </a:lnTo>
                    <a:lnTo>
                      <a:pt x="2" y="117"/>
                    </a:lnTo>
                    <a:lnTo>
                      <a:pt x="7" y="88"/>
                    </a:lnTo>
                    <a:lnTo>
                      <a:pt x="17" y="62"/>
                    </a:lnTo>
                    <a:lnTo>
                      <a:pt x="28" y="40"/>
                    </a:lnTo>
                    <a:lnTo>
                      <a:pt x="43" y="23"/>
                    </a:lnTo>
                    <a:lnTo>
                      <a:pt x="61" y="10"/>
                    </a:lnTo>
                    <a:lnTo>
                      <a:pt x="80" y="3"/>
                    </a:lnTo>
                    <a:lnTo>
                      <a:pt x="102"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4" name="Freeform 48">
                <a:extLst>
                  <a:ext uri="{FF2B5EF4-FFF2-40B4-BE49-F238E27FC236}">
                    <a16:creationId xmlns:a16="http://schemas.microsoft.com/office/drawing/2014/main" id="{E05D7203-5D25-487C-99FA-80FBF8B7B2D5}"/>
                  </a:ext>
                </a:extLst>
              </p:cNvPr>
              <p:cNvSpPr>
                <a:spLocks/>
              </p:cNvSpPr>
              <p:nvPr/>
            </p:nvSpPr>
            <p:spPr bwMode="auto">
              <a:xfrm>
                <a:off x="10547350" y="2162176"/>
                <a:ext cx="53975" cy="79375"/>
              </a:xfrm>
              <a:custGeom>
                <a:avLst/>
                <a:gdLst>
                  <a:gd name="T0" fmla="*/ 101 w 204"/>
                  <a:gd name="T1" fmla="*/ 0 h 302"/>
                  <a:gd name="T2" fmla="*/ 123 w 204"/>
                  <a:gd name="T3" fmla="*/ 3 h 302"/>
                  <a:gd name="T4" fmla="*/ 142 w 204"/>
                  <a:gd name="T5" fmla="*/ 10 h 302"/>
                  <a:gd name="T6" fmla="*/ 159 w 204"/>
                  <a:gd name="T7" fmla="*/ 24 h 302"/>
                  <a:gd name="T8" fmla="*/ 175 w 204"/>
                  <a:gd name="T9" fmla="*/ 41 h 302"/>
                  <a:gd name="T10" fmla="*/ 188 w 204"/>
                  <a:gd name="T11" fmla="*/ 63 h 302"/>
                  <a:gd name="T12" fmla="*/ 196 w 204"/>
                  <a:gd name="T13" fmla="*/ 90 h 302"/>
                  <a:gd name="T14" fmla="*/ 202 w 204"/>
                  <a:gd name="T15" fmla="*/ 119 h 302"/>
                  <a:gd name="T16" fmla="*/ 204 w 204"/>
                  <a:gd name="T17" fmla="*/ 150 h 302"/>
                  <a:gd name="T18" fmla="*/ 204 w 204"/>
                  <a:gd name="T19" fmla="*/ 152 h 302"/>
                  <a:gd name="T20" fmla="*/ 202 w 204"/>
                  <a:gd name="T21" fmla="*/ 185 h 302"/>
                  <a:gd name="T22" fmla="*/ 197 w 204"/>
                  <a:gd name="T23" fmla="*/ 213 h 302"/>
                  <a:gd name="T24" fmla="*/ 188 w 204"/>
                  <a:gd name="T25" fmla="*/ 239 h 302"/>
                  <a:gd name="T26" fmla="*/ 176 w 204"/>
                  <a:gd name="T27" fmla="*/ 260 h 302"/>
                  <a:gd name="T28" fmla="*/ 160 w 204"/>
                  <a:gd name="T29" fmla="*/ 278 h 302"/>
                  <a:gd name="T30" fmla="*/ 144 w 204"/>
                  <a:gd name="T31" fmla="*/ 291 h 302"/>
                  <a:gd name="T32" fmla="*/ 124 w 204"/>
                  <a:gd name="T33" fmla="*/ 299 h 302"/>
                  <a:gd name="T34" fmla="*/ 103 w 204"/>
                  <a:gd name="T35" fmla="*/ 302 h 302"/>
                  <a:gd name="T36" fmla="*/ 82 w 204"/>
                  <a:gd name="T37" fmla="*/ 299 h 302"/>
                  <a:gd name="T38" fmla="*/ 62 w 204"/>
                  <a:gd name="T39" fmla="*/ 291 h 302"/>
                  <a:gd name="T40" fmla="*/ 44 w 204"/>
                  <a:gd name="T41" fmla="*/ 278 h 302"/>
                  <a:gd name="T42" fmla="*/ 30 w 204"/>
                  <a:gd name="T43" fmla="*/ 260 h 302"/>
                  <a:gd name="T44" fmla="*/ 17 w 204"/>
                  <a:gd name="T45" fmla="*/ 238 h 302"/>
                  <a:gd name="T46" fmla="*/ 8 w 204"/>
                  <a:gd name="T47" fmla="*/ 212 h 302"/>
                  <a:gd name="T48" fmla="*/ 2 w 204"/>
                  <a:gd name="T49" fmla="*/ 183 h 302"/>
                  <a:gd name="T50" fmla="*/ 0 w 204"/>
                  <a:gd name="T51" fmla="*/ 150 h 302"/>
                  <a:gd name="T52" fmla="*/ 0 w 204"/>
                  <a:gd name="T53" fmla="*/ 149 h 302"/>
                  <a:gd name="T54" fmla="*/ 2 w 204"/>
                  <a:gd name="T55" fmla="*/ 117 h 302"/>
                  <a:gd name="T56" fmla="*/ 8 w 204"/>
                  <a:gd name="T57" fmla="*/ 88 h 302"/>
                  <a:gd name="T58" fmla="*/ 17 w 204"/>
                  <a:gd name="T59" fmla="*/ 62 h 302"/>
                  <a:gd name="T60" fmla="*/ 29 w 204"/>
                  <a:gd name="T61" fmla="*/ 40 h 302"/>
                  <a:gd name="T62" fmla="*/ 43 w 204"/>
                  <a:gd name="T63" fmla="*/ 23 h 302"/>
                  <a:gd name="T64" fmla="*/ 61 w 204"/>
                  <a:gd name="T65" fmla="*/ 10 h 302"/>
                  <a:gd name="T66" fmla="*/ 80 w 204"/>
                  <a:gd name="T67" fmla="*/ 3 h 302"/>
                  <a:gd name="T68" fmla="*/ 101 w 20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2">
                    <a:moveTo>
                      <a:pt x="101" y="0"/>
                    </a:moveTo>
                    <a:lnTo>
                      <a:pt x="123" y="3"/>
                    </a:lnTo>
                    <a:lnTo>
                      <a:pt x="142" y="10"/>
                    </a:lnTo>
                    <a:lnTo>
                      <a:pt x="159" y="24"/>
                    </a:lnTo>
                    <a:lnTo>
                      <a:pt x="175" y="41"/>
                    </a:lnTo>
                    <a:lnTo>
                      <a:pt x="188" y="63"/>
                    </a:lnTo>
                    <a:lnTo>
                      <a:pt x="196" y="90"/>
                    </a:lnTo>
                    <a:lnTo>
                      <a:pt x="202" y="119"/>
                    </a:lnTo>
                    <a:lnTo>
                      <a:pt x="204" y="150"/>
                    </a:lnTo>
                    <a:lnTo>
                      <a:pt x="204" y="152"/>
                    </a:lnTo>
                    <a:lnTo>
                      <a:pt x="202" y="185"/>
                    </a:lnTo>
                    <a:lnTo>
                      <a:pt x="197" y="213"/>
                    </a:lnTo>
                    <a:lnTo>
                      <a:pt x="188" y="239"/>
                    </a:lnTo>
                    <a:lnTo>
                      <a:pt x="176" y="260"/>
                    </a:lnTo>
                    <a:lnTo>
                      <a:pt x="160" y="278"/>
                    </a:lnTo>
                    <a:lnTo>
                      <a:pt x="144" y="291"/>
                    </a:lnTo>
                    <a:lnTo>
                      <a:pt x="124" y="299"/>
                    </a:lnTo>
                    <a:lnTo>
                      <a:pt x="103" y="302"/>
                    </a:lnTo>
                    <a:lnTo>
                      <a:pt x="82" y="299"/>
                    </a:lnTo>
                    <a:lnTo>
                      <a:pt x="62" y="291"/>
                    </a:lnTo>
                    <a:lnTo>
                      <a:pt x="44" y="278"/>
                    </a:lnTo>
                    <a:lnTo>
                      <a:pt x="30" y="260"/>
                    </a:lnTo>
                    <a:lnTo>
                      <a:pt x="17" y="238"/>
                    </a:lnTo>
                    <a:lnTo>
                      <a:pt x="8" y="212"/>
                    </a:lnTo>
                    <a:lnTo>
                      <a:pt x="2" y="183"/>
                    </a:lnTo>
                    <a:lnTo>
                      <a:pt x="0" y="150"/>
                    </a:lnTo>
                    <a:lnTo>
                      <a:pt x="0" y="149"/>
                    </a:lnTo>
                    <a:lnTo>
                      <a:pt x="2" y="117"/>
                    </a:lnTo>
                    <a:lnTo>
                      <a:pt x="8" y="88"/>
                    </a:lnTo>
                    <a:lnTo>
                      <a:pt x="17" y="62"/>
                    </a:lnTo>
                    <a:lnTo>
                      <a:pt x="29" y="40"/>
                    </a:lnTo>
                    <a:lnTo>
                      <a:pt x="43" y="23"/>
                    </a:lnTo>
                    <a:lnTo>
                      <a:pt x="61" y="10"/>
                    </a:lnTo>
                    <a:lnTo>
                      <a:pt x="80" y="3"/>
                    </a:lnTo>
                    <a:lnTo>
                      <a:pt x="101"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6" name="Freeform 49">
                <a:extLst>
                  <a:ext uri="{FF2B5EF4-FFF2-40B4-BE49-F238E27FC236}">
                    <a16:creationId xmlns:a16="http://schemas.microsoft.com/office/drawing/2014/main" id="{10CA1AD7-7787-454C-9755-4EFF8D49EBBA}"/>
                  </a:ext>
                </a:extLst>
              </p:cNvPr>
              <p:cNvSpPr>
                <a:spLocks/>
              </p:cNvSpPr>
              <p:nvPr/>
            </p:nvSpPr>
            <p:spPr bwMode="auto">
              <a:xfrm>
                <a:off x="10225088" y="1733551"/>
                <a:ext cx="53975" cy="79375"/>
              </a:xfrm>
              <a:custGeom>
                <a:avLst/>
                <a:gdLst>
                  <a:gd name="T0" fmla="*/ 102 w 204"/>
                  <a:gd name="T1" fmla="*/ 0 h 303"/>
                  <a:gd name="T2" fmla="*/ 123 w 204"/>
                  <a:gd name="T3" fmla="*/ 4 h 303"/>
                  <a:gd name="T4" fmla="*/ 143 w 204"/>
                  <a:gd name="T5" fmla="*/ 12 h 303"/>
                  <a:gd name="T6" fmla="*/ 160 w 204"/>
                  <a:gd name="T7" fmla="*/ 24 h 303"/>
                  <a:gd name="T8" fmla="*/ 175 w 204"/>
                  <a:gd name="T9" fmla="*/ 42 h 303"/>
                  <a:gd name="T10" fmla="*/ 188 w 204"/>
                  <a:gd name="T11" fmla="*/ 64 h 303"/>
                  <a:gd name="T12" fmla="*/ 197 w 204"/>
                  <a:gd name="T13" fmla="*/ 90 h 303"/>
                  <a:gd name="T14" fmla="*/ 202 w 204"/>
                  <a:gd name="T15" fmla="*/ 120 h 303"/>
                  <a:gd name="T16" fmla="*/ 204 w 204"/>
                  <a:gd name="T17" fmla="*/ 152 h 303"/>
                  <a:gd name="T18" fmla="*/ 204 w 204"/>
                  <a:gd name="T19" fmla="*/ 153 h 303"/>
                  <a:gd name="T20" fmla="*/ 202 w 204"/>
                  <a:gd name="T21" fmla="*/ 186 h 303"/>
                  <a:gd name="T22" fmla="*/ 197 w 204"/>
                  <a:gd name="T23" fmla="*/ 215 h 303"/>
                  <a:gd name="T24" fmla="*/ 188 w 204"/>
                  <a:gd name="T25" fmla="*/ 240 h 303"/>
                  <a:gd name="T26" fmla="*/ 176 w 204"/>
                  <a:gd name="T27" fmla="*/ 262 h 303"/>
                  <a:gd name="T28" fmla="*/ 161 w 204"/>
                  <a:gd name="T29" fmla="*/ 279 h 303"/>
                  <a:gd name="T30" fmla="*/ 144 w 204"/>
                  <a:gd name="T31" fmla="*/ 293 h 303"/>
                  <a:gd name="T32" fmla="*/ 125 w 204"/>
                  <a:gd name="T33" fmla="*/ 300 h 303"/>
                  <a:gd name="T34" fmla="*/ 104 w 204"/>
                  <a:gd name="T35" fmla="*/ 303 h 303"/>
                  <a:gd name="T36" fmla="*/ 82 w 204"/>
                  <a:gd name="T37" fmla="*/ 300 h 303"/>
                  <a:gd name="T38" fmla="*/ 62 w 204"/>
                  <a:gd name="T39" fmla="*/ 292 h 303"/>
                  <a:gd name="T40" fmla="*/ 45 w 204"/>
                  <a:gd name="T41" fmla="*/ 279 h 303"/>
                  <a:gd name="T42" fmla="*/ 30 w 204"/>
                  <a:gd name="T43" fmla="*/ 261 h 303"/>
                  <a:gd name="T44" fmla="*/ 17 w 204"/>
                  <a:gd name="T45" fmla="*/ 239 h 303"/>
                  <a:gd name="T46" fmla="*/ 9 w 204"/>
                  <a:gd name="T47" fmla="*/ 213 h 303"/>
                  <a:gd name="T48" fmla="*/ 2 w 204"/>
                  <a:gd name="T49" fmla="*/ 184 h 303"/>
                  <a:gd name="T50" fmla="*/ 0 w 204"/>
                  <a:gd name="T51" fmla="*/ 152 h 303"/>
                  <a:gd name="T52" fmla="*/ 0 w 204"/>
                  <a:gd name="T53" fmla="*/ 150 h 303"/>
                  <a:gd name="T54" fmla="*/ 2 w 204"/>
                  <a:gd name="T55" fmla="*/ 118 h 303"/>
                  <a:gd name="T56" fmla="*/ 8 w 204"/>
                  <a:gd name="T57" fmla="*/ 88 h 303"/>
                  <a:gd name="T58" fmla="*/ 17 w 204"/>
                  <a:gd name="T59" fmla="*/ 63 h 303"/>
                  <a:gd name="T60" fmla="*/ 28 w 204"/>
                  <a:gd name="T61" fmla="*/ 41 h 303"/>
                  <a:gd name="T62" fmla="*/ 43 w 204"/>
                  <a:gd name="T63" fmla="*/ 24 h 303"/>
                  <a:gd name="T64" fmla="*/ 61 w 204"/>
                  <a:gd name="T65" fmla="*/ 11 h 303"/>
                  <a:gd name="T66" fmla="*/ 80 w 204"/>
                  <a:gd name="T67" fmla="*/ 4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3" y="4"/>
                    </a:lnTo>
                    <a:lnTo>
                      <a:pt x="143" y="12"/>
                    </a:lnTo>
                    <a:lnTo>
                      <a:pt x="160" y="24"/>
                    </a:lnTo>
                    <a:lnTo>
                      <a:pt x="175" y="42"/>
                    </a:lnTo>
                    <a:lnTo>
                      <a:pt x="188" y="64"/>
                    </a:lnTo>
                    <a:lnTo>
                      <a:pt x="197" y="90"/>
                    </a:lnTo>
                    <a:lnTo>
                      <a:pt x="202" y="120"/>
                    </a:lnTo>
                    <a:lnTo>
                      <a:pt x="204" y="152"/>
                    </a:lnTo>
                    <a:lnTo>
                      <a:pt x="204" y="153"/>
                    </a:lnTo>
                    <a:lnTo>
                      <a:pt x="202" y="186"/>
                    </a:lnTo>
                    <a:lnTo>
                      <a:pt x="197" y="215"/>
                    </a:lnTo>
                    <a:lnTo>
                      <a:pt x="188" y="240"/>
                    </a:lnTo>
                    <a:lnTo>
                      <a:pt x="176" y="262"/>
                    </a:lnTo>
                    <a:lnTo>
                      <a:pt x="161" y="279"/>
                    </a:lnTo>
                    <a:lnTo>
                      <a:pt x="144" y="293"/>
                    </a:lnTo>
                    <a:lnTo>
                      <a:pt x="125" y="300"/>
                    </a:lnTo>
                    <a:lnTo>
                      <a:pt x="104" y="303"/>
                    </a:lnTo>
                    <a:lnTo>
                      <a:pt x="82" y="300"/>
                    </a:lnTo>
                    <a:lnTo>
                      <a:pt x="62" y="292"/>
                    </a:lnTo>
                    <a:lnTo>
                      <a:pt x="45" y="279"/>
                    </a:lnTo>
                    <a:lnTo>
                      <a:pt x="30" y="261"/>
                    </a:lnTo>
                    <a:lnTo>
                      <a:pt x="17" y="239"/>
                    </a:lnTo>
                    <a:lnTo>
                      <a:pt x="9" y="213"/>
                    </a:lnTo>
                    <a:lnTo>
                      <a:pt x="2" y="184"/>
                    </a:lnTo>
                    <a:lnTo>
                      <a:pt x="0" y="152"/>
                    </a:lnTo>
                    <a:lnTo>
                      <a:pt x="0" y="150"/>
                    </a:lnTo>
                    <a:lnTo>
                      <a:pt x="2" y="118"/>
                    </a:lnTo>
                    <a:lnTo>
                      <a:pt x="8" y="88"/>
                    </a:lnTo>
                    <a:lnTo>
                      <a:pt x="17" y="63"/>
                    </a:lnTo>
                    <a:lnTo>
                      <a:pt x="28" y="41"/>
                    </a:lnTo>
                    <a:lnTo>
                      <a:pt x="43" y="24"/>
                    </a:lnTo>
                    <a:lnTo>
                      <a:pt x="61" y="11"/>
                    </a:lnTo>
                    <a:lnTo>
                      <a:pt x="80" y="4"/>
                    </a:lnTo>
                    <a:lnTo>
                      <a:pt x="102"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sp>
            <p:nvSpPr>
              <p:cNvPr id="77" name="Freeform 50">
                <a:extLst>
                  <a:ext uri="{FF2B5EF4-FFF2-40B4-BE49-F238E27FC236}">
                    <a16:creationId xmlns:a16="http://schemas.microsoft.com/office/drawing/2014/main" id="{890C3F42-0EC3-42A0-8143-4FF3C5A6D329}"/>
                  </a:ext>
                </a:extLst>
              </p:cNvPr>
              <p:cNvSpPr>
                <a:spLocks/>
              </p:cNvSpPr>
              <p:nvPr/>
            </p:nvSpPr>
            <p:spPr bwMode="auto">
              <a:xfrm>
                <a:off x="10547350" y="1733551"/>
                <a:ext cx="53975" cy="79375"/>
              </a:xfrm>
              <a:custGeom>
                <a:avLst/>
                <a:gdLst>
                  <a:gd name="T0" fmla="*/ 101 w 204"/>
                  <a:gd name="T1" fmla="*/ 0 h 303"/>
                  <a:gd name="T2" fmla="*/ 123 w 204"/>
                  <a:gd name="T3" fmla="*/ 4 h 303"/>
                  <a:gd name="T4" fmla="*/ 142 w 204"/>
                  <a:gd name="T5" fmla="*/ 12 h 303"/>
                  <a:gd name="T6" fmla="*/ 159 w 204"/>
                  <a:gd name="T7" fmla="*/ 24 h 303"/>
                  <a:gd name="T8" fmla="*/ 175 w 204"/>
                  <a:gd name="T9" fmla="*/ 42 h 303"/>
                  <a:gd name="T10" fmla="*/ 188 w 204"/>
                  <a:gd name="T11" fmla="*/ 64 h 303"/>
                  <a:gd name="T12" fmla="*/ 196 w 204"/>
                  <a:gd name="T13" fmla="*/ 90 h 303"/>
                  <a:gd name="T14" fmla="*/ 202 w 204"/>
                  <a:gd name="T15" fmla="*/ 120 h 303"/>
                  <a:gd name="T16" fmla="*/ 204 w 204"/>
                  <a:gd name="T17" fmla="*/ 152 h 303"/>
                  <a:gd name="T18" fmla="*/ 204 w 204"/>
                  <a:gd name="T19" fmla="*/ 153 h 303"/>
                  <a:gd name="T20" fmla="*/ 202 w 204"/>
                  <a:gd name="T21" fmla="*/ 186 h 303"/>
                  <a:gd name="T22" fmla="*/ 197 w 204"/>
                  <a:gd name="T23" fmla="*/ 215 h 303"/>
                  <a:gd name="T24" fmla="*/ 188 w 204"/>
                  <a:gd name="T25" fmla="*/ 240 h 303"/>
                  <a:gd name="T26" fmla="*/ 176 w 204"/>
                  <a:gd name="T27" fmla="*/ 262 h 303"/>
                  <a:gd name="T28" fmla="*/ 160 w 204"/>
                  <a:gd name="T29" fmla="*/ 279 h 303"/>
                  <a:gd name="T30" fmla="*/ 144 w 204"/>
                  <a:gd name="T31" fmla="*/ 293 h 303"/>
                  <a:gd name="T32" fmla="*/ 124 w 204"/>
                  <a:gd name="T33" fmla="*/ 300 h 303"/>
                  <a:gd name="T34" fmla="*/ 103 w 204"/>
                  <a:gd name="T35" fmla="*/ 303 h 303"/>
                  <a:gd name="T36" fmla="*/ 82 w 204"/>
                  <a:gd name="T37" fmla="*/ 300 h 303"/>
                  <a:gd name="T38" fmla="*/ 62 w 204"/>
                  <a:gd name="T39" fmla="*/ 292 h 303"/>
                  <a:gd name="T40" fmla="*/ 44 w 204"/>
                  <a:gd name="T41" fmla="*/ 279 h 303"/>
                  <a:gd name="T42" fmla="*/ 30 w 204"/>
                  <a:gd name="T43" fmla="*/ 261 h 303"/>
                  <a:gd name="T44" fmla="*/ 17 w 204"/>
                  <a:gd name="T45" fmla="*/ 239 h 303"/>
                  <a:gd name="T46" fmla="*/ 8 w 204"/>
                  <a:gd name="T47" fmla="*/ 213 h 303"/>
                  <a:gd name="T48" fmla="*/ 2 w 204"/>
                  <a:gd name="T49" fmla="*/ 184 h 303"/>
                  <a:gd name="T50" fmla="*/ 0 w 204"/>
                  <a:gd name="T51" fmla="*/ 152 h 303"/>
                  <a:gd name="T52" fmla="*/ 0 w 204"/>
                  <a:gd name="T53" fmla="*/ 150 h 303"/>
                  <a:gd name="T54" fmla="*/ 2 w 204"/>
                  <a:gd name="T55" fmla="*/ 118 h 303"/>
                  <a:gd name="T56" fmla="*/ 8 w 204"/>
                  <a:gd name="T57" fmla="*/ 88 h 303"/>
                  <a:gd name="T58" fmla="*/ 17 w 204"/>
                  <a:gd name="T59" fmla="*/ 63 h 303"/>
                  <a:gd name="T60" fmla="*/ 29 w 204"/>
                  <a:gd name="T61" fmla="*/ 41 h 303"/>
                  <a:gd name="T62" fmla="*/ 43 w 204"/>
                  <a:gd name="T63" fmla="*/ 24 h 303"/>
                  <a:gd name="T64" fmla="*/ 61 w 204"/>
                  <a:gd name="T65" fmla="*/ 11 h 303"/>
                  <a:gd name="T66" fmla="*/ 80 w 204"/>
                  <a:gd name="T67" fmla="*/ 4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3" y="4"/>
                    </a:lnTo>
                    <a:lnTo>
                      <a:pt x="142" y="12"/>
                    </a:lnTo>
                    <a:lnTo>
                      <a:pt x="159" y="24"/>
                    </a:lnTo>
                    <a:lnTo>
                      <a:pt x="175" y="42"/>
                    </a:lnTo>
                    <a:lnTo>
                      <a:pt x="188" y="64"/>
                    </a:lnTo>
                    <a:lnTo>
                      <a:pt x="196" y="90"/>
                    </a:lnTo>
                    <a:lnTo>
                      <a:pt x="202" y="120"/>
                    </a:lnTo>
                    <a:lnTo>
                      <a:pt x="204" y="152"/>
                    </a:lnTo>
                    <a:lnTo>
                      <a:pt x="204" y="153"/>
                    </a:lnTo>
                    <a:lnTo>
                      <a:pt x="202" y="186"/>
                    </a:lnTo>
                    <a:lnTo>
                      <a:pt x="197" y="215"/>
                    </a:lnTo>
                    <a:lnTo>
                      <a:pt x="188" y="240"/>
                    </a:lnTo>
                    <a:lnTo>
                      <a:pt x="176" y="262"/>
                    </a:lnTo>
                    <a:lnTo>
                      <a:pt x="160" y="279"/>
                    </a:lnTo>
                    <a:lnTo>
                      <a:pt x="144" y="293"/>
                    </a:lnTo>
                    <a:lnTo>
                      <a:pt x="124" y="300"/>
                    </a:lnTo>
                    <a:lnTo>
                      <a:pt x="103" y="303"/>
                    </a:lnTo>
                    <a:lnTo>
                      <a:pt x="82" y="300"/>
                    </a:lnTo>
                    <a:lnTo>
                      <a:pt x="62" y="292"/>
                    </a:lnTo>
                    <a:lnTo>
                      <a:pt x="44" y="279"/>
                    </a:lnTo>
                    <a:lnTo>
                      <a:pt x="30" y="261"/>
                    </a:lnTo>
                    <a:lnTo>
                      <a:pt x="17" y="239"/>
                    </a:lnTo>
                    <a:lnTo>
                      <a:pt x="8" y="213"/>
                    </a:lnTo>
                    <a:lnTo>
                      <a:pt x="2" y="184"/>
                    </a:lnTo>
                    <a:lnTo>
                      <a:pt x="0" y="152"/>
                    </a:lnTo>
                    <a:lnTo>
                      <a:pt x="0" y="150"/>
                    </a:lnTo>
                    <a:lnTo>
                      <a:pt x="2" y="118"/>
                    </a:lnTo>
                    <a:lnTo>
                      <a:pt x="8" y="88"/>
                    </a:lnTo>
                    <a:lnTo>
                      <a:pt x="17" y="63"/>
                    </a:lnTo>
                    <a:lnTo>
                      <a:pt x="29" y="41"/>
                    </a:lnTo>
                    <a:lnTo>
                      <a:pt x="43" y="24"/>
                    </a:lnTo>
                    <a:lnTo>
                      <a:pt x="61" y="11"/>
                    </a:lnTo>
                    <a:lnTo>
                      <a:pt x="80" y="4"/>
                    </a:lnTo>
                    <a:lnTo>
                      <a:pt x="101" y="0"/>
                    </a:lnTo>
                    <a:close/>
                  </a:path>
                </a:pathLst>
              </a:custGeom>
              <a:grp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grpSp>
        <p:sp>
          <p:nvSpPr>
            <p:cNvPr id="66" name="Freeform 40">
              <a:extLst>
                <a:ext uri="{FF2B5EF4-FFF2-40B4-BE49-F238E27FC236}">
                  <a16:creationId xmlns:a16="http://schemas.microsoft.com/office/drawing/2014/main" id="{58B0B6E5-C113-4899-B595-2C4444961711}"/>
                </a:ext>
              </a:extLst>
            </p:cNvPr>
            <p:cNvSpPr>
              <a:spLocks noEditPoints="1"/>
            </p:cNvSpPr>
            <p:nvPr/>
          </p:nvSpPr>
          <p:spPr bwMode="auto">
            <a:xfrm>
              <a:off x="984217" y="2396936"/>
              <a:ext cx="660400" cy="661551"/>
            </a:xfrm>
            <a:custGeom>
              <a:avLst/>
              <a:gdLst>
                <a:gd name="T0" fmla="*/ 2109 w 3442"/>
                <a:gd name="T1" fmla="*/ 2814 h 3451"/>
                <a:gd name="T2" fmla="*/ 2365 w 3442"/>
                <a:gd name="T3" fmla="*/ 3252 h 3451"/>
                <a:gd name="T4" fmla="*/ 1528 w 3442"/>
                <a:gd name="T5" fmla="*/ 2654 h 3451"/>
                <a:gd name="T6" fmla="*/ 1638 w 3442"/>
                <a:gd name="T7" fmla="*/ 3223 h 3451"/>
                <a:gd name="T8" fmla="*/ 1823 w 3442"/>
                <a:gd name="T9" fmla="*/ 2610 h 3451"/>
                <a:gd name="T10" fmla="*/ 232 w 3442"/>
                <a:gd name="T11" fmla="*/ 2803 h 3451"/>
                <a:gd name="T12" fmla="*/ 492 w 3442"/>
                <a:gd name="T13" fmla="*/ 3271 h 3451"/>
                <a:gd name="T14" fmla="*/ 2823 w 3442"/>
                <a:gd name="T15" fmla="*/ 2622 h 3451"/>
                <a:gd name="T16" fmla="*/ 2671 w 3442"/>
                <a:gd name="T17" fmla="*/ 3121 h 3451"/>
                <a:gd name="T18" fmla="*/ 3185 w 3442"/>
                <a:gd name="T19" fmla="*/ 3150 h 3451"/>
                <a:gd name="T20" fmla="*/ 3085 w 3442"/>
                <a:gd name="T21" fmla="*/ 2636 h 3451"/>
                <a:gd name="T22" fmla="*/ 750 w 3442"/>
                <a:gd name="T23" fmla="*/ 2866 h 3451"/>
                <a:gd name="T24" fmla="*/ 1049 w 3442"/>
                <a:gd name="T25" fmla="*/ 3281 h 3451"/>
                <a:gd name="T26" fmla="*/ 1350 w 3442"/>
                <a:gd name="T27" fmla="*/ 2863 h 3451"/>
                <a:gd name="T28" fmla="*/ 2332 w 3442"/>
                <a:gd name="T29" fmla="*/ 1802 h 3451"/>
                <a:gd name="T30" fmla="*/ 2284 w 3442"/>
                <a:gd name="T31" fmla="*/ 2042 h 3451"/>
                <a:gd name="T32" fmla="*/ 2485 w 3442"/>
                <a:gd name="T33" fmla="*/ 1827 h 3451"/>
                <a:gd name="T34" fmla="*/ 948 w 3442"/>
                <a:gd name="T35" fmla="*/ 1966 h 3451"/>
                <a:gd name="T36" fmla="*/ 1104 w 3442"/>
                <a:gd name="T37" fmla="*/ 2458 h 3451"/>
                <a:gd name="T38" fmla="*/ 2897 w 3442"/>
                <a:gd name="T39" fmla="*/ 1792 h 3451"/>
                <a:gd name="T40" fmla="*/ 2645 w 3442"/>
                <a:gd name="T41" fmla="*/ 2245 h 3451"/>
                <a:gd name="T42" fmla="*/ 3140 w 3442"/>
                <a:gd name="T43" fmla="*/ 2394 h 3451"/>
                <a:gd name="T44" fmla="*/ 3142 w 3442"/>
                <a:gd name="T45" fmla="*/ 1866 h 3451"/>
                <a:gd name="T46" fmla="*/ 1444 w 3442"/>
                <a:gd name="T47" fmla="*/ 1985 h 3451"/>
                <a:gd name="T48" fmla="*/ 1644 w 3442"/>
                <a:gd name="T49" fmla="*/ 2462 h 3451"/>
                <a:gd name="T50" fmla="*/ 2031 w 3442"/>
                <a:gd name="T51" fmla="*/ 2129 h 3451"/>
                <a:gd name="T52" fmla="*/ 427 w 3442"/>
                <a:gd name="T53" fmla="*/ 1799 h 3451"/>
                <a:gd name="T54" fmla="*/ 225 w 3442"/>
                <a:gd name="T55" fmla="*/ 2278 h 3451"/>
                <a:gd name="T56" fmla="*/ 732 w 3442"/>
                <a:gd name="T57" fmla="*/ 2368 h 3451"/>
                <a:gd name="T58" fmla="*/ 683 w 3442"/>
                <a:gd name="T59" fmla="*/ 1844 h 3451"/>
                <a:gd name="T60" fmla="*/ 2889 w 3442"/>
                <a:gd name="T61" fmla="*/ 1156 h 3451"/>
                <a:gd name="T62" fmla="*/ 3045 w 3442"/>
                <a:gd name="T63" fmla="*/ 1648 h 3451"/>
                <a:gd name="T64" fmla="*/ 1693 w 3442"/>
                <a:gd name="T65" fmla="*/ 982 h 3451"/>
                <a:gd name="T66" fmla="*/ 1609 w 3442"/>
                <a:gd name="T67" fmla="*/ 1195 h 3451"/>
                <a:gd name="T68" fmla="*/ 1842 w 3442"/>
                <a:gd name="T69" fmla="*/ 1602 h 3451"/>
                <a:gd name="T70" fmla="*/ 202 w 3442"/>
                <a:gd name="T71" fmla="*/ 1057 h 3451"/>
                <a:gd name="T72" fmla="*/ 339 w 3442"/>
                <a:gd name="T73" fmla="*/ 1627 h 3451"/>
                <a:gd name="T74" fmla="*/ 492 w 3442"/>
                <a:gd name="T75" fmla="*/ 980 h 3451"/>
                <a:gd name="T76" fmla="*/ 2074 w 3442"/>
                <a:gd name="T77" fmla="*/ 1322 h 3451"/>
                <a:gd name="T78" fmla="*/ 2495 w 3442"/>
                <a:gd name="T79" fmla="*/ 1640 h 3451"/>
                <a:gd name="T80" fmla="*/ 2646 w 3442"/>
                <a:gd name="T81" fmla="*/ 1140 h 3451"/>
                <a:gd name="T82" fmla="*/ 823 w 3442"/>
                <a:gd name="T83" fmla="*/ 1082 h 3451"/>
                <a:gd name="T84" fmla="*/ 872 w 3442"/>
                <a:gd name="T85" fmla="*/ 1607 h 3451"/>
                <a:gd name="T86" fmla="*/ 1350 w 3442"/>
                <a:gd name="T87" fmla="*/ 1396 h 3451"/>
                <a:gd name="T88" fmla="*/ 1050 w 3442"/>
                <a:gd name="T89" fmla="*/ 979 h 3451"/>
                <a:gd name="T90" fmla="*/ 2229 w 3442"/>
                <a:gd name="T91" fmla="*/ 388 h 3451"/>
                <a:gd name="T92" fmla="*/ 2483 w 3442"/>
                <a:gd name="T93" fmla="*/ 825 h 3451"/>
                <a:gd name="T94" fmla="*/ 952 w 3442"/>
                <a:gd name="T95" fmla="*/ 223 h 3451"/>
                <a:gd name="T96" fmla="*/ 1062 w 3442"/>
                <a:gd name="T97" fmla="*/ 792 h 3451"/>
                <a:gd name="T98" fmla="*/ 1246 w 3442"/>
                <a:gd name="T99" fmla="*/ 179 h 3451"/>
                <a:gd name="T100" fmla="*/ 2632 w 3442"/>
                <a:gd name="T101" fmla="*/ 472 h 3451"/>
                <a:gd name="T102" fmla="*/ 2977 w 3442"/>
                <a:gd name="T103" fmla="*/ 847 h 3451"/>
                <a:gd name="T104" fmla="*/ 3229 w 3442"/>
                <a:gd name="T105" fmla="*/ 396 h 3451"/>
                <a:gd name="T106" fmla="*/ 1548 w 3442"/>
                <a:gd name="T107" fmla="*/ 224 h 3451"/>
                <a:gd name="T108" fmla="*/ 1497 w 3442"/>
                <a:gd name="T109" fmla="*/ 749 h 3451"/>
                <a:gd name="T110" fmla="*/ 2004 w 3442"/>
                <a:gd name="T111" fmla="*/ 656 h 3451"/>
                <a:gd name="T112" fmla="*/ 1804 w 3442"/>
                <a:gd name="T113" fmla="*/ 178 h 3451"/>
                <a:gd name="T114" fmla="*/ 199 w 3442"/>
                <a:gd name="T115" fmla="*/ 510 h 3451"/>
                <a:gd name="T116" fmla="*/ 583 w 3442"/>
                <a:gd name="T117" fmla="*/ 841 h 3451"/>
                <a:gd name="T118" fmla="*/ 787 w 3442"/>
                <a:gd name="T119" fmla="*/ 362 h 3451"/>
                <a:gd name="T120" fmla="*/ 3380 w 3442"/>
                <a:gd name="T121" fmla="*/ 63 h 3451"/>
                <a:gd name="T122" fmla="*/ 215 w 3442"/>
                <a:gd name="T123" fmla="*/ 3451 h 3451"/>
                <a:gd name="T124" fmla="*/ 88 w 3442"/>
                <a:gd name="T125" fmla="*/ 41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42" h="3451">
                  <a:moveTo>
                    <a:pt x="2227" y="2602"/>
                  </a:moveTo>
                  <a:lnTo>
                    <a:pt x="2223" y="2603"/>
                  </a:lnTo>
                  <a:lnTo>
                    <a:pt x="2220" y="2604"/>
                  </a:lnTo>
                  <a:lnTo>
                    <a:pt x="2216" y="2606"/>
                  </a:lnTo>
                  <a:lnTo>
                    <a:pt x="2213" y="2607"/>
                  </a:lnTo>
                  <a:lnTo>
                    <a:pt x="2072" y="2648"/>
                  </a:lnTo>
                  <a:lnTo>
                    <a:pt x="2058" y="2654"/>
                  </a:lnTo>
                  <a:lnTo>
                    <a:pt x="2046" y="2664"/>
                  </a:lnTo>
                  <a:lnTo>
                    <a:pt x="2039" y="2678"/>
                  </a:lnTo>
                  <a:lnTo>
                    <a:pt x="2035" y="2694"/>
                  </a:lnTo>
                  <a:lnTo>
                    <a:pt x="2037" y="2710"/>
                  </a:lnTo>
                  <a:lnTo>
                    <a:pt x="2054" y="2777"/>
                  </a:lnTo>
                  <a:lnTo>
                    <a:pt x="2059" y="2791"/>
                  </a:lnTo>
                  <a:lnTo>
                    <a:pt x="2068" y="2803"/>
                  </a:lnTo>
                  <a:lnTo>
                    <a:pt x="2080" y="2811"/>
                  </a:lnTo>
                  <a:lnTo>
                    <a:pt x="2095" y="2814"/>
                  </a:lnTo>
                  <a:lnTo>
                    <a:pt x="2109" y="2814"/>
                  </a:lnTo>
                  <a:lnTo>
                    <a:pt x="2125" y="2813"/>
                  </a:lnTo>
                  <a:lnTo>
                    <a:pt x="2139" y="2816"/>
                  </a:lnTo>
                  <a:lnTo>
                    <a:pt x="2150" y="2824"/>
                  </a:lnTo>
                  <a:lnTo>
                    <a:pt x="2159" y="2835"/>
                  </a:lnTo>
                  <a:lnTo>
                    <a:pt x="2165" y="2848"/>
                  </a:lnTo>
                  <a:lnTo>
                    <a:pt x="2167" y="2863"/>
                  </a:lnTo>
                  <a:lnTo>
                    <a:pt x="2167" y="3223"/>
                  </a:lnTo>
                  <a:lnTo>
                    <a:pt x="2169" y="3236"/>
                  </a:lnTo>
                  <a:lnTo>
                    <a:pt x="2175" y="3248"/>
                  </a:lnTo>
                  <a:lnTo>
                    <a:pt x="2185" y="3257"/>
                  </a:lnTo>
                  <a:lnTo>
                    <a:pt x="2196" y="3265"/>
                  </a:lnTo>
                  <a:lnTo>
                    <a:pt x="2210" y="3269"/>
                  </a:lnTo>
                  <a:lnTo>
                    <a:pt x="2223" y="3271"/>
                  </a:lnTo>
                  <a:lnTo>
                    <a:pt x="2329" y="3271"/>
                  </a:lnTo>
                  <a:lnTo>
                    <a:pt x="2344" y="3268"/>
                  </a:lnTo>
                  <a:lnTo>
                    <a:pt x="2355" y="3261"/>
                  </a:lnTo>
                  <a:lnTo>
                    <a:pt x="2365" y="3252"/>
                  </a:lnTo>
                  <a:lnTo>
                    <a:pt x="2370" y="3238"/>
                  </a:lnTo>
                  <a:lnTo>
                    <a:pt x="2371" y="3223"/>
                  </a:lnTo>
                  <a:lnTo>
                    <a:pt x="2371" y="2659"/>
                  </a:lnTo>
                  <a:lnTo>
                    <a:pt x="2370" y="2645"/>
                  </a:lnTo>
                  <a:lnTo>
                    <a:pt x="2367" y="2632"/>
                  </a:lnTo>
                  <a:lnTo>
                    <a:pt x="2361" y="2619"/>
                  </a:lnTo>
                  <a:lnTo>
                    <a:pt x="2352" y="2610"/>
                  </a:lnTo>
                  <a:lnTo>
                    <a:pt x="2342" y="2604"/>
                  </a:lnTo>
                  <a:lnTo>
                    <a:pt x="2329" y="2602"/>
                  </a:lnTo>
                  <a:lnTo>
                    <a:pt x="2227" y="2602"/>
                  </a:lnTo>
                  <a:close/>
                  <a:moveTo>
                    <a:pt x="1698" y="2602"/>
                  </a:moveTo>
                  <a:lnTo>
                    <a:pt x="1693" y="2603"/>
                  </a:lnTo>
                  <a:lnTo>
                    <a:pt x="1690" y="2604"/>
                  </a:lnTo>
                  <a:lnTo>
                    <a:pt x="1687" y="2606"/>
                  </a:lnTo>
                  <a:lnTo>
                    <a:pt x="1684" y="2607"/>
                  </a:lnTo>
                  <a:lnTo>
                    <a:pt x="1543" y="2648"/>
                  </a:lnTo>
                  <a:lnTo>
                    <a:pt x="1528" y="2654"/>
                  </a:lnTo>
                  <a:lnTo>
                    <a:pt x="1516" y="2664"/>
                  </a:lnTo>
                  <a:lnTo>
                    <a:pt x="1509" y="2678"/>
                  </a:lnTo>
                  <a:lnTo>
                    <a:pt x="1506" y="2694"/>
                  </a:lnTo>
                  <a:lnTo>
                    <a:pt x="1507" y="2710"/>
                  </a:lnTo>
                  <a:lnTo>
                    <a:pt x="1524" y="2777"/>
                  </a:lnTo>
                  <a:lnTo>
                    <a:pt x="1530" y="2791"/>
                  </a:lnTo>
                  <a:lnTo>
                    <a:pt x="1539" y="2803"/>
                  </a:lnTo>
                  <a:lnTo>
                    <a:pt x="1551" y="2811"/>
                  </a:lnTo>
                  <a:lnTo>
                    <a:pt x="1565" y="2814"/>
                  </a:lnTo>
                  <a:lnTo>
                    <a:pt x="1580" y="2814"/>
                  </a:lnTo>
                  <a:lnTo>
                    <a:pt x="1595" y="2813"/>
                  </a:lnTo>
                  <a:lnTo>
                    <a:pt x="1609" y="2816"/>
                  </a:lnTo>
                  <a:lnTo>
                    <a:pt x="1621" y="2824"/>
                  </a:lnTo>
                  <a:lnTo>
                    <a:pt x="1630" y="2835"/>
                  </a:lnTo>
                  <a:lnTo>
                    <a:pt x="1636" y="2848"/>
                  </a:lnTo>
                  <a:lnTo>
                    <a:pt x="1638" y="2863"/>
                  </a:lnTo>
                  <a:lnTo>
                    <a:pt x="1638" y="3223"/>
                  </a:lnTo>
                  <a:lnTo>
                    <a:pt x="1640" y="3236"/>
                  </a:lnTo>
                  <a:lnTo>
                    <a:pt x="1646" y="3248"/>
                  </a:lnTo>
                  <a:lnTo>
                    <a:pt x="1656" y="3257"/>
                  </a:lnTo>
                  <a:lnTo>
                    <a:pt x="1667" y="3265"/>
                  </a:lnTo>
                  <a:lnTo>
                    <a:pt x="1681" y="3269"/>
                  </a:lnTo>
                  <a:lnTo>
                    <a:pt x="1694" y="3271"/>
                  </a:lnTo>
                  <a:lnTo>
                    <a:pt x="1799" y="3271"/>
                  </a:lnTo>
                  <a:lnTo>
                    <a:pt x="1815" y="3268"/>
                  </a:lnTo>
                  <a:lnTo>
                    <a:pt x="1826" y="3261"/>
                  </a:lnTo>
                  <a:lnTo>
                    <a:pt x="1835" y="3252"/>
                  </a:lnTo>
                  <a:lnTo>
                    <a:pt x="1840" y="3238"/>
                  </a:lnTo>
                  <a:lnTo>
                    <a:pt x="1842" y="3223"/>
                  </a:lnTo>
                  <a:lnTo>
                    <a:pt x="1842" y="2659"/>
                  </a:lnTo>
                  <a:lnTo>
                    <a:pt x="1841" y="2645"/>
                  </a:lnTo>
                  <a:lnTo>
                    <a:pt x="1837" y="2632"/>
                  </a:lnTo>
                  <a:lnTo>
                    <a:pt x="1832" y="2619"/>
                  </a:lnTo>
                  <a:lnTo>
                    <a:pt x="1823" y="2610"/>
                  </a:lnTo>
                  <a:lnTo>
                    <a:pt x="1812" y="2604"/>
                  </a:lnTo>
                  <a:lnTo>
                    <a:pt x="1799" y="2602"/>
                  </a:lnTo>
                  <a:lnTo>
                    <a:pt x="1698" y="2602"/>
                  </a:lnTo>
                  <a:close/>
                  <a:moveTo>
                    <a:pt x="391" y="2602"/>
                  </a:moveTo>
                  <a:lnTo>
                    <a:pt x="386" y="2603"/>
                  </a:lnTo>
                  <a:lnTo>
                    <a:pt x="383" y="2604"/>
                  </a:lnTo>
                  <a:lnTo>
                    <a:pt x="380" y="2606"/>
                  </a:lnTo>
                  <a:lnTo>
                    <a:pt x="377" y="2607"/>
                  </a:lnTo>
                  <a:lnTo>
                    <a:pt x="236" y="2648"/>
                  </a:lnTo>
                  <a:lnTo>
                    <a:pt x="221" y="2654"/>
                  </a:lnTo>
                  <a:lnTo>
                    <a:pt x="211" y="2664"/>
                  </a:lnTo>
                  <a:lnTo>
                    <a:pt x="202" y="2678"/>
                  </a:lnTo>
                  <a:lnTo>
                    <a:pt x="199" y="2694"/>
                  </a:lnTo>
                  <a:lnTo>
                    <a:pt x="200" y="2710"/>
                  </a:lnTo>
                  <a:lnTo>
                    <a:pt x="218" y="2777"/>
                  </a:lnTo>
                  <a:lnTo>
                    <a:pt x="223" y="2791"/>
                  </a:lnTo>
                  <a:lnTo>
                    <a:pt x="232" y="2803"/>
                  </a:lnTo>
                  <a:lnTo>
                    <a:pt x="244" y="2811"/>
                  </a:lnTo>
                  <a:lnTo>
                    <a:pt x="258" y="2814"/>
                  </a:lnTo>
                  <a:lnTo>
                    <a:pt x="273" y="2814"/>
                  </a:lnTo>
                  <a:lnTo>
                    <a:pt x="288" y="2813"/>
                  </a:lnTo>
                  <a:lnTo>
                    <a:pt x="303" y="2816"/>
                  </a:lnTo>
                  <a:lnTo>
                    <a:pt x="314" y="2824"/>
                  </a:lnTo>
                  <a:lnTo>
                    <a:pt x="323" y="2835"/>
                  </a:lnTo>
                  <a:lnTo>
                    <a:pt x="329" y="2848"/>
                  </a:lnTo>
                  <a:lnTo>
                    <a:pt x="331" y="2863"/>
                  </a:lnTo>
                  <a:lnTo>
                    <a:pt x="331" y="3223"/>
                  </a:lnTo>
                  <a:lnTo>
                    <a:pt x="333" y="3236"/>
                  </a:lnTo>
                  <a:lnTo>
                    <a:pt x="339" y="3248"/>
                  </a:lnTo>
                  <a:lnTo>
                    <a:pt x="349" y="3257"/>
                  </a:lnTo>
                  <a:lnTo>
                    <a:pt x="360" y="3265"/>
                  </a:lnTo>
                  <a:lnTo>
                    <a:pt x="374" y="3269"/>
                  </a:lnTo>
                  <a:lnTo>
                    <a:pt x="387" y="3271"/>
                  </a:lnTo>
                  <a:lnTo>
                    <a:pt x="492" y="3271"/>
                  </a:lnTo>
                  <a:lnTo>
                    <a:pt x="508" y="3268"/>
                  </a:lnTo>
                  <a:lnTo>
                    <a:pt x="519" y="3261"/>
                  </a:lnTo>
                  <a:lnTo>
                    <a:pt x="528" y="3252"/>
                  </a:lnTo>
                  <a:lnTo>
                    <a:pt x="533" y="3238"/>
                  </a:lnTo>
                  <a:lnTo>
                    <a:pt x="535" y="3223"/>
                  </a:lnTo>
                  <a:lnTo>
                    <a:pt x="535" y="2659"/>
                  </a:lnTo>
                  <a:lnTo>
                    <a:pt x="534" y="2645"/>
                  </a:lnTo>
                  <a:lnTo>
                    <a:pt x="530" y="2632"/>
                  </a:lnTo>
                  <a:lnTo>
                    <a:pt x="525" y="2619"/>
                  </a:lnTo>
                  <a:lnTo>
                    <a:pt x="516" y="2610"/>
                  </a:lnTo>
                  <a:lnTo>
                    <a:pt x="506" y="2604"/>
                  </a:lnTo>
                  <a:lnTo>
                    <a:pt x="492" y="2602"/>
                  </a:lnTo>
                  <a:lnTo>
                    <a:pt x="391" y="2602"/>
                  </a:lnTo>
                  <a:close/>
                  <a:moveTo>
                    <a:pt x="2938" y="2601"/>
                  </a:moveTo>
                  <a:lnTo>
                    <a:pt x="2897" y="2603"/>
                  </a:lnTo>
                  <a:lnTo>
                    <a:pt x="2859" y="2610"/>
                  </a:lnTo>
                  <a:lnTo>
                    <a:pt x="2823" y="2622"/>
                  </a:lnTo>
                  <a:lnTo>
                    <a:pt x="2791" y="2636"/>
                  </a:lnTo>
                  <a:lnTo>
                    <a:pt x="2761" y="2655"/>
                  </a:lnTo>
                  <a:lnTo>
                    <a:pt x="2734" y="2678"/>
                  </a:lnTo>
                  <a:lnTo>
                    <a:pt x="2710" y="2703"/>
                  </a:lnTo>
                  <a:lnTo>
                    <a:pt x="2689" y="2732"/>
                  </a:lnTo>
                  <a:lnTo>
                    <a:pt x="2672" y="2762"/>
                  </a:lnTo>
                  <a:lnTo>
                    <a:pt x="2657" y="2794"/>
                  </a:lnTo>
                  <a:lnTo>
                    <a:pt x="2645" y="2830"/>
                  </a:lnTo>
                  <a:lnTo>
                    <a:pt x="2637" y="2866"/>
                  </a:lnTo>
                  <a:lnTo>
                    <a:pt x="2632" y="2903"/>
                  </a:lnTo>
                  <a:lnTo>
                    <a:pt x="2631" y="2941"/>
                  </a:lnTo>
                  <a:lnTo>
                    <a:pt x="2631" y="2943"/>
                  </a:lnTo>
                  <a:lnTo>
                    <a:pt x="2632" y="2981"/>
                  </a:lnTo>
                  <a:lnTo>
                    <a:pt x="2637" y="3018"/>
                  </a:lnTo>
                  <a:lnTo>
                    <a:pt x="2645" y="3054"/>
                  </a:lnTo>
                  <a:lnTo>
                    <a:pt x="2657" y="3089"/>
                  </a:lnTo>
                  <a:lnTo>
                    <a:pt x="2671" y="3121"/>
                  </a:lnTo>
                  <a:lnTo>
                    <a:pt x="2688" y="3151"/>
                  </a:lnTo>
                  <a:lnTo>
                    <a:pt x="2709" y="3180"/>
                  </a:lnTo>
                  <a:lnTo>
                    <a:pt x="2732" y="3205"/>
                  </a:lnTo>
                  <a:lnTo>
                    <a:pt x="2760" y="3227"/>
                  </a:lnTo>
                  <a:lnTo>
                    <a:pt x="2789" y="3246"/>
                  </a:lnTo>
                  <a:lnTo>
                    <a:pt x="2821" y="3261"/>
                  </a:lnTo>
                  <a:lnTo>
                    <a:pt x="2857" y="3273"/>
                  </a:lnTo>
                  <a:lnTo>
                    <a:pt x="2895" y="3279"/>
                  </a:lnTo>
                  <a:lnTo>
                    <a:pt x="2937" y="3281"/>
                  </a:lnTo>
                  <a:lnTo>
                    <a:pt x="2977" y="3279"/>
                  </a:lnTo>
                  <a:lnTo>
                    <a:pt x="3015" y="3272"/>
                  </a:lnTo>
                  <a:lnTo>
                    <a:pt x="3051" y="3261"/>
                  </a:lnTo>
                  <a:lnTo>
                    <a:pt x="3083" y="3246"/>
                  </a:lnTo>
                  <a:lnTo>
                    <a:pt x="3114" y="3227"/>
                  </a:lnTo>
                  <a:lnTo>
                    <a:pt x="3140" y="3205"/>
                  </a:lnTo>
                  <a:lnTo>
                    <a:pt x="3164" y="3179"/>
                  </a:lnTo>
                  <a:lnTo>
                    <a:pt x="3185" y="3150"/>
                  </a:lnTo>
                  <a:lnTo>
                    <a:pt x="3203" y="3120"/>
                  </a:lnTo>
                  <a:lnTo>
                    <a:pt x="3217" y="3088"/>
                  </a:lnTo>
                  <a:lnTo>
                    <a:pt x="3229" y="3053"/>
                  </a:lnTo>
                  <a:lnTo>
                    <a:pt x="3237" y="3016"/>
                  </a:lnTo>
                  <a:lnTo>
                    <a:pt x="3242" y="2980"/>
                  </a:lnTo>
                  <a:lnTo>
                    <a:pt x="3243" y="2941"/>
                  </a:lnTo>
                  <a:lnTo>
                    <a:pt x="3243" y="2939"/>
                  </a:lnTo>
                  <a:lnTo>
                    <a:pt x="3242" y="2901"/>
                  </a:lnTo>
                  <a:lnTo>
                    <a:pt x="3237" y="2863"/>
                  </a:lnTo>
                  <a:lnTo>
                    <a:pt x="3229" y="2828"/>
                  </a:lnTo>
                  <a:lnTo>
                    <a:pt x="3217" y="2793"/>
                  </a:lnTo>
                  <a:lnTo>
                    <a:pt x="3204" y="2761"/>
                  </a:lnTo>
                  <a:lnTo>
                    <a:pt x="3186" y="2730"/>
                  </a:lnTo>
                  <a:lnTo>
                    <a:pt x="3165" y="2702"/>
                  </a:lnTo>
                  <a:lnTo>
                    <a:pt x="3142" y="2677"/>
                  </a:lnTo>
                  <a:lnTo>
                    <a:pt x="3115" y="2655"/>
                  </a:lnTo>
                  <a:lnTo>
                    <a:pt x="3085" y="2636"/>
                  </a:lnTo>
                  <a:lnTo>
                    <a:pt x="3053" y="2621"/>
                  </a:lnTo>
                  <a:lnTo>
                    <a:pt x="3017" y="2610"/>
                  </a:lnTo>
                  <a:lnTo>
                    <a:pt x="2979" y="2603"/>
                  </a:lnTo>
                  <a:lnTo>
                    <a:pt x="2938" y="2601"/>
                  </a:lnTo>
                  <a:close/>
                  <a:moveTo>
                    <a:pt x="1050" y="2601"/>
                  </a:moveTo>
                  <a:lnTo>
                    <a:pt x="1010" y="2603"/>
                  </a:lnTo>
                  <a:lnTo>
                    <a:pt x="972" y="2610"/>
                  </a:lnTo>
                  <a:lnTo>
                    <a:pt x="936" y="2622"/>
                  </a:lnTo>
                  <a:lnTo>
                    <a:pt x="904" y="2636"/>
                  </a:lnTo>
                  <a:lnTo>
                    <a:pt x="873" y="2655"/>
                  </a:lnTo>
                  <a:lnTo>
                    <a:pt x="847" y="2678"/>
                  </a:lnTo>
                  <a:lnTo>
                    <a:pt x="823" y="2703"/>
                  </a:lnTo>
                  <a:lnTo>
                    <a:pt x="802" y="2732"/>
                  </a:lnTo>
                  <a:lnTo>
                    <a:pt x="784" y="2762"/>
                  </a:lnTo>
                  <a:lnTo>
                    <a:pt x="770" y="2794"/>
                  </a:lnTo>
                  <a:lnTo>
                    <a:pt x="758" y="2830"/>
                  </a:lnTo>
                  <a:lnTo>
                    <a:pt x="750" y="2866"/>
                  </a:lnTo>
                  <a:lnTo>
                    <a:pt x="745" y="2903"/>
                  </a:lnTo>
                  <a:lnTo>
                    <a:pt x="744" y="2941"/>
                  </a:lnTo>
                  <a:lnTo>
                    <a:pt x="744" y="2943"/>
                  </a:lnTo>
                  <a:lnTo>
                    <a:pt x="745" y="2981"/>
                  </a:lnTo>
                  <a:lnTo>
                    <a:pt x="750" y="3018"/>
                  </a:lnTo>
                  <a:lnTo>
                    <a:pt x="758" y="3054"/>
                  </a:lnTo>
                  <a:lnTo>
                    <a:pt x="770" y="3089"/>
                  </a:lnTo>
                  <a:lnTo>
                    <a:pt x="783" y="3121"/>
                  </a:lnTo>
                  <a:lnTo>
                    <a:pt x="801" y="3151"/>
                  </a:lnTo>
                  <a:lnTo>
                    <a:pt x="822" y="3180"/>
                  </a:lnTo>
                  <a:lnTo>
                    <a:pt x="846" y="3205"/>
                  </a:lnTo>
                  <a:lnTo>
                    <a:pt x="872" y="3227"/>
                  </a:lnTo>
                  <a:lnTo>
                    <a:pt x="902" y="3246"/>
                  </a:lnTo>
                  <a:lnTo>
                    <a:pt x="934" y="3261"/>
                  </a:lnTo>
                  <a:lnTo>
                    <a:pt x="970" y="3273"/>
                  </a:lnTo>
                  <a:lnTo>
                    <a:pt x="1009" y="3279"/>
                  </a:lnTo>
                  <a:lnTo>
                    <a:pt x="1049" y="3281"/>
                  </a:lnTo>
                  <a:lnTo>
                    <a:pt x="1090" y="3279"/>
                  </a:lnTo>
                  <a:lnTo>
                    <a:pt x="1128" y="3272"/>
                  </a:lnTo>
                  <a:lnTo>
                    <a:pt x="1164" y="3261"/>
                  </a:lnTo>
                  <a:lnTo>
                    <a:pt x="1196" y="3246"/>
                  </a:lnTo>
                  <a:lnTo>
                    <a:pt x="1226" y="3227"/>
                  </a:lnTo>
                  <a:lnTo>
                    <a:pt x="1254" y="3205"/>
                  </a:lnTo>
                  <a:lnTo>
                    <a:pt x="1277" y="3179"/>
                  </a:lnTo>
                  <a:lnTo>
                    <a:pt x="1298" y="3150"/>
                  </a:lnTo>
                  <a:lnTo>
                    <a:pt x="1315" y="3120"/>
                  </a:lnTo>
                  <a:lnTo>
                    <a:pt x="1330" y="3088"/>
                  </a:lnTo>
                  <a:lnTo>
                    <a:pt x="1342" y="3053"/>
                  </a:lnTo>
                  <a:lnTo>
                    <a:pt x="1350" y="3016"/>
                  </a:lnTo>
                  <a:lnTo>
                    <a:pt x="1355" y="2980"/>
                  </a:lnTo>
                  <a:lnTo>
                    <a:pt x="1356" y="2941"/>
                  </a:lnTo>
                  <a:lnTo>
                    <a:pt x="1356" y="2939"/>
                  </a:lnTo>
                  <a:lnTo>
                    <a:pt x="1355" y="2901"/>
                  </a:lnTo>
                  <a:lnTo>
                    <a:pt x="1350" y="2863"/>
                  </a:lnTo>
                  <a:lnTo>
                    <a:pt x="1342" y="2828"/>
                  </a:lnTo>
                  <a:lnTo>
                    <a:pt x="1330" y="2793"/>
                  </a:lnTo>
                  <a:lnTo>
                    <a:pt x="1316" y="2761"/>
                  </a:lnTo>
                  <a:lnTo>
                    <a:pt x="1299" y="2730"/>
                  </a:lnTo>
                  <a:lnTo>
                    <a:pt x="1278" y="2702"/>
                  </a:lnTo>
                  <a:lnTo>
                    <a:pt x="1255" y="2677"/>
                  </a:lnTo>
                  <a:lnTo>
                    <a:pt x="1227" y="2655"/>
                  </a:lnTo>
                  <a:lnTo>
                    <a:pt x="1198" y="2636"/>
                  </a:lnTo>
                  <a:lnTo>
                    <a:pt x="1166" y="2621"/>
                  </a:lnTo>
                  <a:lnTo>
                    <a:pt x="1130" y="2610"/>
                  </a:lnTo>
                  <a:lnTo>
                    <a:pt x="1092" y="2603"/>
                  </a:lnTo>
                  <a:lnTo>
                    <a:pt x="1050" y="2601"/>
                  </a:lnTo>
                  <a:close/>
                  <a:moveTo>
                    <a:pt x="2346" y="1796"/>
                  </a:moveTo>
                  <a:lnTo>
                    <a:pt x="2342" y="1797"/>
                  </a:lnTo>
                  <a:lnTo>
                    <a:pt x="2339" y="1798"/>
                  </a:lnTo>
                  <a:lnTo>
                    <a:pt x="2335" y="1800"/>
                  </a:lnTo>
                  <a:lnTo>
                    <a:pt x="2332" y="1802"/>
                  </a:lnTo>
                  <a:lnTo>
                    <a:pt x="2191" y="1842"/>
                  </a:lnTo>
                  <a:lnTo>
                    <a:pt x="2176" y="1849"/>
                  </a:lnTo>
                  <a:lnTo>
                    <a:pt x="2165" y="1859"/>
                  </a:lnTo>
                  <a:lnTo>
                    <a:pt x="2157" y="1873"/>
                  </a:lnTo>
                  <a:lnTo>
                    <a:pt x="2154" y="1888"/>
                  </a:lnTo>
                  <a:lnTo>
                    <a:pt x="2155" y="1904"/>
                  </a:lnTo>
                  <a:lnTo>
                    <a:pt x="2172" y="1971"/>
                  </a:lnTo>
                  <a:lnTo>
                    <a:pt x="2178" y="1986"/>
                  </a:lnTo>
                  <a:lnTo>
                    <a:pt x="2188" y="1997"/>
                  </a:lnTo>
                  <a:lnTo>
                    <a:pt x="2199" y="2006"/>
                  </a:lnTo>
                  <a:lnTo>
                    <a:pt x="2213" y="2009"/>
                  </a:lnTo>
                  <a:lnTo>
                    <a:pt x="2229" y="2009"/>
                  </a:lnTo>
                  <a:lnTo>
                    <a:pt x="2243" y="2008"/>
                  </a:lnTo>
                  <a:lnTo>
                    <a:pt x="2257" y="2011"/>
                  </a:lnTo>
                  <a:lnTo>
                    <a:pt x="2269" y="2018"/>
                  </a:lnTo>
                  <a:lnTo>
                    <a:pt x="2278" y="2030"/>
                  </a:lnTo>
                  <a:lnTo>
                    <a:pt x="2284" y="2042"/>
                  </a:lnTo>
                  <a:lnTo>
                    <a:pt x="2286" y="2058"/>
                  </a:lnTo>
                  <a:lnTo>
                    <a:pt x="2286" y="2417"/>
                  </a:lnTo>
                  <a:lnTo>
                    <a:pt x="2288" y="2431"/>
                  </a:lnTo>
                  <a:lnTo>
                    <a:pt x="2295" y="2442"/>
                  </a:lnTo>
                  <a:lnTo>
                    <a:pt x="2304" y="2452"/>
                  </a:lnTo>
                  <a:lnTo>
                    <a:pt x="2316" y="2459"/>
                  </a:lnTo>
                  <a:lnTo>
                    <a:pt x="2329" y="2463"/>
                  </a:lnTo>
                  <a:lnTo>
                    <a:pt x="2343" y="2466"/>
                  </a:lnTo>
                  <a:lnTo>
                    <a:pt x="2447" y="2466"/>
                  </a:lnTo>
                  <a:lnTo>
                    <a:pt x="2463" y="2462"/>
                  </a:lnTo>
                  <a:lnTo>
                    <a:pt x="2475" y="2456"/>
                  </a:lnTo>
                  <a:lnTo>
                    <a:pt x="2483" y="2447"/>
                  </a:lnTo>
                  <a:lnTo>
                    <a:pt x="2488" y="2433"/>
                  </a:lnTo>
                  <a:lnTo>
                    <a:pt x="2490" y="2417"/>
                  </a:lnTo>
                  <a:lnTo>
                    <a:pt x="2490" y="1854"/>
                  </a:lnTo>
                  <a:lnTo>
                    <a:pt x="2489" y="1839"/>
                  </a:lnTo>
                  <a:lnTo>
                    <a:pt x="2485" y="1827"/>
                  </a:lnTo>
                  <a:lnTo>
                    <a:pt x="2480" y="1814"/>
                  </a:lnTo>
                  <a:lnTo>
                    <a:pt x="2472" y="1805"/>
                  </a:lnTo>
                  <a:lnTo>
                    <a:pt x="2460" y="1798"/>
                  </a:lnTo>
                  <a:lnTo>
                    <a:pt x="2447" y="1796"/>
                  </a:lnTo>
                  <a:lnTo>
                    <a:pt x="2346" y="1796"/>
                  </a:lnTo>
                  <a:close/>
                  <a:moveTo>
                    <a:pt x="1121" y="1791"/>
                  </a:moveTo>
                  <a:lnTo>
                    <a:pt x="1117" y="1792"/>
                  </a:lnTo>
                  <a:lnTo>
                    <a:pt x="1114" y="1793"/>
                  </a:lnTo>
                  <a:lnTo>
                    <a:pt x="1111" y="1795"/>
                  </a:lnTo>
                  <a:lnTo>
                    <a:pt x="1108" y="1796"/>
                  </a:lnTo>
                  <a:lnTo>
                    <a:pt x="967" y="1837"/>
                  </a:lnTo>
                  <a:lnTo>
                    <a:pt x="952" y="1843"/>
                  </a:lnTo>
                  <a:lnTo>
                    <a:pt x="940" y="1854"/>
                  </a:lnTo>
                  <a:lnTo>
                    <a:pt x="933" y="1868"/>
                  </a:lnTo>
                  <a:lnTo>
                    <a:pt x="930" y="1883"/>
                  </a:lnTo>
                  <a:lnTo>
                    <a:pt x="931" y="1899"/>
                  </a:lnTo>
                  <a:lnTo>
                    <a:pt x="948" y="1966"/>
                  </a:lnTo>
                  <a:lnTo>
                    <a:pt x="954" y="1981"/>
                  </a:lnTo>
                  <a:lnTo>
                    <a:pt x="963" y="1992"/>
                  </a:lnTo>
                  <a:lnTo>
                    <a:pt x="975" y="2001"/>
                  </a:lnTo>
                  <a:lnTo>
                    <a:pt x="989" y="2005"/>
                  </a:lnTo>
                  <a:lnTo>
                    <a:pt x="1004" y="2004"/>
                  </a:lnTo>
                  <a:lnTo>
                    <a:pt x="1019" y="2003"/>
                  </a:lnTo>
                  <a:lnTo>
                    <a:pt x="1033" y="2006"/>
                  </a:lnTo>
                  <a:lnTo>
                    <a:pt x="1044" y="2013"/>
                  </a:lnTo>
                  <a:lnTo>
                    <a:pt x="1054" y="2025"/>
                  </a:lnTo>
                  <a:lnTo>
                    <a:pt x="1060" y="2037"/>
                  </a:lnTo>
                  <a:lnTo>
                    <a:pt x="1062" y="2053"/>
                  </a:lnTo>
                  <a:lnTo>
                    <a:pt x="1062" y="2412"/>
                  </a:lnTo>
                  <a:lnTo>
                    <a:pt x="1064" y="2426"/>
                  </a:lnTo>
                  <a:lnTo>
                    <a:pt x="1070" y="2437"/>
                  </a:lnTo>
                  <a:lnTo>
                    <a:pt x="1080" y="2447"/>
                  </a:lnTo>
                  <a:lnTo>
                    <a:pt x="1091" y="2454"/>
                  </a:lnTo>
                  <a:lnTo>
                    <a:pt x="1104" y="2458"/>
                  </a:lnTo>
                  <a:lnTo>
                    <a:pt x="1118" y="2460"/>
                  </a:lnTo>
                  <a:lnTo>
                    <a:pt x="1223" y="2460"/>
                  </a:lnTo>
                  <a:lnTo>
                    <a:pt x="1239" y="2458"/>
                  </a:lnTo>
                  <a:lnTo>
                    <a:pt x="1250" y="2451"/>
                  </a:lnTo>
                  <a:lnTo>
                    <a:pt x="1259" y="2441"/>
                  </a:lnTo>
                  <a:lnTo>
                    <a:pt x="1264" y="2428"/>
                  </a:lnTo>
                  <a:lnTo>
                    <a:pt x="1266" y="2412"/>
                  </a:lnTo>
                  <a:lnTo>
                    <a:pt x="1266" y="1849"/>
                  </a:lnTo>
                  <a:lnTo>
                    <a:pt x="1265" y="1835"/>
                  </a:lnTo>
                  <a:lnTo>
                    <a:pt x="1261" y="1821"/>
                  </a:lnTo>
                  <a:lnTo>
                    <a:pt x="1255" y="1810"/>
                  </a:lnTo>
                  <a:lnTo>
                    <a:pt x="1246" y="1799"/>
                  </a:lnTo>
                  <a:lnTo>
                    <a:pt x="1236" y="1793"/>
                  </a:lnTo>
                  <a:lnTo>
                    <a:pt x="1223" y="1791"/>
                  </a:lnTo>
                  <a:lnTo>
                    <a:pt x="1121" y="1791"/>
                  </a:lnTo>
                  <a:close/>
                  <a:moveTo>
                    <a:pt x="2938" y="1790"/>
                  </a:moveTo>
                  <a:lnTo>
                    <a:pt x="2897" y="1792"/>
                  </a:lnTo>
                  <a:lnTo>
                    <a:pt x="2859" y="1799"/>
                  </a:lnTo>
                  <a:lnTo>
                    <a:pt x="2823" y="1811"/>
                  </a:lnTo>
                  <a:lnTo>
                    <a:pt x="2791" y="1826"/>
                  </a:lnTo>
                  <a:lnTo>
                    <a:pt x="2761" y="1846"/>
                  </a:lnTo>
                  <a:lnTo>
                    <a:pt x="2734" y="1868"/>
                  </a:lnTo>
                  <a:lnTo>
                    <a:pt x="2710" y="1893"/>
                  </a:lnTo>
                  <a:lnTo>
                    <a:pt x="2689" y="1921"/>
                  </a:lnTo>
                  <a:lnTo>
                    <a:pt x="2672" y="1951"/>
                  </a:lnTo>
                  <a:lnTo>
                    <a:pt x="2657" y="1985"/>
                  </a:lnTo>
                  <a:lnTo>
                    <a:pt x="2645" y="2019"/>
                  </a:lnTo>
                  <a:lnTo>
                    <a:pt x="2637" y="2055"/>
                  </a:lnTo>
                  <a:lnTo>
                    <a:pt x="2632" y="2093"/>
                  </a:lnTo>
                  <a:lnTo>
                    <a:pt x="2631" y="2130"/>
                  </a:lnTo>
                  <a:lnTo>
                    <a:pt x="2631" y="2132"/>
                  </a:lnTo>
                  <a:lnTo>
                    <a:pt x="2632" y="2171"/>
                  </a:lnTo>
                  <a:lnTo>
                    <a:pt x="2637" y="2208"/>
                  </a:lnTo>
                  <a:lnTo>
                    <a:pt x="2645" y="2245"/>
                  </a:lnTo>
                  <a:lnTo>
                    <a:pt x="2657" y="2278"/>
                  </a:lnTo>
                  <a:lnTo>
                    <a:pt x="2671" y="2312"/>
                  </a:lnTo>
                  <a:lnTo>
                    <a:pt x="2688" y="2342"/>
                  </a:lnTo>
                  <a:lnTo>
                    <a:pt x="2709" y="2369"/>
                  </a:lnTo>
                  <a:lnTo>
                    <a:pt x="2732" y="2394"/>
                  </a:lnTo>
                  <a:lnTo>
                    <a:pt x="2760" y="2417"/>
                  </a:lnTo>
                  <a:lnTo>
                    <a:pt x="2789" y="2436"/>
                  </a:lnTo>
                  <a:lnTo>
                    <a:pt x="2821" y="2451"/>
                  </a:lnTo>
                  <a:lnTo>
                    <a:pt x="2857" y="2462"/>
                  </a:lnTo>
                  <a:lnTo>
                    <a:pt x="2895" y="2469"/>
                  </a:lnTo>
                  <a:lnTo>
                    <a:pt x="2937" y="2472"/>
                  </a:lnTo>
                  <a:lnTo>
                    <a:pt x="2977" y="2469"/>
                  </a:lnTo>
                  <a:lnTo>
                    <a:pt x="3015" y="2462"/>
                  </a:lnTo>
                  <a:lnTo>
                    <a:pt x="3051" y="2451"/>
                  </a:lnTo>
                  <a:lnTo>
                    <a:pt x="3083" y="2435"/>
                  </a:lnTo>
                  <a:lnTo>
                    <a:pt x="3114" y="2416"/>
                  </a:lnTo>
                  <a:lnTo>
                    <a:pt x="3140" y="2394"/>
                  </a:lnTo>
                  <a:lnTo>
                    <a:pt x="3164" y="2368"/>
                  </a:lnTo>
                  <a:lnTo>
                    <a:pt x="3185" y="2341"/>
                  </a:lnTo>
                  <a:lnTo>
                    <a:pt x="3203" y="2309"/>
                  </a:lnTo>
                  <a:lnTo>
                    <a:pt x="3217" y="2277"/>
                  </a:lnTo>
                  <a:lnTo>
                    <a:pt x="3229" y="2242"/>
                  </a:lnTo>
                  <a:lnTo>
                    <a:pt x="3237" y="2206"/>
                  </a:lnTo>
                  <a:lnTo>
                    <a:pt x="3242" y="2169"/>
                  </a:lnTo>
                  <a:lnTo>
                    <a:pt x="3243" y="2130"/>
                  </a:lnTo>
                  <a:lnTo>
                    <a:pt x="3243" y="2129"/>
                  </a:lnTo>
                  <a:lnTo>
                    <a:pt x="3242" y="2091"/>
                  </a:lnTo>
                  <a:lnTo>
                    <a:pt x="3237" y="2053"/>
                  </a:lnTo>
                  <a:lnTo>
                    <a:pt x="3229" y="2017"/>
                  </a:lnTo>
                  <a:lnTo>
                    <a:pt x="3217" y="1983"/>
                  </a:lnTo>
                  <a:lnTo>
                    <a:pt x="3204" y="1950"/>
                  </a:lnTo>
                  <a:lnTo>
                    <a:pt x="3186" y="1920"/>
                  </a:lnTo>
                  <a:lnTo>
                    <a:pt x="3165" y="1892"/>
                  </a:lnTo>
                  <a:lnTo>
                    <a:pt x="3142" y="1866"/>
                  </a:lnTo>
                  <a:lnTo>
                    <a:pt x="3115" y="1844"/>
                  </a:lnTo>
                  <a:lnTo>
                    <a:pt x="3085" y="1826"/>
                  </a:lnTo>
                  <a:lnTo>
                    <a:pt x="3053" y="1811"/>
                  </a:lnTo>
                  <a:lnTo>
                    <a:pt x="3017" y="1799"/>
                  </a:lnTo>
                  <a:lnTo>
                    <a:pt x="2979" y="1792"/>
                  </a:lnTo>
                  <a:lnTo>
                    <a:pt x="2938" y="1790"/>
                  </a:lnTo>
                  <a:close/>
                  <a:moveTo>
                    <a:pt x="1725" y="1790"/>
                  </a:moveTo>
                  <a:lnTo>
                    <a:pt x="1684" y="1792"/>
                  </a:lnTo>
                  <a:lnTo>
                    <a:pt x="1645" y="1799"/>
                  </a:lnTo>
                  <a:lnTo>
                    <a:pt x="1611" y="1811"/>
                  </a:lnTo>
                  <a:lnTo>
                    <a:pt x="1577" y="1826"/>
                  </a:lnTo>
                  <a:lnTo>
                    <a:pt x="1548" y="1846"/>
                  </a:lnTo>
                  <a:lnTo>
                    <a:pt x="1521" y="1868"/>
                  </a:lnTo>
                  <a:lnTo>
                    <a:pt x="1498" y="1893"/>
                  </a:lnTo>
                  <a:lnTo>
                    <a:pt x="1477" y="1921"/>
                  </a:lnTo>
                  <a:lnTo>
                    <a:pt x="1459" y="1951"/>
                  </a:lnTo>
                  <a:lnTo>
                    <a:pt x="1444" y="1985"/>
                  </a:lnTo>
                  <a:lnTo>
                    <a:pt x="1433" y="2019"/>
                  </a:lnTo>
                  <a:lnTo>
                    <a:pt x="1424" y="2055"/>
                  </a:lnTo>
                  <a:lnTo>
                    <a:pt x="1419" y="2093"/>
                  </a:lnTo>
                  <a:lnTo>
                    <a:pt x="1418" y="2130"/>
                  </a:lnTo>
                  <a:lnTo>
                    <a:pt x="1418" y="2132"/>
                  </a:lnTo>
                  <a:lnTo>
                    <a:pt x="1419" y="2171"/>
                  </a:lnTo>
                  <a:lnTo>
                    <a:pt x="1424" y="2208"/>
                  </a:lnTo>
                  <a:lnTo>
                    <a:pt x="1433" y="2245"/>
                  </a:lnTo>
                  <a:lnTo>
                    <a:pt x="1443" y="2278"/>
                  </a:lnTo>
                  <a:lnTo>
                    <a:pt x="1458" y="2312"/>
                  </a:lnTo>
                  <a:lnTo>
                    <a:pt x="1476" y="2342"/>
                  </a:lnTo>
                  <a:lnTo>
                    <a:pt x="1497" y="2369"/>
                  </a:lnTo>
                  <a:lnTo>
                    <a:pt x="1520" y="2394"/>
                  </a:lnTo>
                  <a:lnTo>
                    <a:pt x="1547" y="2417"/>
                  </a:lnTo>
                  <a:lnTo>
                    <a:pt x="1576" y="2436"/>
                  </a:lnTo>
                  <a:lnTo>
                    <a:pt x="1609" y="2451"/>
                  </a:lnTo>
                  <a:lnTo>
                    <a:pt x="1644" y="2462"/>
                  </a:lnTo>
                  <a:lnTo>
                    <a:pt x="1682" y="2469"/>
                  </a:lnTo>
                  <a:lnTo>
                    <a:pt x="1723" y="2472"/>
                  </a:lnTo>
                  <a:lnTo>
                    <a:pt x="1765" y="2469"/>
                  </a:lnTo>
                  <a:lnTo>
                    <a:pt x="1802" y="2462"/>
                  </a:lnTo>
                  <a:lnTo>
                    <a:pt x="1838" y="2451"/>
                  </a:lnTo>
                  <a:lnTo>
                    <a:pt x="1870" y="2435"/>
                  </a:lnTo>
                  <a:lnTo>
                    <a:pt x="1901" y="2416"/>
                  </a:lnTo>
                  <a:lnTo>
                    <a:pt x="1927" y="2394"/>
                  </a:lnTo>
                  <a:lnTo>
                    <a:pt x="1951" y="2368"/>
                  </a:lnTo>
                  <a:lnTo>
                    <a:pt x="1972" y="2341"/>
                  </a:lnTo>
                  <a:lnTo>
                    <a:pt x="1990" y="2309"/>
                  </a:lnTo>
                  <a:lnTo>
                    <a:pt x="2004" y="2277"/>
                  </a:lnTo>
                  <a:lnTo>
                    <a:pt x="2016" y="2242"/>
                  </a:lnTo>
                  <a:lnTo>
                    <a:pt x="2024" y="2206"/>
                  </a:lnTo>
                  <a:lnTo>
                    <a:pt x="2029" y="2169"/>
                  </a:lnTo>
                  <a:lnTo>
                    <a:pt x="2031" y="2130"/>
                  </a:lnTo>
                  <a:lnTo>
                    <a:pt x="2031" y="2129"/>
                  </a:lnTo>
                  <a:lnTo>
                    <a:pt x="2029" y="2091"/>
                  </a:lnTo>
                  <a:lnTo>
                    <a:pt x="2024" y="2053"/>
                  </a:lnTo>
                  <a:lnTo>
                    <a:pt x="2016" y="2017"/>
                  </a:lnTo>
                  <a:lnTo>
                    <a:pt x="2004" y="1983"/>
                  </a:lnTo>
                  <a:lnTo>
                    <a:pt x="1990" y="1950"/>
                  </a:lnTo>
                  <a:lnTo>
                    <a:pt x="1973" y="1920"/>
                  </a:lnTo>
                  <a:lnTo>
                    <a:pt x="1952" y="1892"/>
                  </a:lnTo>
                  <a:lnTo>
                    <a:pt x="1928" y="1866"/>
                  </a:lnTo>
                  <a:lnTo>
                    <a:pt x="1902" y="1844"/>
                  </a:lnTo>
                  <a:lnTo>
                    <a:pt x="1873" y="1826"/>
                  </a:lnTo>
                  <a:lnTo>
                    <a:pt x="1840" y="1811"/>
                  </a:lnTo>
                  <a:lnTo>
                    <a:pt x="1804" y="1799"/>
                  </a:lnTo>
                  <a:lnTo>
                    <a:pt x="1766" y="1792"/>
                  </a:lnTo>
                  <a:lnTo>
                    <a:pt x="1725" y="1790"/>
                  </a:lnTo>
                  <a:close/>
                  <a:moveTo>
                    <a:pt x="507" y="1790"/>
                  </a:moveTo>
                  <a:lnTo>
                    <a:pt x="465" y="1792"/>
                  </a:lnTo>
                  <a:lnTo>
                    <a:pt x="427" y="1799"/>
                  </a:lnTo>
                  <a:lnTo>
                    <a:pt x="392" y="1811"/>
                  </a:lnTo>
                  <a:lnTo>
                    <a:pt x="359" y="1826"/>
                  </a:lnTo>
                  <a:lnTo>
                    <a:pt x="329" y="1846"/>
                  </a:lnTo>
                  <a:lnTo>
                    <a:pt x="303" y="1868"/>
                  </a:lnTo>
                  <a:lnTo>
                    <a:pt x="279" y="1893"/>
                  </a:lnTo>
                  <a:lnTo>
                    <a:pt x="258" y="1921"/>
                  </a:lnTo>
                  <a:lnTo>
                    <a:pt x="240" y="1951"/>
                  </a:lnTo>
                  <a:lnTo>
                    <a:pt x="225" y="1985"/>
                  </a:lnTo>
                  <a:lnTo>
                    <a:pt x="214" y="2019"/>
                  </a:lnTo>
                  <a:lnTo>
                    <a:pt x="205" y="2055"/>
                  </a:lnTo>
                  <a:lnTo>
                    <a:pt x="201" y="2093"/>
                  </a:lnTo>
                  <a:lnTo>
                    <a:pt x="199" y="2130"/>
                  </a:lnTo>
                  <a:lnTo>
                    <a:pt x="199" y="2132"/>
                  </a:lnTo>
                  <a:lnTo>
                    <a:pt x="201" y="2171"/>
                  </a:lnTo>
                  <a:lnTo>
                    <a:pt x="205" y="2208"/>
                  </a:lnTo>
                  <a:lnTo>
                    <a:pt x="214" y="2245"/>
                  </a:lnTo>
                  <a:lnTo>
                    <a:pt x="225" y="2278"/>
                  </a:lnTo>
                  <a:lnTo>
                    <a:pt x="240" y="2312"/>
                  </a:lnTo>
                  <a:lnTo>
                    <a:pt x="257" y="2342"/>
                  </a:lnTo>
                  <a:lnTo>
                    <a:pt x="278" y="2369"/>
                  </a:lnTo>
                  <a:lnTo>
                    <a:pt x="302" y="2394"/>
                  </a:lnTo>
                  <a:lnTo>
                    <a:pt x="328" y="2417"/>
                  </a:lnTo>
                  <a:lnTo>
                    <a:pt x="357" y="2436"/>
                  </a:lnTo>
                  <a:lnTo>
                    <a:pt x="390" y="2451"/>
                  </a:lnTo>
                  <a:lnTo>
                    <a:pt x="425" y="2462"/>
                  </a:lnTo>
                  <a:lnTo>
                    <a:pt x="464" y="2469"/>
                  </a:lnTo>
                  <a:lnTo>
                    <a:pt x="505" y="2472"/>
                  </a:lnTo>
                  <a:lnTo>
                    <a:pt x="546" y="2469"/>
                  </a:lnTo>
                  <a:lnTo>
                    <a:pt x="583" y="2462"/>
                  </a:lnTo>
                  <a:lnTo>
                    <a:pt x="619" y="2451"/>
                  </a:lnTo>
                  <a:lnTo>
                    <a:pt x="652" y="2435"/>
                  </a:lnTo>
                  <a:lnTo>
                    <a:pt x="682" y="2416"/>
                  </a:lnTo>
                  <a:lnTo>
                    <a:pt x="709" y="2394"/>
                  </a:lnTo>
                  <a:lnTo>
                    <a:pt x="732" y="2368"/>
                  </a:lnTo>
                  <a:lnTo>
                    <a:pt x="753" y="2341"/>
                  </a:lnTo>
                  <a:lnTo>
                    <a:pt x="771" y="2309"/>
                  </a:lnTo>
                  <a:lnTo>
                    <a:pt x="785" y="2277"/>
                  </a:lnTo>
                  <a:lnTo>
                    <a:pt x="797" y="2242"/>
                  </a:lnTo>
                  <a:lnTo>
                    <a:pt x="805" y="2206"/>
                  </a:lnTo>
                  <a:lnTo>
                    <a:pt x="811" y="2169"/>
                  </a:lnTo>
                  <a:lnTo>
                    <a:pt x="812" y="2130"/>
                  </a:lnTo>
                  <a:lnTo>
                    <a:pt x="812" y="2129"/>
                  </a:lnTo>
                  <a:lnTo>
                    <a:pt x="811" y="2091"/>
                  </a:lnTo>
                  <a:lnTo>
                    <a:pt x="805" y="2053"/>
                  </a:lnTo>
                  <a:lnTo>
                    <a:pt x="797" y="2017"/>
                  </a:lnTo>
                  <a:lnTo>
                    <a:pt x="787" y="1983"/>
                  </a:lnTo>
                  <a:lnTo>
                    <a:pt x="772" y="1950"/>
                  </a:lnTo>
                  <a:lnTo>
                    <a:pt x="754" y="1920"/>
                  </a:lnTo>
                  <a:lnTo>
                    <a:pt x="733" y="1892"/>
                  </a:lnTo>
                  <a:lnTo>
                    <a:pt x="710" y="1866"/>
                  </a:lnTo>
                  <a:lnTo>
                    <a:pt x="683" y="1844"/>
                  </a:lnTo>
                  <a:lnTo>
                    <a:pt x="653" y="1826"/>
                  </a:lnTo>
                  <a:lnTo>
                    <a:pt x="621" y="1811"/>
                  </a:lnTo>
                  <a:lnTo>
                    <a:pt x="585" y="1799"/>
                  </a:lnTo>
                  <a:lnTo>
                    <a:pt x="548" y="1792"/>
                  </a:lnTo>
                  <a:lnTo>
                    <a:pt x="507" y="1790"/>
                  </a:lnTo>
                  <a:close/>
                  <a:moveTo>
                    <a:pt x="3062" y="980"/>
                  </a:moveTo>
                  <a:lnTo>
                    <a:pt x="3059" y="982"/>
                  </a:lnTo>
                  <a:lnTo>
                    <a:pt x="3056" y="983"/>
                  </a:lnTo>
                  <a:lnTo>
                    <a:pt x="3053" y="985"/>
                  </a:lnTo>
                  <a:lnTo>
                    <a:pt x="3050" y="986"/>
                  </a:lnTo>
                  <a:lnTo>
                    <a:pt x="2908" y="1027"/>
                  </a:lnTo>
                  <a:lnTo>
                    <a:pt x="2894" y="1034"/>
                  </a:lnTo>
                  <a:lnTo>
                    <a:pt x="2882" y="1044"/>
                  </a:lnTo>
                  <a:lnTo>
                    <a:pt x="2875" y="1057"/>
                  </a:lnTo>
                  <a:lnTo>
                    <a:pt x="2872" y="1073"/>
                  </a:lnTo>
                  <a:lnTo>
                    <a:pt x="2873" y="1088"/>
                  </a:lnTo>
                  <a:lnTo>
                    <a:pt x="2889" y="1156"/>
                  </a:lnTo>
                  <a:lnTo>
                    <a:pt x="2896" y="1170"/>
                  </a:lnTo>
                  <a:lnTo>
                    <a:pt x="2904" y="1182"/>
                  </a:lnTo>
                  <a:lnTo>
                    <a:pt x="2917" y="1190"/>
                  </a:lnTo>
                  <a:lnTo>
                    <a:pt x="2930" y="1194"/>
                  </a:lnTo>
                  <a:lnTo>
                    <a:pt x="2946" y="1193"/>
                  </a:lnTo>
                  <a:lnTo>
                    <a:pt x="2961" y="1192"/>
                  </a:lnTo>
                  <a:lnTo>
                    <a:pt x="2974" y="1195"/>
                  </a:lnTo>
                  <a:lnTo>
                    <a:pt x="2986" y="1204"/>
                  </a:lnTo>
                  <a:lnTo>
                    <a:pt x="2995" y="1214"/>
                  </a:lnTo>
                  <a:lnTo>
                    <a:pt x="3001" y="1227"/>
                  </a:lnTo>
                  <a:lnTo>
                    <a:pt x="3004" y="1242"/>
                  </a:lnTo>
                  <a:lnTo>
                    <a:pt x="3004" y="1602"/>
                  </a:lnTo>
                  <a:lnTo>
                    <a:pt x="3006" y="1615"/>
                  </a:lnTo>
                  <a:lnTo>
                    <a:pt x="3012" y="1627"/>
                  </a:lnTo>
                  <a:lnTo>
                    <a:pt x="3021" y="1636"/>
                  </a:lnTo>
                  <a:lnTo>
                    <a:pt x="3033" y="1643"/>
                  </a:lnTo>
                  <a:lnTo>
                    <a:pt x="3045" y="1648"/>
                  </a:lnTo>
                  <a:lnTo>
                    <a:pt x="3059" y="1650"/>
                  </a:lnTo>
                  <a:lnTo>
                    <a:pt x="3165" y="1650"/>
                  </a:lnTo>
                  <a:lnTo>
                    <a:pt x="3180" y="1648"/>
                  </a:lnTo>
                  <a:lnTo>
                    <a:pt x="3192" y="1640"/>
                  </a:lnTo>
                  <a:lnTo>
                    <a:pt x="3200" y="1631"/>
                  </a:lnTo>
                  <a:lnTo>
                    <a:pt x="3206" y="1617"/>
                  </a:lnTo>
                  <a:lnTo>
                    <a:pt x="3208" y="1602"/>
                  </a:lnTo>
                  <a:lnTo>
                    <a:pt x="3208" y="1038"/>
                  </a:lnTo>
                  <a:lnTo>
                    <a:pt x="3206" y="1024"/>
                  </a:lnTo>
                  <a:lnTo>
                    <a:pt x="3203" y="1011"/>
                  </a:lnTo>
                  <a:lnTo>
                    <a:pt x="3196" y="999"/>
                  </a:lnTo>
                  <a:lnTo>
                    <a:pt x="3188" y="990"/>
                  </a:lnTo>
                  <a:lnTo>
                    <a:pt x="3177" y="983"/>
                  </a:lnTo>
                  <a:lnTo>
                    <a:pt x="3165" y="980"/>
                  </a:lnTo>
                  <a:lnTo>
                    <a:pt x="3062" y="980"/>
                  </a:lnTo>
                  <a:close/>
                  <a:moveTo>
                    <a:pt x="1698" y="980"/>
                  </a:moveTo>
                  <a:lnTo>
                    <a:pt x="1693" y="982"/>
                  </a:lnTo>
                  <a:lnTo>
                    <a:pt x="1690" y="983"/>
                  </a:lnTo>
                  <a:lnTo>
                    <a:pt x="1687" y="985"/>
                  </a:lnTo>
                  <a:lnTo>
                    <a:pt x="1684" y="986"/>
                  </a:lnTo>
                  <a:lnTo>
                    <a:pt x="1543" y="1027"/>
                  </a:lnTo>
                  <a:lnTo>
                    <a:pt x="1528" y="1034"/>
                  </a:lnTo>
                  <a:lnTo>
                    <a:pt x="1516" y="1044"/>
                  </a:lnTo>
                  <a:lnTo>
                    <a:pt x="1509" y="1057"/>
                  </a:lnTo>
                  <a:lnTo>
                    <a:pt x="1506" y="1073"/>
                  </a:lnTo>
                  <a:lnTo>
                    <a:pt x="1507" y="1088"/>
                  </a:lnTo>
                  <a:lnTo>
                    <a:pt x="1524" y="1156"/>
                  </a:lnTo>
                  <a:lnTo>
                    <a:pt x="1530" y="1170"/>
                  </a:lnTo>
                  <a:lnTo>
                    <a:pt x="1539" y="1182"/>
                  </a:lnTo>
                  <a:lnTo>
                    <a:pt x="1551" y="1190"/>
                  </a:lnTo>
                  <a:lnTo>
                    <a:pt x="1565" y="1194"/>
                  </a:lnTo>
                  <a:lnTo>
                    <a:pt x="1580" y="1193"/>
                  </a:lnTo>
                  <a:lnTo>
                    <a:pt x="1595" y="1192"/>
                  </a:lnTo>
                  <a:lnTo>
                    <a:pt x="1609" y="1195"/>
                  </a:lnTo>
                  <a:lnTo>
                    <a:pt x="1621" y="1204"/>
                  </a:lnTo>
                  <a:lnTo>
                    <a:pt x="1630" y="1214"/>
                  </a:lnTo>
                  <a:lnTo>
                    <a:pt x="1636" y="1227"/>
                  </a:lnTo>
                  <a:lnTo>
                    <a:pt x="1638" y="1242"/>
                  </a:lnTo>
                  <a:lnTo>
                    <a:pt x="1638" y="1602"/>
                  </a:lnTo>
                  <a:lnTo>
                    <a:pt x="1640" y="1615"/>
                  </a:lnTo>
                  <a:lnTo>
                    <a:pt x="1646" y="1627"/>
                  </a:lnTo>
                  <a:lnTo>
                    <a:pt x="1656" y="1636"/>
                  </a:lnTo>
                  <a:lnTo>
                    <a:pt x="1667" y="1643"/>
                  </a:lnTo>
                  <a:lnTo>
                    <a:pt x="1681" y="1648"/>
                  </a:lnTo>
                  <a:lnTo>
                    <a:pt x="1694" y="1650"/>
                  </a:lnTo>
                  <a:lnTo>
                    <a:pt x="1799" y="1650"/>
                  </a:lnTo>
                  <a:lnTo>
                    <a:pt x="1815" y="1648"/>
                  </a:lnTo>
                  <a:lnTo>
                    <a:pt x="1826" y="1640"/>
                  </a:lnTo>
                  <a:lnTo>
                    <a:pt x="1835" y="1631"/>
                  </a:lnTo>
                  <a:lnTo>
                    <a:pt x="1840" y="1617"/>
                  </a:lnTo>
                  <a:lnTo>
                    <a:pt x="1842" y="1602"/>
                  </a:lnTo>
                  <a:lnTo>
                    <a:pt x="1842" y="1038"/>
                  </a:lnTo>
                  <a:lnTo>
                    <a:pt x="1841" y="1024"/>
                  </a:lnTo>
                  <a:lnTo>
                    <a:pt x="1837" y="1011"/>
                  </a:lnTo>
                  <a:lnTo>
                    <a:pt x="1832" y="999"/>
                  </a:lnTo>
                  <a:lnTo>
                    <a:pt x="1823" y="990"/>
                  </a:lnTo>
                  <a:lnTo>
                    <a:pt x="1812" y="983"/>
                  </a:lnTo>
                  <a:lnTo>
                    <a:pt x="1799" y="980"/>
                  </a:lnTo>
                  <a:lnTo>
                    <a:pt x="1698" y="980"/>
                  </a:lnTo>
                  <a:close/>
                  <a:moveTo>
                    <a:pt x="391" y="980"/>
                  </a:moveTo>
                  <a:lnTo>
                    <a:pt x="386" y="982"/>
                  </a:lnTo>
                  <a:lnTo>
                    <a:pt x="383" y="983"/>
                  </a:lnTo>
                  <a:lnTo>
                    <a:pt x="380" y="985"/>
                  </a:lnTo>
                  <a:lnTo>
                    <a:pt x="377" y="986"/>
                  </a:lnTo>
                  <a:lnTo>
                    <a:pt x="236" y="1027"/>
                  </a:lnTo>
                  <a:lnTo>
                    <a:pt x="221" y="1034"/>
                  </a:lnTo>
                  <a:lnTo>
                    <a:pt x="211" y="1044"/>
                  </a:lnTo>
                  <a:lnTo>
                    <a:pt x="202" y="1057"/>
                  </a:lnTo>
                  <a:lnTo>
                    <a:pt x="199" y="1073"/>
                  </a:lnTo>
                  <a:lnTo>
                    <a:pt x="200" y="1088"/>
                  </a:lnTo>
                  <a:lnTo>
                    <a:pt x="218" y="1156"/>
                  </a:lnTo>
                  <a:lnTo>
                    <a:pt x="223" y="1170"/>
                  </a:lnTo>
                  <a:lnTo>
                    <a:pt x="232" y="1182"/>
                  </a:lnTo>
                  <a:lnTo>
                    <a:pt x="244" y="1190"/>
                  </a:lnTo>
                  <a:lnTo>
                    <a:pt x="258" y="1194"/>
                  </a:lnTo>
                  <a:lnTo>
                    <a:pt x="273" y="1193"/>
                  </a:lnTo>
                  <a:lnTo>
                    <a:pt x="288" y="1192"/>
                  </a:lnTo>
                  <a:lnTo>
                    <a:pt x="303" y="1195"/>
                  </a:lnTo>
                  <a:lnTo>
                    <a:pt x="314" y="1204"/>
                  </a:lnTo>
                  <a:lnTo>
                    <a:pt x="323" y="1214"/>
                  </a:lnTo>
                  <a:lnTo>
                    <a:pt x="329" y="1227"/>
                  </a:lnTo>
                  <a:lnTo>
                    <a:pt x="331" y="1242"/>
                  </a:lnTo>
                  <a:lnTo>
                    <a:pt x="331" y="1602"/>
                  </a:lnTo>
                  <a:lnTo>
                    <a:pt x="333" y="1615"/>
                  </a:lnTo>
                  <a:lnTo>
                    <a:pt x="339" y="1627"/>
                  </a:lnTo>
                  <a:lnTo>
                    <a:pt x="349" y="1636"/>
                  </a:lnTo>
                  <a:lnTo>
                    <a:pt x="360" y="1643"/>
                  </a:lnTo>
                  <a:lnTo>
                    <a:pt x="374" y="1648"/>
                  </a:lnTo>
                  <a:lnTo>
                    <a:pt x="387" y="1650"/>
                  </a:lnTo>
                  <a:lnTo>
                    <a:pt x="492" y="1650"/>
                  </a:lnTo>
                  <a:lnTo>
                    <a:pt x="508" y="1648"/>
                  </a:lnTo>
                  <a:lnTo>
                    <a:pt x="519" y="1640"/>
                  </a:lnTo>
                  <a:lnTo>
                    <a:pt x="528" y="1631"/>
                  </a:lnTo>
                  <a:lnTo>
                    <a:pt x="533" y="1617"/>
                  </a:lnTo>
                  <a:lnTo>
                    <a:pt x="535" y="1602"/>
                  </a:lnTo>
                  <a:lnTo>
                    <a:pt x="535" y="1038"/>
                  </a:lnTo>
                  <a:lnTo>
                    <a:pt x="534" y="1024"/>
                  </a:lnTo>
                  <a:lnTo>
                    <a:pt x="530" y="1011"/>
                  </a:lnTo>
                  <a:lnTo>
                    <a:pt x="525" y="999"/>
                  </a:lnTo>
                  <a:lnTo>
                    <a:pt x="516" y="990"/>
                  </a:lnTo>
                  <a:lnTo>
                    <a:pt x="506" y="983"/>
                  </a:lnTo>
                  <a:lnTo>
                    <a:pt x="492" y="980"/>
                  </a:lnTo>
                  <a:lnTo>
                    <a:pt x="391" y="980"/>
                  </a:lnTo>
                  <a:close/>
                  <a:moveTo>
                    <a:pt x="2381" y="979"/>
                  </a:moveTo>
                  <a:lnTo>
                    <a:pt x="2341" y="982"/>
                  </a:lnTo>
                  <a:lnTo>
                    <a:pt x="2302" y="989"/>
                  </a:lnTo>
                  <a:lnTo>
                    <a:pt x="2266" y="1000"/>
                  </a:lnTo>
                  <a:lnTo>
                    <a:pt x="2234" y="1016"/>
                  </a:lnTo>
                  <a:lnTo>
                    <a:pt x="2205" y="1035"/>
                  </a:lnTo>
                  <a:lnTo>
                    <a:pt x="2177" y="1057"/>
                  </a:lnTo>
                  <a:lnTo>
                    <a:pt x="2153" y="1082"/>
                  </a:lnTo>
                  <a:lnTo>
                    <a:pt x="2132" y="1110"/>
                  </a:lnTo>
                  <a:lnTo>
                    <a:pt x="2114" y="1141"/>
                  </a:lnTo>
                  <a:lnTo>
                    <a:pt x="2100" y="1174"/>
                  </a:lnTo>
                  <a:lnTo>
                    <a:pt x="2088" y="1209"/>
                  </a:lnTo>
                  <a:lnTo>
                    <a:pt x="2081" y="1244"/>
                  </a:lnTo>
                  <a:lnTo>
                    <a:pt x="2076" y="1282"/>
                  </a:lnTo>
                  <a:lnTo>
                    <a:pt x="2074" y="1320"/>
                  </a:lnTo>
                  <a:lnTo>
                    <a:pt x="2074" y="1322"/>
                  </a:lnTo>
                  <a:lnTo>
                    <a:pt x="2076" y="1361"/>
                  </a:lnTo>
                  <a:lnTo>
                    <a:pt x="2080" y="1397"/>
                  </a:lnTo>
                  <a:lnTo>
                    <a:pt x="2088" y="1434"/>
                  </a:lnTo>
                  <a:lnTo>
                    <a:pt x="2100" y="1469"/>
                  </a:lnTo>
                  <a:lnTo>
                    <a:pt x="2114" y="1501"/>
                  </a:lnTo>
                  <a:lnTo>
                    <a:pt x="2132" y="1531"/>
                  </a:lnTo>
                  <a:lnTo>
                    <a:pt x="2152" y="1559"/>
                  </a:lnTo>
                  <a:lnTo>
                    <a:pt x="2176" y="1585"/>
                  </a:lnTo>
                  <a:lnTo>
                    <a:pt x="2202" y="1607"/>
                  </a:lnTo>
                  <a:lnTo>
                    <a:pt x="2233" y="1626"/>
                  </a:lnTo>
                  <a:lnTo>
                    <a:pt x="2265" y="1640"/>
                  </a:lnTo>
                  <a:lnTo>
                    <a:pt x="2300" y="1652"/>
                  </a:lnTo>
                  <a:lnTo>
                    <a:pt x="2339" y="1658"/>
                  </a:lnTo>
                  <a:lnTo>
                    <a:pt x="2379" y="1661"/>
                  </a:lnTo>
                  <a:lnTo>
                    <a:pt x="2420" y="1658"/>
                  </a:lnTo>
                  <a:lnTo>
                    <a:pt x="2459" y="1652"/>
                  </a:lnTo>
                  <a:lnTo>
                    <a:pt x="2495" y="1640"/>
                  </a:lnTo>
                  <a:lnTo>
                    <a:pt x="2527" y="1625"/>
                  </a:lnTo>
                  <a:lnTo>
                    <a:pt x="2556" y="1606"/>
                  </a:lnTo>
                  <a:lnTo>
                    <a:pt x="2584" y="1584"/>
                  </a:lnTo>
                  <a:lnTo>
                    <a:pt x="2608" y="1559"/>
                  </a:lnTo>
                  <a:lnTo>
                    <a:pt x="2629" y="1530"/>
                  </a:lnTo>
                  <a:lnTo>
                    <a:pt x="2645" y="1499"/>
                  </a:lnTo>
                  <a:lnTo>
                    <a:pt x="2660" y="1466"/>
                  </a:lnTo>
                  <a:lnTo>
                    <a:pt x="2672" y="1432"/>
                  </a:lnTo>
                  <a:lnTo>
                    <a:pt x="2680" y="1396"/>
                  </a:lnTo>
                  <a:lnTo>
                    <a:pt x="2685" y="1359"/>
                  </a:lnTo>
                  <a:lnTo>
                    <a:pt x="2687" y="1320"/>
                  </a:lnTo>
                  <a:lnTo>
                    <a:pt x="2687" y="1319"/>
                  </a:lnTo>
                  <a:lnTo>
                    <a:pt x="2685" y="1280"/>
                  </a:lnTo>
                  <a:lnTo>
                    <a:pt x="2680" y="1243"/>
                  </a:lnTo>
                  <a:lnTo>
                    <a:pt x="2673" y="1207"/>
                  </a:lnTo>
                  <a:lnTo>
                    <a:pt x="2661" y="1172"/>
                  </a:lnTo>
                  <a:lnTo>
                    <a:pt x="2646" y="1140"/>
                  </a:lnTo>
                  <a:lnTo>
                    <a:pt x="2629" y="1109"/>
                  </a:lnTo>
                  <a:lnTo>
                    <a:pt x="2609" y="1081"/>
                  </a:lnTo>
                  <a:lnTo>
                    <a:pt x="2585" y="1056"/>
                  </a:lnTo>
                  <a:lnTo>
                    <a:pt x="2558" y="1034"/>
                  </a:lnTo>
                  <a:lnTo>
                    <a:pt x="2528" y="1015"/>
                  </a:lnTo>
                  <a:lnTo>
                    <a:pt x="2496" y="1000"/>
                  </a:lnTo>
                  <a:lnTo>
                    <a:pt x="2460" y="989"/>
                  </a:lnTo>
                  <a:lnTo>
                    <a:pt x="2422" y="982"/>
                  </a:lnTo>
                  <a:lnTo>
                    <a:pt x="2381" y="979"/>
                  </a:lnTo>
                  <a:close/>
                  <a:moveTo>
                    <a:pt x="1050" y="979"/>
                  </a:moveTo>
                  <a:lnTo>
                    <a:pt x="1010" y="982"/>
                  </a:lnTo>
                  <a:lnTo>
                    <a:pt x="972" y="989"/>
                  </a:lnTo>
                  <a:lnTo>
                    <a:pt x="936" y="1000"/>
                  </a:lnTo>
                  <a:lnTo>
                    <a:pt x="904" y="1016"/>
                  </a:lnTo>
                  <a:lnTo>
                    <a:pt x="873" y="1035"/>
                  </a:lnTo>
                  <a:lnTo>
                    <a:pt x="847" y="1057"/>
                  </a:lnTo>
                  <a:lnTo>
                    <a:pt x="823" y="1082"/>
                  </a:lnTo>
                  <a:lnTo>
                    <a:pt x="802" y="1110"/>
                  </a:lnTo>
                  <a:lnTo>
                    <a:pt x="784" y="1141"/>
                  </a:lnTo>
                  <a:lnTo>
                    <a:pt x="770" y="1174"/>
                  </a:lnTo>
                  <a:lnTo>
                    <a:pt x="758" y="1209"/>
                  </a:lnTo>
                  <a:lnTo>
                    <a:pt x="750" y="1244"/>
                  </a:lnTo>
                  <a:lnTo>
                    <a:pt x="745" y="1282"/>
                  </a:lnTo>
                  <a:lnTo>
                    <a:pt x="744" y="1320"/>
                  </a:lnTo>
                  <a:lnTo>
                    <a:pt x="744" y="1322"/>
                  </a:lnTo>
                  <a:lnTo>
                    <a:pt x="745" y="1361"/>
                  </a:lnTo>
                  <a:lnTo>
                    <a:pt x="750" y="1397"/>
                  </a:lnTo>
                  <a:lnTo>
                    <a:pt x="758" y="1434"/>
                  </a:lnTo>
                  <a:lnTo>
                    <a:pt x="770" y="1469"/>
                  </a:lnTo>
                  <a:lnTo>
                    <a:pt x="783" y="1501"/>
                  </a:lnTo>
                  <a:lnTo>
                    <a:pt x="801" y="1531"/>
                  </a:lnTo>
                  <a:lnTo>
                    <a:pt x="822" y="1559"/>
                  </a:lnTo>
                  <a:lnTo>
                    <a:pt x="846" y="1585"/>
                  </a:lnTo>
                  <a:lnTo>
                    <a:pt x="872" y="1607"/>
                  </a:lnTo>
                  <a:lnTo>
                    <a:pt x="902" y="1626"/>
                  </a:lnTo>
                  <a:lnTo>
                    <a:pt x="934" y="1640"/>
                  </a:lnTo>
                  <a:lnTo>
                    <a:pt x="970" y="1652"/>
                  </a:lnTo>
                  <a:lnTo>
                    <a:pt x="1009" y="1658"/>
                  </a:lnTo>
                  <a:lnTo>
                    <a:pt x="1049" y="1661"/>
                  </a:lnTo>
                  <a:lnTo>
                    <a:pt x="1090" y="1658"/>
                  </a:lnTo>
                  <a:lnTo>
                    <a:pt x="1128" y="1652"/>
                  </a:lnTo>
                  <a:lnTo>
                    <a:pt x="1164" y="1640"/>
                  </a:lnTo>
                  <a:lnTo>
                    <a:pt x="1196" y="1625"/>
                  </a:lnTo>
                  <a:lnTo>
                    <a:pt x="1226" y="1606"/>
                  </a:lnTo>
                  <a:lnTo>
                    <a:pt x="1254" y="1584"/>
                  </a:lnTo>
                  <a:lnTo>
                    <a:pt x="1277" y="1559"/>
                  </a:lnTo>
                  <a:lnTo>
                    <a:pt x="1298" y="1530"/>
                  </a:lnTo>
                  <a:lnTo>
                    <a:pt x="1315" y="1499"/>
                  </a:lnTo>
                  <a:lnTo>
                    <a:pt x="1330" y="1466"/>
                  </a:lnTo>
                  <a:lnTo>
                    <a:pt x="1342" y="1432"/>
                  </a:lnTo>
                  <a:lnTo>
                    <a:pt x="1350" y="1396"/>
                  </a:lnTo>
                  <a:lnTo>
                    <a:pt x="1355" y="1359"/>
                  </a:lnTo>
                  <a:lnTo>
                    <a:pt x="1356" y="1320"/>
                  </a:lnTo>
                  <a:lnTo>
                    <a:pt x="1356" y="1319"/>
                  </a:lnTo>
                  <a:lnTo>
                    <a:pt x="1355" y="1280"/>
                  </a:lnTo>
                  <a:lnTo>
                    <a:pt x="1350" y="1243"/>
                  </a:lnTo>
                  <a:lnTo>
                    <a:pt x="1342" y="1207"/>
                  </a:lnTo>
                  <a:lnTo>
                    <a:pt x="1330" y="1172"/>
                  </a:lnTo>
                  <a:lnTo>
                    <a:pt x="1316" y="1140"/>
                  </a:lnTo>
                  <a:lnTo>
                    <a:pt x="1299" y="1109"/>
                  </a:lnTo>
                  <a:lnTo>
                    <a:pt x="1278" y="1081"/>
                  </a:lnTo>
                  <a:lnTo>
                    <a:pt x="1255" y="1056"/>
                  </a:lnTo>
                  <a:lnTo>
                    <a:pt x="1227" y="1034"/>
                  </a:lnTo>
                  <a:lnTo>
                    <a:pt x="1198" y="1015"/>
                  </a:lnTo>
                  <a:lnTo>
                    <a:pt x="1166" y="1000"/>
                  </a:lnTo>
                  <a:lnTo>
                    <a:pt x="1130" y="989"/>
                  </a:lnTo>
                  <a:lnTo>
                    <a:pt x="1092" y="982"/>
                  </a:lnTo>
                  <a:lnTo>
                    <a:pt x="1050" y="979"/>
                  </a:lnTo>
                  <a:close/>
                  <a:moveTo>
                    <a:pt x="2346" y="175"/>
                  </a:moveTo>
                  <a:lnTo>
                    <a:pt x="2342" y="176"/>
                  </a:lnTo>
                  <a:lnTo>
                    <a:pt x="2339" y="177"/>
                  </a:lnTo>
                  <a:lnTo>
                    <a:pt x="2335" y="179"/>
                  </a:lnTo>
                  <a:lnTo>
                    <a:pt x="2332" y="180"/>
                  </a:lnTo>
                  <a:lnTo>
                    <a:pt x="2191" y="221"/>
                  </a:lnTo>
                  <a:lnTo>
                    <a:pt x="2176" y="229"/>
                  </a:lnTo>
                  <a:lnTo>
                    <a:pt x="2165" y="239"/>
                  </a:lnTo>
                  <a:lnTo>
                    <a:pt x="2157" y="252"/>
                  </a:lnTo>
                  <a:lnTo>
                    <a:pt x="2154" y="267"/>
                  </a:lnTo>
                  <a:lnTo>
                    <a:pt x="2155" y="283"/>
                  </a:lnTo>
                  <a:lnTo>
                    <a:pt x="2172" y="351"/>
                  </a:lnTo>
                  <a:lnTo>
                    <a:pt x="2178" y="365"/>
                  </a:lnTo>
                  <a:lnTo>
                    <a:pt x="2188" y="376"/>
                  </a:lnTo>
                  <a:lnTo>
                    <a:pt x="2199" y="385"/>
                  </a:lnTo>
                  <a:lnTo>
                    <a:pt x="2213" y="389"/>
                  </a:lnTo>
                  <a:lnTo>
                    <a:pt x="2229" y="388"/>
                  </a:lnTo>
                  <a:lnTo>
                    <a:pt x="2243" y="387"/>
                  </a:lnTo>
                  <a:lnTo>
                    <a:pt x="2257" y="390"/>
                  </a:lnTo>
                  <a:lnTo>
                    <a:pt x="2269" y="398"/>
                  </a:lnTo>
                  <a:lnTo>
                    <a:pt x="2278" y="409"/>
                  </a:lnTo>
                  <a:lnTo>
                    <a:pt x="2284" y="421"/>
                  </a:lnTo>
                  <a:lnTo>
                    <a:pt x="2286" y="437"/>
                  </a:lnTo>
                  <a:lnTo>
                    <a:pt x="2286" y="796"/>
                  </a:lnTo>
                  <a:lnTo>
                    <a:pt x="2288" y="810"/>
                  </a:lnTo>
                  <a:lnTo>
                    <a:pt x="2295" y="821"/>
                  </a:lnTo>
                  <a:lnTo>
                    <a:pt x="2304" y="831"/>
                  </a:lnTo>
                  <a:lnTo>
                    <a:pt x="2316" y="838"/>
                  </a:lnTo>
                  <a:lnTo>
                    <a:pt x="2329" y="842"/>
                  </a:lnTo>
                  <a:lnTo>
                    <a:pt x="2343" y="844"/>
                  </a:lnTo>
                  <a:lnTo>
                    <a:pt x="2447" y="844"/>
                  </a:lnTo>
                  <a:lnTo>
                    <a:pt x="2463" y="842"/>
                  </a:lnTo>
                  <a:lnTo>
                    <a:pt x="2475" y="835"/>
                  </a:lnTo>
                  <a:lnTo>
                    <a:pt x="2483" y="825"/>
                  </a:lnTo>
                  <a:lnTo>
                    <a:pt x="2488" y="812"/>
                  </a:lnTo>
                  <a:lnTo>
                    <a:pt x="2490" y="796"/>
                  </a:lnTo>
                  <a:lnTo>
                    <a:pt x="2490" y="233"/>
                  </a:lnTo>
                  <a:lnTo>
                    <a:pt x="2489" y="219"/>
                  </a:lnTo>
                  <a:lnTo>
                    <a:pt x="2485" y="206"/>
                  </a:lnTo>
                  <a:lnTo>
                    <a:pt x="2480" y="194"/>
                  </a:lnTo>
                  <a:lnTo>
                    <a:pt x="2472" y="185"/>
                  </a:lnTo>
                  <a:lnTo>
                    <a:pt x="2460" y="177"/>
                  </a:lnTo>
                  <a:lnTo>
                    <a:pt x="2447" y="175"/>
                  </a:lnTo>
                  <a:lnTo>
                    <a:pt x="2346" y="175"/>
                  </a:lnTo>
                  <a:close/>
                  <a:moveTo>
                    <a:pt x="1121" y="170"/>
                  </a:moveTo>
                  <a:lnTo>
                    <a:pt x="1117" y="171"/>
                  </a:lnTo>
                  <a:lnTo>
                    <a:pt x="1114" y="172"/>
                  </a:lnTo>
                  <a:lnTo>
                    <a:pt x="1111" y="174"/>
                  </a:lnTo>
                  <a:lnTo>
                    <a:pt x="1108" y="175"/>
                  </a:lnTo>
                  <a:lnTo>
                    <a:pt x="967" y="216"/>
                  </a:lnTo>
                  <a:lnTo>
                    <a:pt x="952" y="223"/>
                  </a:lnTo>
                  <a:lnTo>
                    <a:pt x="940" y="234"/>
                  </a:lnTo>
                  <a:lnTo>
                    <a:pt x="933" y="246"/>
                  </a:lnTo>
                  <a:lnTo>
                    <a:pt x="930" y="262"/>
                  </a:lnTo>
                  <a:lnTo>
                    <a:pt x="931" y="278"/>
                  </a:lnTo>
                  <a:lnTo>
                    <a:pt x="948" y="346"/>
                  </a:lnTo>
                  <a:lnTo>
                    <a:pt x="954" y="359"/>
                  </a:lnTo>
                  <a:lnTo>
                    <a:pt x="963" y="371"/>
                  </a:lnTo>
                  <a:lnTo>
                    <a:pt x="975" y="379"/>
                  </a:lnTo>
                  <a:lnTo>
                    <a:pt x="989" y="384"/>
                  </a:lnTo>
                  <a:lnTo>
                    <a:pt x="1004" y="382"/>
                  </a:lnTo>
                  <a:lnTo>
                    <a:pt x="1019" y="381"/>
                  </a:lnTo>
                  <a:lnTo>
                    <a:pt x="1033" y="386"/>
                  </a:lnTo>
                  <a:lnTo>
                    <a:pt x="1044" y="393"/>
                  </a:lnTo>
                  <a:lnTo>
                    <a:pt x="1054" y="403"/>
                  </a:lnTo>
                  <a:lnTo>
                    <a:pt x="1060" y="417"/>
                  </a:lnTo>
                  <a:lnTo>
                    <a:pt x="1062" y="432"/>
                  </a:lnTo>
                  <a:lnTo>
                    <a:pt x="1062" y="792"/>
                  </a:lnTo>
                  <a:lnTo>
                    <a:pt x="1064" y="805"/>
                  </a:lnTo>
                  <a:lnTo>
                    <a:pt x="1070" y="816"/>
                  </a:lnTo>
                  <a:lnTo>
                    <a:pt x="1080" y="825"/>
                  </a:lnTo>
                  <a:lnTo>
                    <a:pt x="1091" y="833"/>
                  </a:lnTo>
                  <a:lnTo>
                    <a:pt x="1104" y="837"/>
                  </a:lnTo>
                  <a:lnTo>
                    <a:pt x="1118" y="839"/>
                  </a:lnTo>
                  <a:lnTo>
                    <a:pt x="1223" y="839"/>
                  </a:lnTo>
                  <a:lnTo>
                    <a:pt x="1239" y="837"/>
                  </a:lnTo>
                  <a:lnTo>
                    <a:pt x="1250" y="831"/>
                  </a:lnTo>
                  <a:lnTo>
                    <a:pt x="1259" y="820"/>
                  </a:lnTo>
                  <a:lnTo>
                    <a:pt x="1264" y="807"/>
                  </a:lnTo>
                  <a:lnTo>
                    <a:pt x="1266" y="792"/>
                  </a:lnTo>
                  <a:lnTo>
                    <a:pt x="1266" y="227"/>
                  </a:lnTo>
                  <a:lnTo>
                    <a:pt x="1265" y="214"/>
                  </a:lnTo>
                  <a:lnTo>
                    <a:pt x="1261" y="200"/>
                  </a:lnTo>
                  <a:lnTo>
                    <a:pt x="1255" y="189"/>
                  </a:lnTo>
                  <a:lnTo>
                    <a:pt x="1246" y="179"/>
                  </a:lnTo>
                  <a:lnTo>
                    <a:pt x="1236" y="173"/>
                  </a:lnTo>
                  <a:lnTo>
                    <a:pt x="1223" y="170"/>
                  </a:lnTo>
                  <a:lnTo>
                    <a:pt x="1121" y="170"/>
                  </a:lnTo>
                  <a:close/>
                  <a:moveTo>
                    <a:pt x="2938" y="169"/>
                  </a:moveTo>
                  <a:lnTo>
                    <a:pt x="2897" y="172"/>
                  </a:lnTo>
                  <a:lnTo>
                    <a:pt x="2859" y="178"/>
                  </a:lnTo>
                  <a:lnTo>
                    <a:pt x="2823" y="190"/>
                  </a:lnTo>
                  <a:lnTo>
                    <a:pt x="2791" y="206"/>
                  </a:lnTo>
                  <a:lnTo>
                    <a:pt x="2761" y="224"/>
                  </a:lnTo>
                  <a:lnTo>
                    <a:pt x="2734" y="246"/>
                  </a:lnTo>
                  <a:lnTo>
                    <a:pt x="2710" y="271"/>
                  </a:lnTo>
                  <a:lnTo>
                    <a:pt x="2689" y="300"/>
                  </a:lnTo>
                  <a:lnTo>
                    <a:pt x="2672" y="331"/>
                  </a:lnTo>
                  <a:lnTo>
                    <a:pt x="2657" y="364"/>
                  </a:lnTo>
                  <a:lnTo>
                    <a:pt x="2645" y="398"/>
                  </a:lnTo>
                  <a:lnTo>
                    <a:pt x="2637" y="434"/>
                  </a:lnTo>
                  <a:lnTo>
                    <a:pt x="2632" y="472"/>
                  </a:lnTo>
                  <a:lnTo>
                    <a:pt x="2631" y="510"/>
                  </a:lnTo>
                  <a:lnTo>
                    <a:pt x="2631" y="511"/>
                  </a:lnTo>
                  <a:lnTo>
                    <a:pt x="2632" y="550"/>
                  </a:lnTo>
                  <a:lnTo>
                    <a:pt x="2637" y="587"/>
                  </a:lnTo>
                  <a:lnTo>
                    <a:pt x="2645" y="623"/>
                  </a:lnTo>
                  <a:lnTo>
                    <a:pt x="2657" y="658"/>
                  </a:lnTo>
                  <a:lnTo>
                    <a:pt x="2671" y="690"/>
                  </a:lnTo>
                  <a:lnTo>
                    <a:pt x="2688" y="721"/>
                  </a:lnTo>
                  <a:lnTo>
                    <a:pt x="2709" y="749"/>
                  </a:lnTo>
                  <a:lnTo>
                    <a:pt x="2732" y="774"/>
                  </a:lnTo>
                  <a:lnTo>
                    <a:pt x="2760" y="796"/>
                  </a:lnTo>
                  <a:lnTo>
                    <a:pt x="2789" y="815"/>
                  </a:lnTo>
                  <a:lnTo>
                    <a:pt x="2821" y="830"/>
                  </a:lnTo>
                  <a:lnTo>
                    <a:pt x="2857" y="841"/>
                  </a:lnTo>
                  <a:lnTo>
                    <a:pt x="2895" y="849"/>
                  </a:lnTo>
                  <a:lnTo>
                    <a:pt x="2937" y="851"/>
                  </a:lnTo>
                  <a:lnTo>
                    <a:pt x="2977" y="847"/>
                  </a:lnTo>
                  <a:lnTo>
                    <a:pt x="3015" y="841"/>
                  </a:lnTo>
                  <a:lnTo>
                    <a:pt x="3051" y="830"/>
                  </a:lnTo>
                  <a:lnTo>
                    <a:pt x="3083" y="814"/>
                  </a:lnTo>
                  <a:lnTo>
                    <a:pt x="3114" y="795"/>
                  </a:lnTo>
                  <a:lnTo>
                    <a:pt x="3140" y="773"/>
                  </a:lnTo>
                  <a:lnTo>
                    <a:pt x="3164" y="748"/>
                  </a:lnTo>
                  <a:lnTo>
                    <a:pt x="3185" y="720"/>
                  </a:lnTo>
                  <a:lnTo>
                    <a:pt x="3203" y="689"/>
                  </a:lnTo>
                  <a:lnTo>
                    <a:pt x="3217" y="656"/>
                  </a:lnTo>
                  <a:lnTo>
                    <a:pt x="3229" y="621"/>
                  </a:lnTo>
                  <a:lnTo>
                    <a:pt x="3237" y="586"/>
                  </a:lnTo>
                  <a:lnTo>
                    <a:pt x="3242" y="548"/>
                  </a:lnTo>
                  <a:lnTo>
                    <a:pt x="3243" y="510"/>
                  </a:lnTo>
                  <a:lnTo>
                    <a:pt x="3243" y="508"/>
                  </a:lnTo>
                  <a:lnTo>
                    <a:pt x="3242" y="469"/>
                  </a:lnTo>
                  <a:lnTo>
                    <a:pt x="3237" y="433"/>
                  </a:lnTo>
                  <a:lnTo>
                    <a:pt x="3229" y="396"/>
                  </a:lnTo>
                  <a:lnTo>
                    <a:pt x="3217" y="362"/>
                  </a:lnTo>
                  <a:lnTo>
                    <a:pt x="3204" y="329"/>
                  </a:lnTo>
                  <a:lnTo>
                    <a:pt x="3186" y="299"/>
                  </a:lnTo>
                  <a:lnTo>
                    <a:pt x="3165" y="271"/>
                  </a:lnTo>
                  <a:lnTo>
                    <a:pt x="3142" y="245"/>
                  </a:lnTo>
                  <a:lnTo>
                    <a:pt x="3115" y="223"/>
                  </a:lnTo>
                  <a:lnTo>
                    <a:pt x="3085" y="204"/>
                  </a:lnTo>
                  <a:lnTo>
                    <a:pt x="3053" y="190"/>
                  </a:lnTo>
                  <a:lnTo>
                    <a:pt x="3017" y="178"/>
                  </a:lnTo>
                  <a:lnTo>
                    <a:pt x="2979" y="172"/>
                  </a:lnTo>
                  <a:lnTo>
                    <a:pt x="2938" y="169"/>
                  </a:lnTo>
                  <a:close/>
                  <a:moveTo>
                    <a:pt x="1725" y="169"/>
                  </a:moveTo>
                  <a:lnTo>
                    <a:pt x="1684" y="172"/>
                  </a:lnTo>
                  <a:lnTo>
                    <a:pt x="1645" y="178"/>
                  </a:lnTo>
                  <a:lnTo>
                    <a:pt x="1611" y="190"/>
                  </a:lnTo>
                  <a:lnTo>
                    <a:pt x="1577" y="206"/>
                  </a:lnTo>
                  <a:lnTo>
                    <a:pt x="1548" y="224"/>
                  </a:lnTo>
                  <a:lnTo>
                    <a:pt x="1521" y="246"/>
                  </a:lnTo>
                  <a:lnTo>
                    <a:pt x="1498" y="271"/>
                  </a:lnTo>
                  <a:lnTo>
                    <a:pt x="1477" y="300"/>
                  </a:lnTo>
                  <a:lnTo>
                    <a:pt x="1459" y="331"/>
                  </a:lnTo>
                  <a:lnTo>
                    <a:pt x="1444" y="364"/>
                  </a:lnTo>
                  <a:lnTo>
                    <a:pt x="1433" y="398"/>
                  </a:lnTo>
                  <a:lnTo>
                    <a:pt x="1424" y="434"/>
                  </a:lnTo>
                  <a:lnTo>
                    <a:pt x="1419" y="472"/>
                  </a:lnTo>
                  <a:lnTo>
                    <a:pt x="1418" y="510"/>
                  </a:lnTo>
                  <a:lnTo>
                    <a:pt x="1418" y="511"/>
                  </a:lnTo>
                  <a:lnTo>
                    <a:pt x="1419" y="550"/>
                  </a:lnTo>
                  <a:lnTo>
                    <a:pt x="1424" y="587"/>
                  </a:lnTo>
                  <a:lnTo>
                    <a:pt x="1433" y="623"/>
                  </a:lnTo>
                  <a:lnTo>
                    <a:pt x="1443" y="658"/>
                  </a:lnTo>
                  <a:lnTo>
                    <a:pt x="1458" y="690"/>
                  </a:lnTo>
                  <a:lnTo>
                    <a:pt x="1476" y="721"/>
                  </a:lnTo>
                  <a:lnTo>
                    <a:pt x="1497" y="749"/>
                  </a:lnTo>
                  <a:lnTo>
                    <a:pt x="1520" y="774"/>
                  </a:lnTo>
                  <a:lnTo>
                    <a:pt x="1547" y="796"/>
                  </a:lnTo>
                  <a:lnTo>
                    <a:pt x="1576" y="815"/>
                  </a:lnTo>
                  <a:lnTo>
                    <a:pt x="1609" y="830"/>
                  </a:lnTo>
                  <a:lnTo>
                    <a:pt x="1644" y="841"/>
                  </a:lnTo>
                  <a:lnTo>
                    <a:pt x="1682" y="849"/>
                  </a:lnTo>
                  <a:lnTo>
                    <a:pt x="1723" y="851"/>
                  </a:lnTo>
                  <a:lnTo>
                    <a:pt x="1765" y="847"/>
                  </a:lnTo>
                  <a:lnTo>
                    <a:pt x="1802" y="841"/>
                  </a:lnTo>
                  <a:lnTo>
                    <a:pt x="1838" y="830"/>
                  </a:lnTo>
                  <a:lnTo>
                    <a:pt x="1870" y="814"/>
                  </a:lnTo>
                  <a:lnTo>
                    <a:pt x="1901" y="795"/>
                  </a:lnTo>
                  <a:lnTo>
                    <a:pt x="1927" y="773"/>
                  </a:lnTo>
                  <a:lnTo>
                    <a:pt x="1951" y="748"/>
                  </a:lnTo>
                  <a:lnTo>
                    <a:pt x="1972" y="720"/>
                  </a:lnTo>
                  <a:lnTo>
                    <a:pt x="1990" y="689"/>
                  </a:lnTo>
                  <a:lnTo>
                    <a:pt x="2004" y="656"/>
                  </a:lnTo>
                  <a:lnTo>
                    <a:pt x="2016" y="621"/>
                  </a:lnTo>
                  <a:lnTo>
                    <a:pt x="2024" y="586"/>
                  </a:lnTo>
                  <a:lnTo>
                    <a:pt x="2029" y="548"/>
                  </a:lnTo>
                  <a:lnTo>
                    <a:pt x="2031" y="510"/>
                  </a:lnTo>
                  <a:lnTo>
                    <a:pt x="2031" y="508"/>
                  </a:lnTo>
                  <a:lnTo>
                    <a:pt x="2029" y="469"/>
                  </a:lnTo>
                  <a:lnTo>
                    <a:pt x="2024" y="433"/>
                  </a:lnTo>
                  <a:lnTo>
                    <a:pt x="2016" y="396"/>
                  </a:lnTo>
                  <a:lnTo>
                    <a:pt x="2004" y="362"/>
                  </a:lnTo>
                  <a:lnTo>
                    <a:pt x="1990" y="329"/>
                  </a:lnTo>
                  <a:lnTo>
                    <a:pt x="1973" y="299"/>
                  </a:lnTo>
                  <a:lnTo>
                    <a:pt x="1952" y="271"/>
                  </a:lnTo>
                  <a:lnTo>
                    <a:pt x="1928" y="245"/>
                  </a:lnTo>
                  <a:lnTo>
                    <a:pt x="1902" y="223"/>
                  </a:lnTo>
                  <a:lnTo>
                    <a:pt x="1873" y="204"/>
                  </a:lnTo>
                  <a:lnTo>
                    <a:pt x="1840" y="190"/>
                  </a:lnTo>
                  <a:lnTo>
                    <a:pt x="1804" y="178"/>
                  </a:lnTo>
                  <a:lnTo>
                    <a:pt x="1766" y="172"/>
                  </a:lnTo>
                  <a:lnTo>
                    <a:pt x="1725" y="169"/>
                  </a:lnTo>
                  <a:close/>
                  <a:moveTo>
                    <a:pt x="507" y="169"/>
                  </a:moveTo>
                  <a:lnTo>
                    <a:pt x="465" y="172"/>
                  </a:lnTo>
                  <a:lnTo>
                    <a:pt x="427" y="178"/>
                  </a:lnTo>
                  <a:lnTo>
                    <a:pt x="392" y="190"/>
                  </a:lnTo>
                  <a:lnTo>
                    <a:pt x="359" y="206"/>
                  </a:lnTo>
                  <a:lnTo>
                    <a:pt x="329" y="224"/>
                  </a:lnTo>
                  <a:lnTo>
                    <a:pt x="303" y="246"/>
                  </a:lnTo>
                  <a:lnTo>
                    <a:pt x="279" y="271"/>
                  </a:lnTo>
                  <a:lnTo>
                    <a:pt x="258" y="300"/>
                  </a:lnTo>
                  <a:lnTo>
                    <a:pt x="240" y="331"/>
                  </a:lnTo>
                  <a:lnTo>
                    <a:pt x="225" y="364"/>
                  </a:lnTo>
                  <a:lnTo>
                    <a:pt x="214" y="398"/>
                  </a:lnTo>
                  <a:lnTo>
                    <a:pt x="205" y="434"/>
                  </a:lnTo>
                  <a:lnTo>
                    <a:pt x="201" y="472"/>
                  </a:lnTo>
                  <a:lnTo>
                    <a:pt x="199" y="510"/>
                  </a:lnTo>
                  <a:lnTo>
                    <a:pt x="199" y="511"/>
                  </a:lnTo>
                  <a:lnTo>
                    <a:pt x="201" y="550"/>
                  </a:lnTo>
                  <a:lnTo>
                    <a:pt x="205" y="587"/>
                  </a:lnTo>
                  <a:lnTo>
                    <a:pt x="214" y="623"/>
                  </a:lnTo>
                  <a:lnTo>
                    <a:pt x="225" y="658"/>
                  </a:lnTo>
                  <a:lnTo>
                    <a:pt x="240" y="690"/>
                  </a:lnTo>
                  <a:lnTo>
                    <a:pt x="257" y="721"/>
                  </a:lnTo>
                  <a:lnTo>
                    <a:pt x="278" y="749"/>
                  </a:lnTo>
                  <a:lnTo>
                    <a:pt x="302" y="774"/>
                  </a:lnTo>
                  <a:lnTo>
                    <a:pt x="328" y="796"/>
                  </a:lnTo>
                  <a:lnTo>
                    <a:pt x="357" y="815"/>
                  </a:lnTo>
                  <a:lnTo>
                    <a:pt x="390" y="830"/>
                  </a:lnTo>
                  <a:lnTo>
                    <a:pt x="425" y="841"/>
                  </a:lnTo>
                  <a:lnTo>
                    <a:pt x="464" y="849"/>
                  </a:lnTo>
                  <a:lnTo>
                    <a:pt x="505" y="851"/>
                  </a:lnTo>
                  <a:lnTo>
                    <a:pt x="546" y="847"/>
                  </a:lnTo>
                  <a:lnTo>
                    <a:pt x="583" y="841"/>
                  </a:lnTo>
                  <a:lnTo>
                    <a:pt x="619" y="830"/>
                  </a:lnTo>
                  <a:lnTo>
                    <a:pt x="652" y="814"/>
                  </a:lnTo>
                  <a:lnTo>
                    <a:pt x="682" y="795"/>
                  </a:lnTo>
                  <a:lnTo>
                    <a:pt x="709" y="773"/>
                  </a:lnTo>
                  <a:lnTo>
                    <a:pt x="732" y="748"/>
                  </a:lnTo>
                  <a:lnTo>
                    <a:pt x="753" y="720"/>
                  </a:lnTo>
                  <a:lnTo>
                    <a:pt x="771" y="689"/>
                  </a:lnTo>
                  <a:lnTo>
                    <a:pt x="785" y="656"/>
                  </a:lnTo>
                  <a:lnTo>
                    <a:pt x="797" y="621"/>
                  </a:lnTo>
                  <a:lnTo>
                    <a:pt x="805" y="586"/>
                  </a:lnTo>
                  <a:lnTo>
                    <a:pt x="811" y="548"/>
                  </a:lnTo>
                  <a:lnTo>
                    <a:pt x="812" y="510"/>
                  </a:lnTo>
                  <a:lnTo>
                    <a:pt x="812" y="508"/>
                  </a:lnTo>
                  <a:lnTo>
                    <a:pt x="811" y="469"/>
                  </a:lnTo>
                  <a:lnTo>
                    <a:pt x="805" y="433"/>
                  </a:lnTo>
                  <a:lnTo>
                    <a:pt x="797" y="396"/>
                  </a:lnTo>
                  <a:lnTo>
                    <a:pt x="787" y="362"/>
                  </a:lnTo>
                  <a:lnTo>
                    <a:pt x="772" y="329"/>
                  </a:lnTo>
                  <a:lnTo>
                    <a:pt x="754" y="299"/>
                  </a:lnTo>
                  <a:lnTo>
                    <a:pt x="733" y="271"/>
                  </a:lnTo>
                  <a:lnTo>
                    <a:pt x="710" y="245"/>
                  </a:lnTo>
                  <a:lnTo>
                    <a:pt x="683" y="223"/>
                  </a:lnTo>
                  <a:lnTo>
                    <a:pt x="653" y="204"/>
                  </a:lnTo>
                  <a:lnTo>
                    <a:pt x="621" y="190"/>
                  </a:lnTo>
                  <a:lnTo>
                    <a:pt x="585" y="178"/>
                  </a:lnTo>
                  <a:lnTo>
                    <a:pt x="548" y="172"/>
                  </a:lnTo>
                  <a:lnTo>
                    <a:pt x="507" y="169"/>
                  </a:lnTo>
                  <a:close/>
                  <a:moveTo>
                    <a:pt x="215" y="0"/>
                  </a:moveTo>
                  <a:lnTo>
                    <a:pt x="3228" y="0"/>
                  </a:lnTo>
                  <a:lnTo>
                    <a:pt x="3262" y="2"/>
                  </a:lnTo>
                  <a:lnTo>
                    <a:pt x="3296" y="11"/>
                  </a:lnTo>
                  <a:lnTo>
                    <a:pt x="3326" y="24"/>
                  </a:lnTo>
                  <a:lnTo>
                    <a:pt x="3354" y="41"/>
                  </a:lnTo>
                  <a:lnTo>
                    <a:pt x="3380" y="63"/>
                  </a:lnTo>
                  <a:lnTo>
                    <a:pt x="3402" y="88"/>
                  </a:lnTo>
                  <a:lnTo>
                    <a:pt x="3418" y="116"/>
                  </a:lnTo>
                  <a:lnTo>
                    <a:pt x="3432" y="147"/>
                  </a:lnTo>
                  <a:lnTo>
                    <a:pt x="3439" y="180"/>
                  </a:lnTo>
                  <a:lnTo>
                    <a:pt x="3442" y="215"/>
                  </a:lnTo>
                  <a:lnTo>
                    <a:pt x="3442" y="3236"/>
                  </a:lnTo>
                  <a:lnTo>
                    <a:pt x="3439" y="3271"/>
                  </a:lnTo>
                  <a:lnTo>
                    <a:pt x="3432" y="3304"/>
                  </a:lnTo>
                  <a:lnTo>
                    <a:pt x="3418" y="3335"/>
                  </a:lnTo>
                  <a:lnTo>
                    <a:pt x="3402" y="3363"/>
                  </a:lnTo>
                  <a:lnTo>
                    <a:pt x="3380" y="3388"/>
                  </a:lnTo>
                  <a:lnTo>
                    <a:pt x="3354" y="3409"/>
                  </a:lnTo>
                  <a:lnTo>
                    <a:pt x="3326" y="3427"/>
                  </a:lnTo>
                  <a:lnTo>
                    <a:pt x="3296" y="3441"/>
                  </a:lnTo>
                  <a:lnTo>
                    <a:pt x="3262" y="3448"/>
                  </a:lnTo>
                  <a:lnTo>
                    <a:pt x="3228" y="3451"/>
                  </a:lnTo>
                  <a:lnTo>
                    <a:pt x="215" y="3451"/>
                  </a:lnTo>
                  <a:lnTo>
                    <a:pt x="180" y="3448"/>
                  </a:lnTo>
                  <a:lnTo>
                    <a:pt x="147" y="3441"/>
                  </a:lnTo>
                  <a:lnTo>
                    <a:pt x="116" y="3427"/>
                  </a:lnTo>
                  <a:lnTo>
                    <a:pt x="88" y="3409"/>
                  </a:lnTo>
                  <a:lnTo>
                    <a:pt x="63" y="3388"/>
                  </a:lnTo>
                  <a:lnTo>
                    <a:pt x="42" y="3363"/>
                  </a:lnTo>
                  <a:lnTo>
                    <a:pt x="24" y="3335"/>
                  </a:lnTo>
                  <a:lnTo>
                    <a:pt x="10" y="3304"/>
                  </a:lnTo>
                  <a:lnTo>
                    <a:pt x="3" y="3271"/>
                  </a:lnTo>
                  <a:lnTo>
                    <a:pt x="0" y="3236"/>
                  </a:lnTo>
                  <a:lnTo>
                    <a:pt x="0" y="215"/>
                  </a:lnTo>
                  <a:lnTo>
                    <a:pt x="3" y="180"/>
                  </a:lnTo>
                  <a:lnTo>
                    <a:pt x="10" y="147"/>
                  </a:lnTo>
                  <a:lnTo>
                    <a:pt x="24" y="116"/>
                  </a:lnTo>
                  <a:lnTo>
                    <a:pt x="42" y="88"/>
                  </a:lnTo>
                  <a:lnTo>
                    <a:pt x="63" y="63"/>
                  </a:lnTo>
                  <a:lnTo>
                    <a:pt x="88" y="41"/>
                  </a:lnTo>
                  <a:lnTo>
                    <a:pt x="116" y="24"/>
                  </a:lnTo>
                  <a:lnTo>
                    <a:pt x="147" y="11"/>
                  </a:lnTo>
                  <a:lnTo>
                    <a:pt x="180" y="2"/>
                  </a:lnTo>
                  <a:lnTo>
                    <a:pt x="215" y="0"/>
                  </a:lnTo>
                  <a:close/>
                </a:path>
              </a:pathLst>
            </a:custGeom>
            <a:solidFill>
              <a:schemeClr val="accent1">
                <a:lumMod val="75000"/>
              </a:schemeClr>
            </a:solid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cs typeface="Arial" panose="020B0604020202020204" pitchFamily="34" charset="0"/>
              </a:endParaRPr>
            </a:p>
          </p:txBody>
        </p:sp>
      </p:grpSp>
      <p:sp>
        <p:nvSpPr>
          <p:cNvPr id="155" name="TextBox 154">
            <a:extLst>
              <a:ext uri="{FF2B5EF4-FFF2-40B4-BE49-F238E27FC236}">
                <a16:creationId xmlns:a16="http://schemas.microsoft.com/office/drawing/2014/main" id="{A793F08A-3EEC-4149-8C05-72455D0EE6F5}"/>
              </a:ext>
            </a:extLst>
          </p:cNvPr>
          <p:cNvSpPr txBox="1"/>
          <p:nvPr/>
        </p:nvSpPr>
        <p:spPr>
          <a:xfrm>
            <a:off x="6626225" y="1189038"/>
            <a:ext cx="1414463" cy="300037"/>
          </a:xfrm>
          <a:prstGeom prst="rect">
            <a:avLst/>
          </a:prstGeom>
          <a:noFill/>
          <a:ln>
            <a:noFill/>
          </a:ln>
        </p:spPr>
        <p:txBody>
          <a:bodyPr>
            <a:spAutoFit/>
          </a:bodyPr>
          <a:lstStyle/>
          <a:p>
            <a:pPr algn="ctr" defTabSz="685800" eaLnBrk="1" fontAlgn="auto" hangingPunct="1">
              <a:spcBef>
                <a:spcPts val="0"/>
              </a:spcBef>
              <a:spcAft>
                <a:spcPts val="0"/>
              </a:spcAft>
              <a:defRPr/>
            </a:pPr>
            <a:r>
              <a:rPr lang="en-US" sz="1350" b="1" dirty="0">
                <a:solidFill>
                  <a:srgbClr val="0067C5"/>
                </a:solidFill>
                <a:cs typeface="Arial" panose="020B0604020202020204" pitchFamily="34" charset="0"/>
              </a:rPr>
              <a:t>IN THE CLOUD</a:t>
            </a:r>
          </a:p>
        </p:txBody>
      </p:sp>
      <p:sp>
        <p:nvSpPr>
          <p:cNvPr id="158" name="TextBox 157">
            <a:extLst>
              <a:ext uri="{FF2B5EF4-FFF2-40B4-BE49-F238E27FC236}">
                <a16:creationId xmlns:a16="http://schemas.microsoft.com/office/drawing/2014/main" id="{3F1E7275-D6FE-422C-934D-ED6FA0E6EF35}"/>
              </a:ext>
            </a:extLst>
          </p:cNvPr>
          <p:cNvSpPr txBox="1"/>
          <p:nvPr/>
        </p:nvSpPr>
        <p:spPr>
          <a:xfrm>
            <a:off x="676275" y="1206500"/>
            <a:ext cx="766763" cy="300038"/>
          </a:xfrm>
          <a:prstGeom prst="rect">
            <a:avLst/>
          </a:prstGeom>
          <a:noFill/>
          <a:ln>
            <a:noFill/>
          </a:ln>
        </p:spPr>
        <p:txBody>
          <a:bodyPr>
            <a:spAutoFit/>
          </a:bodyPr>
          <a:lstStyle/>
          <a:p>
            <a:pPr algn="ctr" defTabSz="685800" eaLnBrk="1" fontAlgn="auto" hangingPunct="1">
              <a:spcBef>
                <a:spcPts val="0"/>
              </a:spcBef>
              <a:spcAft>
                <a:spcPts val="0"/>
              </a:spcAft>
              <a:defRPr/>
            </a:pPr>
            <a:r>
              <a:rPr lang="en-US" sz="1350" b="1" dirty="0">
                <a:solidFill>
                  <a:srgbClr val="0067C5"/>
                </a:solidFill>
                <a:cs typeface="Arial" panose="020B0604020202020204" pitchFamily="34" charset="0"/>
              </a:rPr>
              <a:t>EDGE</a:t>
            </a:r>
          </a:p>
        </p:txBody>
      </p:sp>
      <p:sp>
        <p:nvSpPr>
          <p:cNvPr id="97" name="TextBox 96">
            <a:extLst>
              <a:ext uri="{FF2B5EF4-FFF2-40B4-BE49-F238E27FC236}">
                <a16:creationId xmlns:a16="http://schemas.microsoft.com/office/drawing/2014/main" id="{94691162-BDC1-4DD0-9ABA-C1DE1EC40A53}"/>
              </a:ext>
            </a:extLst>
          </p:cNvPr>
          <p:cNvSpPr txBox="1"/>
          <p:nvPr/>
        </p:nvSpPr>
        <p:spPr>
          <a:xfrm>
            <a:off x="3587750" y="3697288"/>
            <a:ext cx="857250" cy="190500"/>
          </a:xfrm>
          <a:prstGeom prst="rect">
            <a:avLst/>
          </a:prstGeom>
        </p:spPr>
        <p:txBody>
          <a:bodyPr lIns="68580" tIns="34290" rIns="68580" bIns="34290" anchor="ctr">
            <a:spAutoFit/>
          </a:bodyPr>
          <a:lstStyle/>
          <a:p>
            <a:pPr algn="ctr" defTabSz="685800" eaLnBrk="1" fontAlgn="auto" hangingPunct="1">
              <a:lnSpc>
                <a:spcPct val="95000"/>
              </a:lnSpc>
              <a:spcBef>
                <a:spcPts val="300"/>
              </a:spcBef>
              <a:spcAft>
                <a:spcPts val="150"/>
              </a:spcAft>
              <a:buClr>
                <a:srgbClr val="0067C5"/>
              </a:buClr>
              <a:defRPr/>
            </a:pPr>
            <a:r>
              <a:rPr lang="en-US" sz="825" b="1" dirty="0">
                <a:solidFill>
                  <a:prstClr val="black">
                    <a:lumMod val="75000"/>
                    <a:lumOff val="25000"/>
                  </a:prstClr>
                </a:solidFill>
                <a:latin typeface="Arial"/>
              </a:rPr>
              <a:t>Real-Time</a:t>
            </a:r>
          </a:p>
        </p:txBody>
      </p:sp>
      <p:cxnSp>
        <p:nvCxnSpPr>
          <p:cNvPr id="20" name="Straight Connector 19">
            <a:extLst>
              <a:ext uri="{FF2B5EF4-FFF2-40B4-BE49-F238E27FC236}">
                <a16:creationId xmlns:a16="http://schemas.microsoft.com/office/drawing/2014/main" id="{2797424F-A11D-4383-A8F1-6790B83BBA9E}"/>
              </a:ext>
            </a:extLst>
          </p:cNvPr>
          <p:cNvCxnSpPr>
            <a:cxnSpLocks/>
          </p:cNvCxnSpPr>
          <p:nvPr/>
        </p:nvCxnSpPr>
        <p:spPr>
          <a:xfrm flipH="1">
            <a:off x="4332288" y="3000375"/>
            <a:ext cx="342900" cy="452438"/>
          </a:xfrm>
          <a:prstGeom prst="line">
            <a:avLst/>
          </a:prstGeom>
          <a:ln w="28575" cap="flat" cmpd="sng" algn="ctr">
            <a:solidFill>
              <a:schemeClr val="accent1"/>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8" name="Straight Connector 97">
            <a:extLst>
              <a:ext uri="{FF2B5EF4-FFF2-40B4-BE49-F238E27FC236}">
                <a16:creationId xmlns:a16="http://schemas.microsoft.com/office/drawing/2014/main" id="{D709D005-968C-4BA6-B405-454348AE906D}"/>
              </a:ext>
            </a:extLst>
          </p:cNvPr>
          <p:cNvCxnSpPr>
            <a:cxnSpLocks/>
          </p:cNvCxnSpPr>
          <p:nvPr/>
        </p:nvCxnSpPr>
        <p:spPr>
          <a:xfrm>
            <a:off x="4132263" y="3024188"/>
            <a:ext cx="0" cy="466725"/>
          </a:xfrm>
          <a:prstGeom prst="line">
            <a:avLst/>
          </a:prstGeom>
          <a:ln w="28575" cap="flat" cmpd="sng" algn="ctr">
            <a:solidFill>
              <a:schemeClr val="accent1"/>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6143" name="Picture 53" descr="NetworkCloud-Plain">
            <a:extLst>
              <a:ext uri="{FF2B5EF4-FFF2-40B4-BE49-F238E27FC236}">
                <a16:creationId xmlns:a16="http://schemas.microsoft.com/office/drawing/2014/main" id="{FFF46D3C-30A9-4153-B12A-A7A85A7792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2625" y="2189163"/>
            <a:ext cx="1182688"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4" name="Picture 57" descr="AWS_LOGO_RGB.png">
            <a:extLst>
              <a:ext uri="{FF2B5EF4-FFF2-40B4-BE49-F238E27FC236}">
                <a16:creationId xmlns:a16="http://schemas.microsoft.com/office/drawing/2014/main" id="{2E5B70E3-E4B6-4A98-8342-03C5ABC2EA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40438" y="2393950"/>
            <a:ext cx="68103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5" name="Picture 53" descr="NetworkCloud-Plain">
            <a:extLst>
              <a:ext uri="{FF2B5EF4-FFF2-40B4-BE49-F238E27FC236}">
                <a16:creationId xmlns:a16="http://schemas.microsoft.com/office/drawing/2014/main" id="{6B035F7B-CC77-40BD-A1AA-F31667A512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800" y="1778000"/>
            <a:ext cx="1187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6" name="Picture 58">
            <a:extLst>
              <a:ext uri="{FF2B5EF4-FFF2-40B4-BE49-F238E27FC236}">
                <a16:creationId xmlns:a16="http://schemas.microsoft.com/office/drawing/2014/main" id="{9492C958-6F62-40CA-B05E-30BB139B4C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56425" y="2017713"/>
            <a:ext cx="8747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7" name="Picture 53" descr="NetworkCloud-Plain">
            <a:extLst>
              <a:ext uri="{FF2B5EF4-FFF2-40B4-BE49-F238E27FC236}">
                <a16:creationId xmlns:a16="http://schemas.microsoft.com/office/drawing/2014/main" id="{705CF141-ADA5-45FE-BF5A-EEF8961CF2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0025" y="2243138"/>
            <a:ext cx="1187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8" name="Picture 104">
            <a:extLst>
              <a:ext uri="{FF2B5EF4-FFF2-40B4-BE49-F238E27FC236}">
                <a16:creationId xmlns:a16="http://schemas.microsoft.com/office/drawing/2014/main" id="{833081AB-0CCC-4A65-BF66-57B2BF0E0D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69250" y="2555875"/>
            <a:ext cx="9429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149" name="TextBox 99">
            <a:extLst>
              <a:ext uri="{FF2B5EF4-FFF2-40B4-BE49-F238E27FC236}">
                <a16:creationId xmlns:a16="http://schemas.microsoft.com/office/drawing/2014/main" id="{00BEA76F-BFEF-4C47-8AA5-B4C53EAF75ED}"/>
              </a:ext>
            </a:extLst>
          </p:cNvPr>
          <p:cNvSpPr txBox="1">
            <a:spLocks noChangeArrowheads="1"/>
          </p:cNvSpPr>
          <p:nvPr/>
        </p:nvSpPr>
        <p:spPr bwMode="auto">
          <a:xfrm>
            <a:off x="5041900" y="3665538"/>
            <a:ext cx="85566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defTabSz="685800">
              <a:lnSpc>
                <a:spcPct val="95000"/>
              </a:lnSpc>
              <a:spcBef>
                <a:spcPts val="900"/>
              </a:spcBef>
              <a:spcAft>
                <a:spcPts val="300"/>
              </a:spcAft>
              <a:buClr>
                <a:schemeClr val="accent1"/>
              </a:buClr>
              <a:buFont typeface="Wingdings" panose="05000000000000000000" pitchFamily="2" charset="2"/>
              <a:buChar char="§"/>
              <a:defRPr sz="1600">
                <a:solidFill>
                  <a:schemeClr val="tx1"/>
                </a:solidFill>
                <a:latin typeface="Arial" panose="020B0604020202020204" pitchFamily="34" charset="0"/>
              </a:defRPr>
            </a:lvl1pPr>
            <a:lvl2pPr marL="342900" indent="-171450" defTabSz="685800">
              <a:lnSpc>
                <a:spcPct val="90000"/>
              </a:lnSpc>
              <a:spcBef>
                <a:spcPts val="150"/>
              </a:spcBef>
              <a:spcAft>
                <a:spcPts val="300"/>
              </a:spcAft>
              <a:buClr>
                <a:srgbClr val="595959"/>
              </a:buClr>
              <a:buFont typeface="Wingdings" panose="05000000000000000000" pitchFamily="2" charset="2"/>
              <a:buChar char="§"/>
              <a:defRPr sz="1300">
                <a:solidFill>
                  <a:schemeClr val="tx1"/>
                </a:solidFill>
                <a:latin typeface="Arial" panose="020B0604020202020204" pitchFamily="34" charset="0"/>
              </a:defRPr>
            </a:lvl2pPr>
            <a:lvl3pPr marL="514350" indent="-171450" defTabSz="685800">
              <a:lnSpc>
                <a:spcPct val="85000"/>
              </a:lnSpc>
              <a:spcBef>
                <a:spcPts val="150"/>
              </a:spcBef>
              <a:spcAft>
                <a:spcPts val="300"/>
              </a:spcAft>
              <a:buClr>
                <a:srgbClr val="595959"/>
              </a:buClr>
              <a:buFont typeface="Wingdings" panose="05000000000000000000" pitchFamily="2" charset="2"/>
              <a:buChar char="§"/>
              <a:defRPr sz="1200">
                <a:solidFill>
                  <a:schemeClr val="tx1"/>
                </a:solidFill>
                <a:latin typeface="Arial" panose="020B0604020202020204" pitchFamily="34" charset="0"/>
              </a:defRPr>
            </a:lvl3pPr>
            <a:lvl4pPr marL="685800" indent="-171450" defTabSz="685800">
              <a:lnSpc>
                <a:spcPct val="85000"/>
              </a:lnSpc>
              <a:spcBef>
                <a:spcPts val="150"/>
              </a:spcBef>
              <a:spcAft>
                <a:spcPts val="300"/>
              </a:spcAft>
              <a:buClr>
                <a:srgbClr val="595959"/>
              </a:buClr>
              <a:buFont typeface="Wingdings" panose="05000000000000000000" pitchFamily="2" charset="2"/>
              <a:buChar char="§"/>
              <a:defRPr sz="1000">
                <a:solidFill>
                  <a:schemeClr val="tx1"/>
                </a:solidFill>
                <a:latin typeface="Arial" panose="020B0604020202020204" pitchFamily="34" charset="0"/>
              </a:defRPr>
            </a:lvl4pPr>
            <a:lvl5pPr marL="814388" indent="-128588" defTabSz="68580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5pPr>
            <a:lvl6pPr marL="12715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6pPr>
            <a:lvl7pPr marL="17287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7pPr>
            <a:lvl8pPr marL="21859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8pPr>
            <a:lvl9pPr marL="26431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9pPr>
          </a:lstStyle>
          <a:p>
            <a:pPr algn="ctr" eaLnBrk="1" hangingPunct="1">
              <a:spcBef>
                <a:spcPts val="300"/>
              </a:spcBef>
              <a:spcAft>
                <a:spcPts val="150"/>
              </a:spcAft>
              <a:buClr>
                <a:srgbClr val="0067C5"/>
              </a:buClr>
              <a:buFontTx/>
              <a:buNone/>
            </a:pPr>
            <a:r>
              <a:rPr lang="en-US" altLang="en-US" sz="1500" b="1">
                <a:solidFill>
                  <a:srgbClr val="0067C5"/>
                </a:solidFill>
              </a:rPr>
              <a:t>DATA </a:t>
            </a:r>
            <a:br>
              <a:rPr lang="en-US" altLang="en-US" sz="1500" b="1">
                <a:solidFill>
                  <a:srgbClr val="0067C5"/>
                </a:solidFill>
              </a:rPr>
            </a:br>
            <a:r>
              <a:rPr lang="en-US" altLang="en-US" sz="1500" b="1">
                <a:solidFill>
                  <a:srgbClr val="0067C5"/>
                </a:solidFill>
              </a:rPr>
              <a:t>FABRIC</a:t>
            </a:r>
          </a:p>
        </p:txBody>
      </p:sp>
      <p:cxnSp>
        <p:nvCxnSpPr>
          <p:cNvPr id="102" name="Straight Connector 101">
            <a:extLst>
              <a:ext uri="{FF2B5EF4-FFF2-40B4-BE49-F238E27FC236}">
                <a16:creationId xmlns:a16="http://schemas.microsoft.com/office/drawing/2014/main" id="{EF7386AA-03B6-204F-9034-8D75599D38DE}"/>
              </a:ext>
            </a:extLst>
          </p:cNvPr>
          <p:cNvCxnSpPr>
            <a:cxnSpLocks/>
          </p:cNvCxnSpPr>
          <p:nvPr/>
        </p:nvCxnSpPr>
        <p:spPr>
          <a:xfrm>
            <a:off x="3656013" y="3022600"/>
            <a:ext cx="217487" cy="466725"/>
          </a:xfrm>
          <a:prstGeom prst="line">
            <a:avLst/>
          </a:prstGeom>
          <a:ln w="28575" cap="flat" cmpd="sng" algn="ctr">
            <a:solidFill>
              <a:schemeClr val="accent1"/>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7" name="Straight Connector 116">
            <a:extLst>
              <a:ext uri="{FF2B5EF4-FFF2-40B4-BE49-F238E27FC236}">
                <a16:creationId xmlns:a16="http://schemas.microsoft.com/office/drawing/2014/main" id="{F11B4054-D3B4-C04B-A549-73011B887885}"/>
              </a:ext>
            </a:extLst>
          </p:cNvPr>
          <p:cNvCxnSpPr>
            <a:cxnSpLocks/>
          </p:cNvCxnSpPr>
          <p:nvPr/>
        </p:nvCxnSpPr>
        <p:spPr>
          <a:xfrm>
            <a:off x="6808788" y="2768600"/>
            <a:ext cx="288925" cy="476250"/>
          </a:xfrm>
          <a:prstGeom prst="line">
            <a:avLst/>
          </a:prstGeom>
          <a:ln w="1270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18" name="Straight Connector 117">
            <a:extLst>
              <a:ext uri="{FF2B5EF4-FFF2-40B4-BE49-F238E27FC236}">
                <a16:creationId xmlns:a16="http://schemas.microsoft.com/office/drawing/2014/main" id="{0E4E3CF8-553B-E64A-B741-62FD0F124C1F}"/>
              </a:ext>
            </a:extLst>
          </p:cNvPr>
          <p:cNvCxnSpPr>
            <a:cxnSpLocks/>
          </p:cNvCxnSpPr>
          <p:nvPr/>
        </p:nvCxnSpPr>
        <p:spPr>
          <a:xfrm flipH="1">
            <a:off x="7612063" y="2752725"/>
            <a:ext cx="288925" cy="474663"/>
          </a:xfrm>
          <a:prstGeom prst="line">
            <a:avLst/>
          </a:prstGeom>
          <a:ln w="1270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20" name="Straight Connector 119">
            <a:extLst>
              <a:ext uri="{FF2B5EF4-FFF2-40B4-BE49-F238E27FC236}">
                <a16:creationId xmlns:a16="http://schemas.microsoft.com/office/drawing/2014/main" id="{1E95A149-6CD1-2842-99CC-5D011F69DB8D}"/>
              </a:ext>
            </a:extLst>
          </p:cNvPr>
          <p:cNvCxnSpPr>
            <a:cxnSpLocks/>
          </p:cNvCxnSpPr>
          <p:nvPr/>
        </p:nvCxnSpPr>
        <p:spPr>
          <a:xfrm>
            <a:off x="7339013" y="2441575"/>
            <a:ext cx="0" cy="881063"/>
          </a:xfrm>
          <a:prstGeom prst="line">
            <a:avLst/>
          </a:prstGeom>
          <a:ln w="1270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75" name="Text Placeholder 2">
            <a:extLst>
              <a:ext uri="{FF2B5EF4-FFF2-40B4-BE49-F238E27FC236}">
                <a16:creationId xmlns:a16="http://schemas.microsoft.com/office/drawing/2014/main" id="{501FAA16-75EB-41FF-9EBF-465258C3BCB9}"/>
              </a:ext>
            </a:extLst>
          </p:cNvPr>
          <p:cNvSpPr txBox="1">
            <a:spLocks/>
          </p:cNvSpPr>
          <p:nvPr/>
        </p:nvSpPr>
        <p:spPr bwMode="gray">
          <a:xfrm>
            <a:off x="227013" y="796925"/>
            <a:ext cx="8745537" cy="300038"/>
          </a:xfrm>
          <a:prstGeom prst="rect">
            <a:avLst/>
          </a:prstGeom>
        </p:spPr>
        <p:txBody>
          <a:bodyPr lIns="68641" tIns="34321" rIns="68641" bIns="34321"/>
          <a:lstStyle>
            <a:lvl1pPr marL="0" indent="0" algn="l" defTabSz="915216" rtl="0" eaLnBrk="1" latinLnBrk="0" hangingPunct="1">
              <a:lnSpc>
                <a:spcPct val="95000"/>
              </a:lnSpc>
              <a:spcBef>
                <a:spcPts val="0"/>
              </a:spcBef>
              <a:spcAft>
                <a:spcPts val="0"/>
              </a:spcAft>
              <a:buClr>
                <a:schemeClr val="accent1"/>
              </a:buClr>
              <a:buFont typeface="Wingdings" panose="05000000000000000000" pitchFamily="2" charset="2"/>
              <a:buNone/>
              <a:defRPr sz="1798" b="0" kern="1200">
                <a:solidFill>
                  <a:schemeClr val="accent1"/>
                </a:solidFill>
                <a:latin typeface="+mn-lt"/>
                <a:ea typeface="+mn-ea"/>
                <a:cs typeface="+mn-cs"/>
              </a:defRPr>
            </a:lvl1pPr>
            <a:lvl2pPr marL="457334" indent="0"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None/>
              <a:defRPr sz="1998" b="1" kern="1200">
                <a:solidFill>
                  <a:schemeClr val="tx1"/>
                </a:solidFill>
                <a:latin typeface="+mn-lt"/>
                <a:ea typeface="+mn-ea"/>
                <a:cs typeface="+mn-cs"/>
              </a:defRPr>
            </a:lvl2pPr>
            <a:lvl3pPr marL="914667" indent="0"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None/>
              <a:defRPr sz="1898" b="1" kern="1200">
                <a:solidFill>
                  <a:schemeClr val="tx1"/>
                </a:solidFill>
                <a:latin typeface="+mn-lt"/>
                <a:ea typeface="+mn-ea"/>
                <a:cs typeface="+mn-cs"/>
              </a:defRPr>
            </a:lvl3pPr>
            <a:lvl4pPr marL="1371998" indent="0"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None/>
              <a:defRPr sz="1600" b="1" kern="1200">
                <a:solidFill>
                  <a:schemeClr val="tx1"/>
                </a:solidFill>
                <a:latin typeface="+mn-lt"/>
                <a:ea typeface="+mn-ea"/>
                <a:cs typeface="+mn-cs"/>
              </a:defRPr>
            </a:lvl4pPr>
            <a:lvl5pPr marL="1829332" marR="0" indent="0"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None/>
              <a:tabLst/>
              <a:defRPr lang="en-US" sz="1600" b="1" kern="1200">
                <a:solidFill>
                  <a:schemeClr val="tx1"/>
                </a:solidFill>
                <a:latin typeface="+mn-lt"/>
                <a:ea typeface="+mn-ea"/>
                <a:cs typeface="+mn-cs"/>
              </a:defRPr>
            </a:lvl5pPr>
            <a:lvl6pPr marL="2286666" indent="0" algn="l" defTabSz="915216"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999" indent="0" algn="l" defTabSz="915216"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1331" indent="0" algn="l" defTabSz="915216"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8665" indent="0" algn="l" defTabSz="915216"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pPr defTabSz="686412" fontAlgn="auto">
              <a:buClr>
                <a:srgbClr val="0067C5"/>
              </a:buClr>
              <a:defRPr/>
            </a:pPr>
            <a:endParaRPr lang="en-US" sz="1349" dirty="0">
              <a:solidFill>
                <a:srgbClr val="0067C5"/>
              </a:solidFill>
            </a:endParaRPr>
          </a:p>
        </p:txBody>
      </p:sp>
      <p:sp>
        <p:nvSpPr>
          <p:cNvPr id="176155" name="Title 1">
            <a:extLst>
              <a:ext uri="{FF2B5EF4-FFF2-40B4-BE49-F238E27FC236}">
                <a16:creationId xmlns:a16="http://schemas.microsoft.com/office/drawing/2014/main" id="{6A742A73-7D47-4C18-BD0B-CA5B5BE65247}"/>
              </a:ext>
            </a:extLst>
          </p:cNvPr>
          <p:cNvSpPr txBox="1">
            <a:spLocks noChangeArrowheads="1"/>
          </p:cNvSpPr>
          <p:nvPr/>
        </p:nvSpPr>
        <p:spPr bwMode="auto">
          <a:xfrm>
            <a:off x="1" y="171450"/>
            <a:ext cx="9144000"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41" tIns="34321" rIns="68641" bIns="34321" anchor="b"/>
          <a:lstStyle>
            <a:lvl1pPr defTabSz="685800">
              <a:lnSpc>
                <a:spcPct val="95000"/>
              </a:lnSpc>
              <a:spcBef>
                <a:spcPts val="900"/>
              </a:spcBef>
              <a:spcAft>
                <a:spcPts val="300"/>
              </a:spcAft>
              <a:buClr>
                <a:schemeClr val="accent1"/>
              </a:buClr>
              <a:buFont typeface="Wingdings" panose="05000000000000000000" pitchFamily="2" charset="2"/>
              <a:buChar char="§"/>
              <a:defRPr sz="1600">
                <a:solidFill>
                  <a:schemeClr val="tx1"/>
                </a:solidFill>
                <a:latin typeface="Arial" panose="020B0604020202020204" pitchFamily="34" charset="0"/>
              </a:defRPr>
            </a:lvl1pPr>
            <a:lvl2pPr marL="342900" indent="-171450" defTabSz="685800">
              <a:lnSpc>
                <a:spcPct val="90000"/>
              </a:lnSpc>
              <a:spcBef>
                <a:spcPts val="150"/>
              </a:spcBef>
              <a:spcAft>
                <a:spcPts val="300"/>
              </a:spcAft>
              <a:buClr>
                <a:srgbClr val="595959"/>
              </a:buClr>
              <a:buFont typeface="Wingdings" panose="05000000000000000000" pitchFamily="2" charset="2"/>
              <a:buChar char="§"/>
              <a:defRPr sz="1300">
                <a:solidFill>
                  <a:schemeClr val="tx1"/>
                </a:solidFill>
                <a:latin typeface="Arial" panose="020B0604020202020204" pitchFamily="34" charset="0"/>
              </a:defRPr>
            </a:lvl2pPr>
            <a:lvl3pPr marL="514350" indent="-171450" defTabSz="685800">
              <a:lnSpc>
                <a:spcPct val="85000"/>
              </a:lnSpc>
              <a:spcBef>
                <a:spcPts val="150"/>
              </a:spcBef>
              <a:spcAft>
                <a:spcPts val="300"/>
              </a:spcAft>
              <a:buClr>
                <a:srgbClr val="595959"/>
              </a:buClr>
              <a:buFont typeface="Wingdings" panose="05000000000000000000" pitchFamily="2" charset="2"/>
              <a:buChar char="§"/>
              <a:defRPr sz="1200">
                <a:solidFill>
                  <a:schemeClr val="tx1"/>
                </a:solidFill>
                <a:latin typeface="Arial" panose="020B0604020202020204" pitchFamily="34" charset="0"/>
              </a:defRPr>
            </a:lvl3pPr>
            <a:lvl4pPr marL="685800" indent="-171450" defTabSz="685800">
              <a:lnSpc>
                <a:spcPct val="85000"/>
              </a:lnSpc>
              <a:spcBef>
                <a:spcPts val="150"/>
              </a:spcBef>
              <a:spcAft>
                <a:spcPts val="300"/>
              </a:spcAft>
              <a:buClr>
                <a:srgbClr val="595959"/>
              </a:buClr>
              <a:buFont typeface="Wingdings" panose="05000000000000000000" pitchFamily="2" charset="2"/>
              <a:buChar char="§"/>
              <a:defRPr sz="1000">
                <a:solidFill>
                  <a:schemeClr val="tx1"/>
                </a:solidFill>
                <a:latin typeface="Arial" panose="020B0604020202020204" pitchFamily="34" charset="0"/>
              </a:defRPr>
            </a:lvl4pPr>
            <a:lvl5pPr marL="814388" indent="-128588" defTabSz="68580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5pPr>
            <a:lvl6pPr marL="12715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6pPr>
            <a:lvl7pPr marL="17287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7pPr>
            <a:lvl8pPr marL="21859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8pPr>
            <a:lvl9pPr marL="26431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9pPr>
          </a:lstStyle>
          <a:p>
            <a:pPr eaLnBrk="1" hangingPunct="1">
              <a:lnSpc>
                <a:spcPct val="80000"/>
              </a:lnSpc>
              <a:spcBef>
                <a:spcPct val="0"/>
              </a:spcBef>
              <a:spcAft>
                <a:spcPct val="0"/>
              </a:spcAft>
              <a:buClrTx/>
              <a:buFontTx/>
              <a:buNone/>
            </a:pPr>
            <a:endParaRPr lang="en-US" altLang="en-US" sz="3000" b="1" dirty="0">
              <a:latin typeface="+mj-lt"/>
              <a:ea typeface="+mj-ea"/>
              <a:cs typeface="+mj-cs"/>
            </a:endParaRPr>
          </a:p>
        </p:txBody>
      </p:sp>
      <p:sp>
        <p:nvSpPr>
          <p:cNvPr id="7" name="Title 6">
            <a:extLst>
              <a:ext uri="{FF2B5EF4-FFF2-40B4-BE49-F238E27FC236}">
                <a16:creationId xmlns:a16="http://schemas.microsoft.com/office/drawing/2014/main" id="{5E2C0053-1A07-8D43-B3F1-70DA8E8C62EA}"/>
              </a:ext>
            </a:extLst>
          </p:cNvPr>
          <p:cNvSpPr>
            <a:spLocks noGrp="1"/>
          </p:cNvSpPr>
          <p:nvPr>
            <p:ph type="ctrTitle"/>
          </p:nvPr>
        </p:nvSpPr>
        <p:spPr>
          <a:xfrm>
            <a:off x="44450" y="414183"/>
            <a:ext cx="8745537" cy="437508"/>
          </a:xfrm>
        </p:spPr>
        <p:txBody>
          <a:bodyPr/>
          <a:lstStyle/>
          <a:p>
            <a:r>
              <a:rPr lang="en-US" dirty="0"/>
              <a:t>The Most Cloud Connected CI Platform</a:t>
            </a:r>
            <a:br>
              <a:rPr lang="en-US" dirty="0"/>
            </a:br>
            <a:br>
              <a:rPr lang="en-US" dirty="0"/>
            </a:br>
            <a:endParaRPr lang="en-US" dirty="0"/>
          </a:p>
        </p:txBody>
      </p:sp>
      <p:sp>
        <p:nvSpPr>
          <p:cNvPr id="82" name="Slide Number Placeholder 3">
            <a:extLst>
              <a:ext uri="{FF2B5EF4-FFF2-40B4-BE49-F238E27FC236}">
                <a16:creationId xmlns:a16="http://schemas.microsoft.com/office/drawing/2014/main" id="{BEBB9BFF-4B75-4948-AC99-0940E700A69A}"/>
              </a:ext>
            </a:extLst>
          </p:cNvPr>
          <p:cNvSpPr>
            <a:spLocks noGrp="1"/>
          </p:cNvSpPr>
          <p:nvPr>
            <p:ph type="sldNum" sz="quarter" idx="4294967295"/>
          </p:nvPr>
        </p:nvSpPr>
        <p:spPr>
          <a:xfrm>
            <a:off x="0" y="4846638"/>
            <a:ext cx="336550" cy="195262"/>
          </a:xfrm>
        </p:spPr>
        <p:txBody>
          <a:bodyPr/>
          <a:lstStyle/>
          <a:p>
            <a:pPr defTabSz="685800" eaLnBrk="1" fontAlgn="auto" hangingPunct="1">
              <a:spcBef>
                <a:spcPts val="0"/>
              </a:spcBef>
              <a:spcAft>
                <a:spcPts val="0"/>
              </a:spcAft>
              <a:defRPr/>
            </a:pPr>
            <a:fld id="{229170CA-3CFA-46F7-B28B-7717F8B77ECF}" type="slidenum">
              <a:rPr smtClean="0">
                <a:solidFill>
                  <a:srgbClr val="A2A5A2">
                    <a:lumMod val="50000"/>
                  </a:srgbClr>
                </a:solidFill>
                <a:latin typeface="Arial"/>
              </a:rPr>
              <a:pPr defTabSz="685800" eaLnBrk="1" fontAlgn="auto" hangingPunct="1">
                <a:spcBef>
                  <a:spcPts val="0"/>
                </a:spcBef>
                <a:spcAft>
                  <a:spcPts val="0"/>
                </a:spcAft>
                <a:defRPr/>
              </a:pPr>
              <a:t>37</a:t>
            </a:fld>
            <a:endParaRPr>
              <a:solidFill>
                <a:srgbClr val="A2A5A2">
                  <a:lumMod val="50000"/>
                </a:srgbClr>
              </a:solidFill>
              <a:latin typeface="Arial"/>
            </a:endParaRPr>
          </a:p>
        </p:txBody>
      </p:sp>
      <p:sp>
        <p:nvSpPr>
          <p:cNvPr id="176157" name="Footer Placeholder 1">
            <a:extLst>
              <a:ext uri="{FF2B5EF4-FFF2-40B4-BE49-F238E27FC236}">
                <a16:creationId xmlns:a16="http://schemas.microsoft.com/office/drawing/2014/main" id="{4FADBF6C-932B-4BDB-A228-4B08867FAE14}"/>
              </a:ext>
            </a:extLst>
          </p:cNvPr>
          <p:cNvSpPr>
            <a:spLocks noGrp="1" noChangeArrowheads="1"/>
          </p:cNvSpPr>
          <p:nvPr>
            <p:ph type="ftr" sz="quarter" idx="4294967295"/>
          </p:nvPr>
        </p:nvSpPr>
        <p:spPr bwMode="auto">
          <a:xfrm>
            <a:off x="557213" y="4854575"/>
            <a:ext cx="4905375" cy="1809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rtlCol="0" anchor="b" anchorCtr="0" compatLnSpc="1">
            <a:prstTxWarp prst="textNoShape">
              <a:avLst/>
            </a:prstTxWarp>
            <a:noAutofit/>
          </a:bodyPr>
          <a:lstStyle>
            <a:defPPr>
              <a:defRPr lang="en-US"/>
            </a:defPPr>
            <a:lvl1pPr algn="l" defTabSz="686412" rtl="0" eaLnBrk="0" fontAlgn="base" hangingPunct="0">
              <a:spcBef>
                <a:spcPct val="0"/>
              </a:spcBef>
              <a:spcAft>
                <a:spcPct val="0"/>
              </a:spcAft>
              <a:defRPr lang="en-US" sz="600" kern="1200">
                <a:solidFill>
                  <a:srgbClr val="A2A5A2">
                    <a:lumMod val="50000"/>
                  </a:srgbClr>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eaLnBrk="1" hangingPunct="1">
              <a:lnSpc>
                <a:spcPct val="100000"/>
              </a:lnSpc>
              <a:spcBef>
                <a:spcPct val="0"/>
              </a:spcBef>
              <a:spcAft>
                <a:spcPct val="0"/>
              </a:spcAft>
              <a:buClrTx/>
              <a:buFontTx/>
              <a:buNone/>
            </a:pPr>
            <a:r>
              <a:rPr lang="en-US"/>
              <a:t>© 2018 NetApp, Inc. All rights reserved.  </a:t>
            </a:r>
            <a:endParaRPr altLang="en-US" sz="600" dirty="0">
              <a:solidFill>
                <a:srgbClr val="505350"/>
              </a:solidFill>
            </a:endParaRPr>
          </a:p>
        </p:txBody>
      </p:sp>
      <p:pic>
        <p:nvPicPr>
          <p:cNvPr id="176158" name="Picture 1">
            <a:extLst>
              <a:ext uri="{FF2B5EF4-FFF2-40B4-BE49-F238E27FC236}">
                <a16:creationId xmlns:a16="http://schemas.microsoft.com/office/drawing/2014/main" id="{C1F20E74-A495-476D-A1C2-73806EB63C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61188" y="3276600"/>
            <a:ext cx="744537"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6159" name="Group 105">
            <a:extLst>
              <a:ext uri="{FF2B5EF4-FFF2-40B4-BE49-F238E27FC236}">
                <a16:creationId xmlns:a16="http://schemas.microsoft.com/office/drawing/2014/main" id="{A6C3D39B-77A8-4A14-8B95-A98B599C69FE}"/>
              </a:ext>
            </a:extLst>
          </p:cNvPr>
          <p:cNvGrpSpPr>
            <a:grpSpLocks/>
          </p:cNvGrpSpPr>
          <p:nvPr/>
        </p:nvGrpSpPr>
        <p:grpSpPr bwMode="auto">
          <a:xfrm>
            <a:off x="2900363" y="2149475"/>
            <a:ext cx="663575" cy="963613"/>
            <a:chOff x="4386807" y="4195396"/>
            <a:chExt cx="1019528" cy="1514839"/>
          </a:xfrm>
        </p:grpSpPr>
        <p:grpSp>
          <p:nvGrpSpPr>
            <p:cNvPr id="176190" name="Group 54">
              <a:extLst>
                <a:ext uri="{FF2B5EF4-FFF2-40B4-BE49-F238E27FC236}">
                  <a16:creationId xmlns:a16="http://schemas.microsoft.com/office/drawing/2014/main" id="{8C112791-0540-47A7-90C9-4649389F14B3}"/>
                </a:ext>
              </a:extLst>
            </p:cNvPr>
            <p:cNvGrpSpPr>
              <a:grpSpLocks noChangeAspect="1"/>
            </p:cNvGrpSpPr>
            <p:nvPr/>
          </p:nvGrpSpPr>
          <p:grpSpPr bwMode="auto">
            <a:xfrm>
              <a:off x="4474657" y="4195396"/>
              <a:ext cx="843828" cy="843828"/>
              <a:chOff x="1222" y="2021"/>
              <a:chExt cx="575" cy="575"/>
            </a:xfrm>
          </p:grpSpPr>
          <p:sp>
            <p:nvSpPr>
              <p:cNvPr id="111" name="Freeform 56">
                <a:extLst>
                  <a:ext uri="{FF2B5EF4-FFF2-40B4-BE49-F238E27FC236}">
                    <a16:creationId xmlns:a16="http://schemas.microsoft.com/office/drawing/2014/main" id="{F34A9722-18EA-427F-A03D-0E73E7ED5B49}"/>
                  </a:ext>
                </a:extLst>
              </p:cNvPr>
              <p:cNvSpPr>
                <a:spLocks/>
              </p:cNvSpPr>
              <p:nvPr/>
            </p:nvSpPr>
            <p:spPr bwMode="auto">
              <a:xfrm>
                <a:off x="1235" y="2021"/>
                <a:ext cx="534" cy="207"/>
              </a:xfrm>
              <a:custGeom>
                <a:avLst/>
                <a:gdLst>
                  <a:gd name="T0" fmla="*/ 1850 w 3184"/>
                  <a:gd name="T1" fmla="*/ 13 h 1251"/>
                  <a:gd name="T2" fmla="*/ 2151 w 3184"/>
                  <a:gd name="T3" fmla="*/ 77 h 1251"/>
                  <a:gd name="T4" fmla="*/ 2428 w 3184"/>
                  <a:gd name="T5" fmla="*/ 190 h 1251"/>
                  <a:gd name="T6" fmla="*/ 2681 w 3184"/>
                  <a:gd name="T7" fmla="*/ 349 h 1251"/>
                  <a:gd name="T8" fmla="*/ 2901 w 3184"/>
                  <a:gd name="T9" fmla="*/ 547 h 1251"/>
                  <a:gd name="T10" fmla="*/ 3084 w 3184"/>
                  <a:gd name="T11" fmla="*/ 779 h 1251"/>
                  <a:gd name="T12" fmla="*/ 3137 w 3184"/>
                  <a:gd name="T13" fmla="*/ 954 h 1251"/>
                  <a:gd name="T14" fmla="*/ 3004 w 3184"/>
                  <a:gd name="T15" fmla="*/ 988 h 1251"/>
                  <a:gd name="T16" fmla="*/ 2949 w 3184"/>
                  <a:gd name="T17" fmla="*/ 1013 h 1251"/>
                  <a:gd name="T18" fmla="*/ 2941 w 3184"/>
                  <a:gd name="T19" fmla="*/ 1018 h 1251"/>
                  <a:gd name="T20" fmla="*/ 2834 w 3184"/>
                  <a:gd name="T21" fmla="*/ 1097 h 1251"/>
                  <a:gd name="T22" fmla="*/ 2744 w 3184"/>
                  <a:gd name="T23" fmla="*/ 1188 h 1251"/>
                  <a:gd name="T24" fmla="*/ 2654 w 3184"/>
                  <a:gd name="T25" fmla="*/ 1240 h 1251"/>
                  <a:gd name="T26" fmla="*/ 2557 w 3184"/>
                  <a:gd name="T27" fmla="*/ 1248 h 1251"/>
                  <a:gd name="T28" fmla="*/ 2524 w 3184"/>
                  <a:gd name="T29" fmla="*/ 1240 h 1251"/>
                  <a:gd name="T30" fmla="*/ 2438 w 3184"/>
                  <a:gd name="T31" fmla="*/ 1192 h 1251"/>
                  <a:gd name="T32" fmla="*/ 2383 w 3184"/>
                  <a:gd name="T33" fmla="*/ 1134 h 1251"/>
                  <a:gd name="T34" fmla="*/ 2242 w 3184"/>
                  <a:gd name="T35" fmla="*/ 1021 h 1251"/>
                  <a:gd name="T36" fmla="*/ 2088 w 3184"/>
                  <a:gd name="T37" fmla="*/ 961 h 1251"/>
                  <a:gd name="T38" fmla="*/ 1947 w 3184"/>
                  <a:gd name="T39" fmla="*/ 951 h 1251"/>
                  <a:gd name="T40" fmla="*/ 1903 w 3184"/>
                  <a:gd name="T41" fmla="*/ 954 h 1251"/>
                  <a:gd name="T42" fmla="*/ 1748 w 3184"/>
                  <a:gd name="T43" fmla="*/ 996 h 1251"/>
                  <a:gd name="T44" fmla="*/ 1604 w 3184"/>
                  <a:gd name="T45" fmla="*/ 1091 h 1251"/>
                  <a:gd name="T46" fmla="*/ 1531 w 3184"/>
                  <a:gd name="T47" fmla="*/ 1168 h 1251"/>
                  <a:gd name="T48" fmla="*/ 1449 w 3184"/>
                  <a:gd name="T49" fmla="*/ 1229 h 1251"/>
                  <a:gd name="T50" fmla="*/ 1386 w 3184"/>
                  <a:gd name="T51" fmla="*/ 1248 h 1251"/>
                  <a:gd name="T52" fmla="*/ 1321 w 3184"/>
                  <a:gd name="T53" fmla="*/ 1249 h 1251"/>
                  <a:gd name="T54" fmla="*/ 1228 w 3184"/>
                  <a:gd name="T55" fmla="*/ 1211 h 1251"/>
                  <a:gd name="T56" fmla="*/ 1138 w 3184"/>
                  <a:gd name="T57" fmla="*/ 1123 h 1251"/>
                  <a:gd name="T58" fmla="*/ 1021 w 3184"/>
                  <a:gd name="T59" fmla="*/ 1023 h 1251"/>
                  <a:gd name="T60" fmla="*/ 976 w 3184"/>
                  <a:gd name="T61" fmla="*/ 999 h 1251"/>
                  <a:gd name="T62" fmla="*/ 919 w 3184"/>
                  <a:gd name="T63" fmla="*/ 977 h 1251"/>
                  <a:gd name="T64" fmla="*/ 772 w 3184"/>
                  <a:gd name="T65" fmla="*/ 951 h 1251"/>
                  <a:gd name="T66" fmla="*/ 622 w 3184"/>
                  <a:gd name="T67" fmla="*/ 970 h 1251"/>
                  <a:gd name="T68" fmla="*/ 519 w 3184"/>
                  <a:gd name="T69" fmla="*/ 1010 h 1251"/>
                  <a:gd name="T70" fmla="*/ 504 w 3184"/>
                  <a:gd name="T71" fmla="*/ 1018 h 1251"/>
                  <a:gd name="T72" fmla="*/ 397 w 3184"/>
                  <a:gd name="T73" fmla="*/ 1097 h 1251"/>
                  <a:gd name="T74" fmla="*/ 308 w 3184"/>
                  <a:gd name="T75" fmla="*/ 1188 h 1251"/>
                  <a:gd name="T76" fmla="*/ 218 w 3184"/>
                  <a:gd name="T77" fmla="*/ 1240 h 1251"/>
                  <a:gd name="T78" fmla="*/ 120 w 3184"/>
                  <a:gd name="T79" fmla="*/ 1248 h 1251"/>
                  <a:gd name="T80" fmla="*/ 87 w 3184"/>
                  <a:gd name="T81" fmla="*/ 1240 h 1251"/>
                  <a:gd name="T82" fmla="*/ 0 w 3184"/>
                  <a:gd name="T83" fmla="*/ 1190 h 1251"/>
                  <a:gd name="T84" fmla="*/ 115 w 3184"/>
                  <a:gd name="T85" fmla="*/ 919 h 1251"/>
                  <a:gd name="T86" fmla="*/ 272 w 3184"/>
                  <a:gd name="T87" fmla="*/ 674 h 1251"/>
                  <a:gd name="T88" fmla="*/ 468 w 3184"/>
                  <a:gd name="T89" fmla="*/ 460 h 1251"/>
                  <a:gd name="T90" fmla="*/ 697 w 3184"/>
                  <a:gd name="T91" fmla="*/ 281 h 1251"/>
                  <a:gd name="T92" fmla="*/ 955 w 3184"/>
                  <a:gd name="T93" fmla="*/ 142 h 1251"/>
                  <a:gd name="T94" fmla="*/ 1236 w 3184"/>
                  <a:gd name="T95" fmla="*/ 47 h 1251"/>
                  <a:gd name="T96" fmla="*/ 1537 w 3184"/>
                  <a:gd name="T97" fmla="*/ 3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4" h="1251">
                    <a:moveTo>
                      <a:pt x="1641" y="0"/>
                    </a:moveTo>
                    <a:lnTo>
                      <a:pt x="1747" y="3"/>
                    </a:lnTo>
                    <a:lnTo>
                      <a:pt x="1850" y="13"/>
                    </a:lnTo>
                    <a:lnTo>
                      <a:pt x="1953" y="29"/>
                    </a:lnTo>
                    <a:lnTo>
                      <a:pt x="2052" y="49"/>
                    </a:lnTo>
                    <a:lnTo>
                      <a:pt x="2151" y="77"/>
                    </a:lnTo>
                    <a:lnTo>
                      <a:pt x="2246" y="109"/>
                    </a:lnTo>
                    <a:lnTo>
                      <a:pt x="2338" y="147"/>
                    </a:lnTo>
                    <a:lnTo>
                      <a:pt x="2428" y="190"/>
                    </a:lnTo>
                    <a:lnTo>
                      <a:pt x="2516" y="238"/>
                    </a:lnTo>
                    <a:lnTo>
                      <a:pt x="2600" y="291"/>
                    </a:lnTo>
                    <a:lnTo>
                      <a:pt x="2681" y="349"/>
                    </a:lnTo>
                    <a:lnTo>
                      <a:pt x="2757" y="411"/>
                    </a:lnTo>
                    <a:lnTo>
                      <a:pt x="2831" y="477"/>
                    </a:lnTo>
                    <a:lnTo>
                      <a:pt x="2901" y="547"/>
                    </a:lnTo>
                    <a:lnTo>
                      <a:pt x="2966" y="620"/>
                    </a:lnTo>
                    <a:lnTo>
                      <a:pt x="3027" y="698"/>
                    </a:lnTo>
                    <a:lnTo>
                      <a:pt x="3084" y="779"/>
                    </a:lnTo>
                    <a:lnTo>
                      <a:pt x="3135" y="864"/>
                    </a:lnTo>
                    <a:lnTo>
                      <a:pt x="3184" y="951"/>
                    </a:lnTo>
                    <a:lnTo>
                      <a:pt x="3137" y="954"/>
                    </a:lnTo>
                    <a:lnTo>
                      <a:pt x="3092" y="962"/>
                    </a:lnTo>
                    <a:lnTo>
                      <a:pt x="3048" y="972"/>
                    </a:lnTo>
                    <a:lnTo>
                      <a:pt x="3004" y="988"/>
                    </a:lnTo>
                    <a:lnTo>
                      <a:pt x="2962" y="1007"/>
                    </a:lnTo>
                    <a:lnTo>
                      <a:pt x="2955" y="1010"/>
                    </a:lnTo>
                    <a:lnTo>
                      <a:pt x="2949" y="1013"/>
                    </a:lnTo>
                    <a:lnTo>
                      <a:pt x="2945" y="1016"/>
                    </a:lnTo>
                    <a:lnTo>
                      <a:pt x="2943" y="1017"/>
                    </a:lnTo>
                    <a:lnTo>
                      <a:pt x="2941" y="1018"/>
                    </a:lnTo>
                    <a:lnTo>
                      <a:pt x="2902" y="1042"/>
                    </a:lnTo>
                    <a:lnTo>
                      <a:pt x="2867" y="1068"/>
                    </a:lnTo>
                    <a:lnTo>
                      <a:pt x="2834" y="1097"/>
                    </a:lnTo>
                    <a:lnTo>
                      <a:pt x="2801" y="1127"/>
                    </a:lnTo>
                    <a:lnTo>
                      <a:pt x="2772" y="1161"/>
                    </a:lnTo>
                    <a:lnTo>
                      <a:pt x="2744" y="1188"/>
                    </a:lnTo>
                    <a:lnTo>
                      <a:pt x="2715" y="1211"/>
                    </a:lnTo>
                    <a:lnTo>
                      <a:pt x="2685" y="1228"/>
                    </a:lnTo>
                    <a:lnTo>
                      <a:pt x="2654" y="1240"/>
                    </a:lnTo>
                    <a:lnTo>
                      <a:pt x="2622" y="1249"/>
                    </a:lnTo>
                    <a:lnTo>
                      <a:pt x="2590" y="1251"/>
                    </a:lnTo>
                    <a:lnTo>
                      <a:pt x="2557" y="1248"/>
                    </a:lnTo>
                    <a:lnTo>
                      <a:pt x="2556" y="1248"/>
                    </a:lnTo>
                    <a:lnTo>
                      <a:pt x="2554" y="1248"/>
                    </a:lnTo>
                    <a:lnTo>
                      <a:pt x="2524" y="1240"/>
                    </a:lnTo>
                    <a:lnTo>
                      <a:pt x="2494" y="1229"/>
                    </a:lnTo>
                    <a:lnTo>
                      <a:pt x="2466" y="1213"/>
                    </a:lnTo>
                    <a:lnTo>
                      <a:pt x="2438" y="1192"/>
                    </a:lnTo>
                    <a:lnTo>
                      <a:pt x="2412" y="1168"/>
                    </a:lnTo>
                    <a:lnTo>
                      <a:pt x="2388" y="1139"/>
                    </a:lnTo>
                    <a:lnTo>
                      <a:pt x="2383" y="1134"/>
                    </a:lnTo>
                    <a:lnTo>
                      <a:pt x="2338" y="1090"/>
                    </a:lnTo>
                    <a:lnTo>
                      <a:pt x="2290" y="1053"/>
                    </a:lnTo>
                    <a:lnTo>
                      <a:pt x="2242" y="1021"/>
                    </a:lnTo>
                    <a:lnTo>
                      <a:pt x="2192" y="995"/>
                    </a:lnTo>
                    <a:lnTo>
                      <a:pt x="2140" y="975"/>
                    </a:lnTo>
                    <a:lnTo>
                      <a:pt x="2088" y="961"/>
                    </a:lnTo>
                    <a:lnTo>
                      <a:pt x="2034" y="953"/>
                    </a:lnTo>
                    <a:lnTo>
                      <a:pt x="1978" y="951"/>
                    </a:lnTo>
                    <a:lnTo>
                      <a:pt x="1947" y="951"/>
                    </a:lnTo>
                    <a:lnTo>
                      <a:pt x="1914" y="954"/>
                    </a:lnTo>
                    <a:lnTo>
                      <a:pt x="1909" y="953"/>
                    </a:lnTo>
                    <a:lnTo>
                      <a:pt x="1903" y="954"/>
                    </a:lnTo>
                    <a:lnTo>
                      <a:pt x="1850" y="963"/>
                    </a:lnTo>
                    <a:lnTo>
                      <a:pt x="1798" y="976"/>
                    </a:lnTo>
                    <a:lnTo>
                      <a:pt x="1748" y="996"/>
                    </a:lnTo>
                    <a:lnTo>
                      <a:pt x="1699" y="1022"/>
                    </a:lnTo>
                    <a:lnTo>
                      <a:pt x="1651" y="1054"/>
                    </a:lnTo>
                    <a:lnTo>
                      <a:pt x="1604" y="1091"/>
                    </a:lnTo>
                    <a:lnTo>
                      <a:pt x="1559" y="1134"/>
                    </a:lnTo>
                    <a:lnTo>
                      <a:pt x="1556" y="1139"/>
                    </a:lnTo>
                    <a:lnTo>
                      <a:pt x="1531" y="1168"/>
                    </a:lnTo>
                    <a:lnTo>
                      <a:pt x="1505" y="1192"/>
                    </a:lnTo>
                    <a:lnTo>
                      <a:pt x="1478" y="1213"/>
                    </a:lnTo>
                    <a:lnTo>
                      <a:pt x="1449" y="1229"/>
                    </a:lnTo>
                    <a:lnTo>
                      <a:pt x="1420" y="1240"/>
                    </a:lnTo>
                    <a:lnTo>
                      <a:pt x="1390" y="1248"/>
                    </a:lnTo>
                    <a:lnTo>
                      <a:pt x="1386" y="1248"/>
                    </a:lnTo>
                    <a:lnTo>
                      <a:pt x="1386" y="1248"/>
                    </a:lnTo>
                    <a:lnTo>
                      <a:pt x="1354" y="1251"/>
                    </a:lnTo>
                    <a:lnTo>
                      <a:pt x="1321" y="1249"/>
                    </a:lnTo>
                    <a:lnTo>
                      <a:pt x="1290" y="1240"/>
                    </a:lnTo>
                    <a:lnTo>
                      <a:pt x="1259" y="1228"/>
                    </a:lnTo>
                    <a:lnTo>
                      <a:pt x="1228" y="1211"/>
                    </a:lnTo>
                    <a:lnTo>
                      <a:pt x="1199" y="1188"/>
                    </a:lnTo>
                    <a:lnTo>
                      <a:pt x="1172" y="1161"/>
                    </a:lnTo>
                    <a:lnTo>
                      <a:pt x="1138" y="1123"/>
                    </a:lnTo>
                    <a:lnTo>
                      <a:pt x="1102" y="1087"/>
                    </a:lnTo>
                    <a:lnTo>
                      <a:pt x="1063" y="1054"/>
                    </a:lnTo>
                    <a:lnTo>
                      <a:pt x="1021" y="1023"/>
                    </a:lnTo>
                    <a:lnTo>
                      <a:pt x="1015" y="1019"/>
                    </a:lnTo>
                    <a:lnTo>
                      <a:pt x="1008" y="1015"/>
                    </a:lnTo>
                    <a:lnTo>
                      <a:pt x="976" y="999"/>
                    </a:lnTo>
                    <a:lnTo>
                      <a:pt x="973" y="998"/>
                    </a:lnTo>
                    <a:lnTo>
                      <a:pt x="966" y="995"/>
                    </a:lnTo>
                    <a:lnTo>
                      <a:pt x="919" y="977"/>
                    </a:lnTo>
                    <a:lnTo>
                      <a:pt x="871" y="964"/>
                    </a:lnTo>
                    <a:lnTo>
                      <a:pt x="822" y="955"/>
                    </a:lnTo>
                    <a:lnTo>
                      <a:pt x="772" y="951"/>
                    </a:lnTo>
                    <a:lnTo>
                      <a:pt x="721" y="952"/>
                    </a:lnTo>
                    <a:lnTo>
                      <a:pt x="671" y="958"/>
                    </a:lnTo>
                    <a:lnTo>
                      <a:pt x="622" y="970"/>
                    </a:lnTo>
                    <a:lnTo>
                      <a:pt x="573" y="986"/>
                    </a:lnTo>
                    <a:lnTo>
                      <a:pt x="526" y="1007"/>
                    </a:lnTo>
                    <a:lnTo>
                      <a:pt x="519" y="1010"/>
                    </a:lnTo>
                    <a:lnTo>
                      <a:pt x="513" y="1013"/>
                    </a:lnTo>
                    <a:lnTo>
                      <a:pt x="508" y="1016"/>
                    </a:lnTo>
                    <a:lnTo>
                      <a:pt x="504" y="1018"/>
                    </a:lnTo>
                    <a:lnTo>
                      <a:pt x="466" y="1042"/>
                    </a:lnTo>
                    <a:lnTo>
                      <a:pt x="430" y="1068"/>
                    </a:lnTo>
                    <a:lnTo>
                      <a:pt x="397" y="1097"/>
                    </a:lnTo>
                    <a:lnTo>
                      <a:pt x="365" y="1127"/>
                    </a:lnTo>
                    <a:lnTo>
                      <a:pt x="335" y="1161"/>
                    </a:lnTo>
                    <a:lnTo>
                      <a:pt x="308" y="1188"/>
                    </a:lnTo>
                    <a:lnTo>
                      <a:pt x="278" y="1211"/>
                    </a:lnTo>
                    <a:lnTo>
                      <a:pt x="248" y="1228"/>
                    </a:lnTo>
                    <a:lnTo>
                      <a:pt x="218" y="1240"/>
                    </a:lnTo>
                    <a:lnTo>
                      <a:pt x="185" y="1249"/>
                    </a:lnTo>
                    <a:lnTo>
                      <a:pt x="153" y="1251"/>
                    </a:lnTo>
                    <a:lnTo>
                      <a:pt x="120" y="1248"/>
                    </a:lnTo>
                    <a:lnTo>
                      <a:pt x="120" y="1248"/>
                    </a:lnTo>
                    <a:lnTo>
                      <a:pt x="117" y="1248"/>
                    </a:lnTo>
                    <a:lnTo>
                      <a:pt x="87" y="1240"/>
                    </a:lnTo>
                    <a:lnTo>
                      <a:pt x="56" y="1228"/>
                    </a:lnTo>
                    <a:lnTo>
                      <a:pt x="28" y="1211"/>
                    </a:lnTo>
                    <a:lnTo>
                      <a:pt x="0" y="1190"/>
                    </a:lnTo>
                    <a:lnTo>
                      <a:pt x="33" y="1097"/>
                    </a:lnTo>
                    <a:lnTo>
                      <a:pt x="71" y="1007"/>
                    </a:lnTo>
                    <a:lnTo>
                      <a:pt x="115" y="919"/>
                    </a:lnTo>
                    <a:lnTo>
                      <a:pt x="163" y="834"/>
                    </a:lnTo>
                    <a:lnTo>
                      <a:pt x="216" y="752"/>
                    </a:lnTo>
                    <a:lnTo>
                      <a:pt x="272" y="674"/>
                    </a:lnTo>
                    <a:lnTo>
                      <a:pt x="334" y="599"/>
                    </a:lnTo>
                    <a:lnTo>
                      <a:pt x="399" y="527"/>
                    </a:lnTo>
                    <a:lnTo>
                      <a:pt x="468" y="460"/>
                    </a:lnTo>
                    <a:lnTo>
                      <a:pt x="541" y="396"/>
                    </a:lnTo>
                    <a:lnTo>
                      <a:pt x="618" y="336"/>
                    </a:lnTo>
                    <a:lnTo>
                      <a:pt x="697" y="281"/>
                    </a:lnTo>
                    <a:lnTo>
                      <a:pt x="780" y="230"/>
                    </a:lnTo>
                    <a:lnTo>
                      <a:pt x="866" y="184"/>
                    </a:lnTo>
                    <a:lnTo>
                      <a:pt x="955" y="142"/>
                    </a:lnTo>
                    <a:lnTo>
                      <a:pt x="1046" y="105"/>
                    </a:lnTo>
                    <a:lnTo>
                      <a:pt x="1140" y="74"/>
                    </a:lnTo>
                    <a:lnTo>
                      <a:pt x="1236" y="47"/>
                    </a:lnTo>
                    <a:lnTo>
                      <a:pt x="1334" y="27"/>
                    </a:lnTo>
                    <a:lnTo>
                      <a:pt x="1435" y="12"/>
                    </a:lnTo>
                    <a:lnTo>
                      <a:pt x="1537" y="3"/>
                    </a:lnTo>
                    <a:lnTo>
                      <a:pt x="1641" y="0"/>
                    </a:lnTo>
                    <a:close/>
                  </a:path>
                </a:pathLst>
              </a:custGeom>
              <a:solidFill>
                <a:schemeClr val="accent2"/>
              </a:solid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dirty="0">
                  <a:solidFill>
                    <a:prstClr val="black"/>
                  </a:solidFill>
                  <a:latin typeface="Arial"/>
                </a:endParaRPr>
              </a:p>
            </p:txBody>
          </p:sp>
          <p:sp>
            <p:nvSpPr>
              <p:cNvPr id="115" name="Freeform 57">
                <a:extLst>
                  <a:ext uri="{FF2B5EF4-FFF2-40B4-BE49-F238E27FC236}">
                    <a16:creationId xmlns:a16="http://schemas.microsoft.com/office/drawing/2014/main" id="{3B5C4319-90F6-4417-A30A-D0B5B02EA9D0}"/>
                  </a:ext>
                </a:extLst>
              </p:cNvPr>
              <p:cNvSpPr>
                <a:spLocks/>
              </p:cNvSpPr>
              <p:nvPr/>
            </p:nvSpPr>
            <p:spPr bwMode="auto">
              <a:xfrm>
                <a:off x="1634" y="2365"/>
                <a:ext cx="33" cy="49"/>
              </a:xfrm>
              <a:custGeom>
                <a:avLst/>
                <a:gdLst>
                  <a:gd name="T0" fmla="*/ 101 w 204"/>
                  <a:gd name="T1" fmla="*/ 0 h 303"/>
                  <a:gd name="T2" fmla="*/ 122 w 204"/>
                  <a:gd name="T3" fmla="*/ 3 h 303"/>
                  <a:gd name="T4" fmla="*/ 142 w 204"/>
                  <a:gd name="T5" fmla="*/ 11 h 303"/>
                  <a:gd name="T6" fmla="*/ 160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4 w 204"/>
                  <a:gd name="T33" fmla="*/ 300 h 303"/>
                  <a:gd name="T34" fmla="*/ 103 w 204"/>
                  <a:gd name="T35" fmla="*/ 303 h 303"/>
                  <a:gd name="T36" fmla="*/ 81 w 204"/>
                  <a:gd name="T37" fmla="*/ 300 h 303"/>
                  <a:gd name="T38" fmla="*/ 62 w 204"/>
                  <a:gd name="T39" fmla="*/ 291 h 303"/>
                  <a:gd name="T40" fmla="*/ 45 w 204"/>
                  <a:gd name="T41" fmla="*/ 279 h 303"/>
                  <a:gd name="T42" fmla="*/ 29 w 204"/>
                  <a:gd name="T43" fmla="*/ 261 h 303"/>
                  <a:gd name="T44" fmla="*/ 16 w 204"/>
                  <a:gd name="T45" fmla="*/ 239 h 303"/>
                  <a:gd name="T46" fmla="*/ 8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6 w 204"/>
                  <a:gd name="T59" fmla="*/ 63 h 303"/>
                  <a:gd name="T60" fmla="*/ 28 w 204"/>
                  <a:gd name="T61" fmla="*/ 41 h 303"/>
                  <a:gd name="T62" fmla="*/ 44 w 204"/>
                  <a:gd name="T63" fmla="*/ 23 h 303"/>
                  <a:gd name="T64" fmla="*/ 60 w 204"/>
                  <a:gd name="T65" fmla="*/ 11 h 303"/>
                  <a:gd name="T66" fmla="*/ 80 w 204"/>
                  <a:gd name="T67" fmla="*/ 3 h 303"/>
                  <a:gd name="T68" fmla="*/ 101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1" y="0"/>
                    </a:moveTo>
                    <a:lnTo>
                      <a:pt x="122" y="3"/>
                    </a:lnTo>
                    <a:lnTo>
                      <a:pt x="142" y="11"/>
                    </a:lnTo>
                    <a:lnTo>
                      <a:pt x="160"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4" y="300"/>
                    </a:lnTo>
                    <a:lnTo>
                      <a:pt x="103" y="303"/>
                    </a:lnTo>
                    <a:lnTo>
                      <a:pt x="81" y="300"/>
                    </a:lnTo>
                    <a:lnTo>
                      <a:pt x="62" y="291"/>
                    </a:lnTo>
                    <a:lnTo>
                      <a:pt x="45" y="279"/>
                    </a:lnTo>
                    <a:lnTo>
                      <a:pt x="29" y="261"/>
                    </a:lnTo>
                    <a:lnTo>
                      <a:pt x="16" y="239"/>
                    </a:lnTo>
                    <a:lnTo>
                      <a:pt x="8" y="213"/>
                    </a:lnTo>
                    <a:lnTo>
                      <a:pt x="2" y="183"/>
                    </a:lnTo>
                    <a:lnTo>
                      <a:pt x="0" y="151"/>
                    </a:lnTo>
                    <a:lnTo>
                      <a:pt x="0" y="149"/>
                    </a:lnTo>
                    <a:lnTo>
                      <a:pt x="2" y="117"/>
                    </a:lnTo>
                    <a:lnTo>
                      <a:pt x="7" y="88"/>
                    </a:lnTo>
                    <a:lnTo>
                      <a:pt x="16" y="63"/>
                    </a:lnTo>
                    <a:lnTo>
                      <a:pt x="28" y="41"/>
                    </a:lnTo>
                    <a:lnTo>
                      <a:pt x="44" y="23"/>
                    </a:lnTo>
                    <a:lnTo>
                      <a:pt x="60" y="11"/>
                    </a:lnTo>
                    <a:lnTo>
                      <a:pt x="80" y="3"/>
                    </a:lnTo>
                    <a:lnTo>
                      <a:pt x="101" y="0"/>
                    </a:lnTo>
                    <a:close/>
                  </a:path>
                </a:pathLst>
              </a:custGeom>
              <a:solidFill>
                <a:schemeClr val="accent1">
                  <a:lumMod val="75000"/>
                </a:schemeClr>
              </a:solid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a:solidFill>
                    <a:prstClr val="black"/>
                  </a:solidFill>
                  <a:latin typeface="Arial"/>
                </a:endParaRPr>
              </a:p>
            </p:txBody>
          </p:sp>
          <p:sp>
            <p:nvSpPr>
              <p:cNvPr id="119" name="Freeform 58">
                <a:extLst>
                  <a:ext uri="{FF2B5EF4-FFF2-40B4-BE49-F238E27FC236}">
                    <a16:creationId xmlns:a16="http://schemas.microsoft.com/office/drawing/2014/main" id="{1026B788-A20D-46C1-A777-66A9F7B4B3F3}"/>
                  </a:ext>
                </a:extLst>
              </p:cNvPr>
              <p:cNvSpPr>
                <a:spLocks/>
              </p:cNvSpPr>
              <p:nvPr/>
            </p:nvSpPr>
            <p:spPr bwMode="auto">
              <a:xfrm>
                <a:off x="1431" y="2365"/>
                <a:ext cx="33" cy="49"/>
              </a:xfrm>
              <a:custGeom>
                <a:avLst/>
                <a:gdLst>
                  <a:gd name="T0" fmla="*/ 102 w 204"/>
                  <a:gd name="T1" fmla="*/ 0 h 303"/>
                  <a:gd name="T2" fmla="*/ 122 w 204"/>
                  <a:gd name="T3" fmla="*/ 3 h 303"/>
                  <a:gd name="T4" fmla="*/ 142 w 204"/>
                  <a:gd name="T5" fmla="*/ 11 h 303"/>
                  <a:gd name="T6" fmla="*/ 159 w 204"/>
                  <a:gd name="T7" fmla="*/ 24 h 303"/>
                  <a:gd name="T8" fmla="*/ 175 w 204"/>
                  <a:gd name="T9" fmla="*/ 42 h 303"/>
                  <a:gd name="T10" fmla="*/ 187 w 204"/>
                  <a:gd name="T11" fmla="*/ 64 h 303"/>
                  <a:gd name="T12" fmla="*/ 197 w 204"/>
                  <a:gd name="T13" fmla="*/ 90 h 303"/>
                  <a:gd name="T14" fmla="*/ 202 w 204"/>
                  <a:gd name="T15" fmla="*/ 119 h 303"/>
                  <a:gd name="T16" fmla="*/ 204 w 204"/>
                  <a:gd name="T17" fmla="*/ 151 h 303"/>
                  <a:gd name="T18" fmla="*/ 204 w 204"/>
                  <a:gd name="T19" fmla="*/ 153 h 303"/>
                  <a:gd name="T20" fmla="*/ 202 w 204"/>
                  <a:gd name="T21" fmla="*/ 185 h 303"/>
                  <a:gd name="T22" fmla="*/ 197 w 204"/>
                  <a:gd name="T23" fmla="*/ 214 h 303"/>
                  <a:gd name="T24" fmla="*/ 187 w 204"/>
                  <a:gd name="T25" fmla="*/ 240 h 303"/>
                  <a:gd name="T26" fmla="*/ 176 w 204"/>
                  <a:gd name="T27" fmla="*/ 261 h 303"/>
                  <a:gd name="T28" fmla="*/ 161 w 204"/>
                  <a:gd name="T29" fmla="*/ 279 h 303"/>
                  <a:gd name="T30" fmla="*/ 143 w 204"/>
                  <a:gd name="T31" fmla="*/ 291 h 303"/>
                  <a:gd name="T32" fmla="*/ 125 w 204"/>
                  <a:gd name="T33" fmla="*/ 300 h 303"/>
                  <a:gd name="T34" fmla="*/ 103 w 204"/>
                  <a:gd name="T35" fmla="*/ 303 h 303"/>
                  <a:gd name="T36" fmla="*/ 82 w 204"/>
                  <a:gd name="T37" fmla="*/ 300 h 303"/>
                  <a:gd name="T38" fmla="*/ 62 w 204"/>
                  <a:gd name="T39" fmla="*/ 291 h 303"/>
                  <a:gd name="T40" fmla="*/ 45 w 204"/>
                  <a:gd name="T41" fmla="*/ 279 h 303"/>
                  <a:gd name="T42" fmla="*/ 29 w 204"/>
                  <a:gd name="T43" fmla="*/ 261 h 303"/>
                  <a:gd name="T44" fmla="*/ 17 w 204"/>
                  <a:gd name="T45" fmla="*/ 239 h 303"/>
                  <a:gd name="T46" fmla="*/ 7 w 204"/>
                  <a:gd name="T47" fmla="*/ 213 h 303"/>
                  <a:gd name="T48" fmla="*/ 2 w 204"/>
                  <a:gd name="T49" fmla="*/ 183 h 303"/>
                  <a:gd name="T50" fmla="*/ 0 w 204"/>
                  <a:gd name="T51" fmla="*/ 151 h 303"/>
                  <a:gd name="T52" fmla="*/ 0 w 204"/>
                  <a:gd name="T53" fmla="*/ 149 h 303"/>
                  <a:gd name="T54" fmla="*/ 2 w 204"/>
                  <a:gd name="T55" fmla="*/ 117 h 303"/>
                  <a:gd name="T56" fmla="*/ 7 w 204"/>
                  <a:gd name="T57" fmla="*/ 88 h 303"/>
                  <a:gd name="T58" fmla="*/ 17 w 204"/>
                  <a:gd name="T59" fmla="*/ 63 h 303"/>
                  <a:gd name="T60" fmla="*/ 28 w 204"/>
                  <a:gd name="T61" fmla="*/ 41 h 303"/>
                  <a:gd name="T62" fmla="*/ 43 w 204"/>
                  <a:gd name="T63" fmla="*/ 23 h 303"/>
                  <a:gd name="T64" fmla="*/ 61 w 204"/>
                  <a:gd name="T65" fmla="*/ 11 h 303"/>
                  <a:gd name="T66" fmla="*/ 80 w 204"/>
                  <a:gd name="T67" fmla="*/ 3 h 303"/>
                  <a:gd name="T68" fmla="*/ 102 w 204"/>
                  <a:gd name="T69"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4" h="303">
                    <a:moveTo>
                      <a:pt x="102" y="0"/>
                    </a:moveTo>
                    <a:lnTo>
                      <a:pt x="122" y="3"/>
                    </a:lnTo>
                    <a:lnTo>
                      <a:pt x="142" y="11"/>
                    </a:lnTo>
                    <a:lnTo>
                      <a:pt x="159" y="24"/>
                    </a:lnTo>
                    <a:lnTo>
                      <a:pt x="175" y="42"/>
                    </a:lnTo>
                    <a:lnTo>
                      <a:pt x="187" y="64"/>
                    </a:lnTo>
                    <a:lnTo>
                      <a:pt x="197" y="90"/>
                    </a:lnTo>
                    <a:lnTo>
                      <a:pt x="202" y="119"/>
                    </a:lnTo>
                    <a:lnTo>
                      <a:pt x="204" y="151"/>
                    </a:lnTo>
                    <a:lnTo>
                      <a:pt x="204" y="153"/>
                    </a:lnTo>
                    <a:lnTo>
                      <a:pt x="202" y="185"/>
                    </a:lnTo>
                    <a:lnTo>
                      <a:pt x="197" y="214"/>
                    </a:lnTo>
                    <a:lnTo>
                      <a:pt x="187" y="240"/>
                    </a:lnTo>
                    <a:lnTo>
                      <a:pt x="176" y="261"/>
                    </a:lnTo>
                    <a:lnTo>
                      <a:pt x="161" y="279"/>
                    </a:lnTo>
                    <a:lnTo>
                      <a:pt x="143" y="291"/>
                    </a:lnTo>
                    <a:lnTo>
                      <a:pt x="125" y="300"/>
                    </a:lnTo>
                    <a:lnTo>
                      <a:pt x="103" y="303"/>
                    </a:lnTo>
                    <a:lnTo>
                      <a:pt x="82" y="300"/>
                    </a:lnTo>
                    <a:lnTo>
                      <a:pt x="62" y="291"/>
                    </a:lnTo>
                    <a:lnTo>
                      <a:pt x="45" y="279"/>
                    </a:lnTo>
                    <a:lnTo>
                      <a:pt x="29" y="261"/>
                    </a:lnTo>
                    <a:lnTo>
                      <a:pt x="17" y="239"/>
                    </a:lnTo>
                    <a:lnTo>
                      <a:pt x="7" y="213"/>
                    </a:lnTo>
                    <a:lnTo>
                      <a:pt x="2" y="183"/>
                    </a:lnTo>
                    <a:lnTo>
                      <a:pt x="0" y="151"/>
                    </a:lnTo>
                    <a:lnTo>
                      <a:pt x="0" y="149"/>
                    </a:lnTo>
                    <a:lnTo>
                      <a:pt x="2" y="117"/>
                    </a:lnTo>
                    <a:lnTo>
                      <a:pt x="7" y="88"/>
                    </a:lnTo>
                    <a:lnTo>
                      <a:pt x="17" y="63"/>
                    </a:lnTo>
                    <a:lnTo>
                      <a:pt x="28" y="41"/>
                    </a:lnTo>
                    <a:lnTo>
                      <a:pt x="43" y="23"/>
                    </a:lnTo>
                    <a:lnTo>
                      <a:pt x="61" y="11"/>
                    </a:lnTo>
                    <a:lnTo>
                      <a:pt x="80" y="3"/>
                    </a:lnTo>
                    <a:lnTo>
                      <a:pt x="102" y="0"/>
                    </a:lnTo>
                    <a:close/>
                  </a:path>
                </a:pathLst>
              </a:custGeom>
              <a:solidFill>
                <a:schemeClr val="accent1">
                  <a:lumMod val="75000"/>
                </a:schemeClr>
              </a:solid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a:solidFill>
                    <a:prstClr val="black"/>
                  </a:solidFill>
                  <a:latin typeface="Arial"/>
                </a:endParaRPr>
              </a:p>
            </p:txBody>
          </p:sp>
          <p:sp>
            <p:nvSpPr>
              <p:cNvPr id="121" name="Freeform 59">
                <a:extLst>
                  <a:ext uri="{FF2B5EF4-FFF2-40B4-BE49-F238E27FC236}">
                    <a16:creationId xmlns:a16="http://schemas.microsoft.com/office/drawing/2014/main" id="{13A56935-C717-4CE7-985D-A4F3752CB88A}"/>
                  </a:ext>
                </a:extLst>
              </p:cNvPr>
              <p:cNvSpPr>
                <a:spLocks noEditPoints="1"/>
              </p:cNvSpPr>
              <p:nvPr/>
            </p:nvSpPr>
            <p:spPr bwMode="auto">
              <a:xfrm>
                <a:off x="1220" y="2230"/>
                <a:ext cx="577" cy="366"/>
              </a:xfrm>
              <a:custGeom>
                <a:avLst/>
                <a:gdLst>
                  <a:gd name="T0" fmla="*/ 1830 w 3451"/>
                  <a:gd name="T1" fmla="*/ 662 h 2194"/>
                  <a:gd name="T2" fmla="*/ 1812 w 3451"/>
                  <a:gd name="T3" fmla="*/ 791 h 2194"/>
                  <a:gd name="T4" fmla="*/ 1883 w 3451"/>
                  <a:gd name="T5" fmla="*/ 827 h 2194"/>
                  <a:gd name="T6" fmla="*/ 1925 w 3451"/>
                  <a:gd name="T7" fmla="*/ 1237 h 2194"/>
                  <a:gd name="T8" fmla="*/ 1981 w 3451"/>
                  <a:gd name="T9" fmla="*/ 1285 h 2194"/>
                  <a:gd name="T10" fmla="*/ 2129 w 3451"/>
                  <a:gd name="T11" fmla="*/ 1237 h 2194"/>
                  <a:gd name="T12" fmla="*/ 2100 w 3451"/>
                  <a:gd name="T13" fmla="*/ 618 h 2194"/>
                  <a:gd name="T14" fmla="*/ 750 w 3451"/>
                  <a:gd name="T15" fmla="*/ 615 h 2194"/>
                  <a:gd name="T16" fmla="*/ 569 w 3451"/>
                  <a:gd name="T17" fmla="*/ 703 h 2194"/>
                  <a:gd name="T18" fmla="*/ 627 w 3451"/>
                  <a:gd name="T19" fmla="*/ 824 h 2194"/>
                  <a:gd name="T20" fmla="*/ 699 w 3451"/>
                  <a:gd name="T21" fmla="*/ 857 h 2194"/>
                  <a:gd name="T22" fmla="*/ 730 w 3451"/>
                  <a:gd name="T23" fmla="*/ 1273 h 2194"/>
                  <a:gd name="T24" fmla="*/ 898 w 3451"/>
                  <a:gd name="T25" fmla="*/ 1261 h 2194"/>
                  <a:gd name="T26" fmla="*/ 894 w 3451"/>
                  <a:gd name="T27" fmla="*/ 629 h 2194"/>
                  <a:gd name="T28" fmla="*/ 2535 w 3451"/>
                  <a:gd name="T29" fmla="*/ 612 h 2194"/>
                  <a:gd name="T30" fmla="*/ 2349 w 3451"/>
                  <a:gd name="T31" fmla="*/ 712 h 2194"/>
                  <a:gd name="T32" fmla="*/ 2272 w 3451"/>
                  <a:gd name="T33" fmla="*/ 912 h 2194"/>
                  <a:gd name="T34" fmla="*/ 2296 w 3451"/>
                  <a:gd name="T35" fmla="*/ 1098 h 2194"/>
                  <a:gd name="T36" fmla="*/ 2428 w 3451"/>
                  <a:gd name="T37" fmla="*/ 1256 h 2194"/>
                  <a:gd name="T38" fmla="*/ 2655 w 3451"/>
                  <a:gd name="T39" fmla="*/ 1282 h 2194"/>
                  <a:gd name="T40" fmla="*/ 2823 w 3451"/>
                  <a:gd name="T41" fmla="*/ 1160 h 2194"/>
                  <a:gd name="T42" fmla="*/ 2882 w 3451"/>
                  <a:gd name="T43" fmla="*/ 950 h 2194"/>
                  <a:gd name="T44" fmla="*/ 2842 w 3451"/>
                  <a:gd name="T45" fmla="*/ 770 h 2194"/>
                  <a:gd name="T46" fmla="*/ 2691 w 3451"/>
                  <a:gd name="T47" fmla="*/ 630 h 2194"/>
                  <a:gd name="T48" fmla="*/ 1285 w 3451"/>
                  <a:gd name="T49" fmla="*/ 619 h 2194"/>
                  <a:gd name="T50" fmla="*/ 1115 w 3451"/>
                  <a:gd name="T51" fmla="*/ 740 h 2194"/>
                  <a:gd name="T52" fmla="*/ 1057 w 3451"/>
                  <a:gd name="T53" fmla="*/ 950 h 2194"/>
                  <a:gd name="T54" fmla="*/ 1096 w 3451"/>
                  <a:gd name="T55" fmla="*/ 1131 h 2194"/>
                  <a:gd name="T56" fmla="*/ 1247 w 3451"/>
                  <a:gd name="T57" fmla="*/ 1270 h 2194"/>
                  <a:gd name="T58" fmla="*/ 1477 w 3451"/>
                  <a:gd name="T59" fmla="*/ 1270 h 2194"/>
                  <a:gd name="T60" fmla="*/ 1629 w 3451"/>
                  <a:gd name="T61" fmla="*/ 1129 h 2194"/>
                  <a:gd name="T62" fmla="*/ 1669 w 3451"/>
                  <a:gd name="T63" fmla="*/ 948 h 2194"/>
                  <a:gd name="T64" fmla="*/ 1612 w 3451"/>
                  <a:gd name="T65" fmla="*/ 739 h 2194"/>
                  <a:gd name="T66" fmla="*/ 1443 w 3451"/>
                  <a:gd name="T67" fmla="*/ 619 h 2194"/>
                  <a:gd name="T68" fmla="*/ 940 w 3451"/>
                  <a:gd name="T69" fmla="*/ 26 h 2194"/>
                  <a:gd name="T70" fmla="*/ 1136 w 3451"/>
                  <a:gd name="T71" fmla="*/ 200 h 2194"/>
                  <a:gd name="T72" fmla="*/ 1415 w 3451"/>
                  <a:gd name="T73" fmla="*/ 299 h 2194"/>
                  <a:gd name="T74" fmla="*/ 1494 w 3451"/>
                  <a:gd name="T75" fmla="*/ 299 h 2194"/>
                  <a:gd name="T76" fmla="*/ 1796 w 3451"/>
                  <a:gd name="T77" fmla="*/ 177 h 2194"/>
                  <a:gd name="T78" fmla="*/ 1971 w 3451"/>
                  <a:gd name="T79" fmla="*/ 25 h 2194"/>
                  <a:gd name="T80" fmla="*/ 2156 w 3451"/>
                  <a:gd name="T81" fmla="*/ 25 h 2194"/>
                  <a:gd name="T82" fmla="*/ 2331 w 3451"/>
                  <a:gd name="T83" fmla="*/ 177 h 2194"/>
                  <a:gd name="T84" fmla="*/ 2633 w 3451"/>
                  <a:gd name="T85" fmla="*/ 299 h 2194"/>
                  <a:gd name="T86" fmla="*/ 2889 w 3451"/>
                  <a:gd name="T87" fmla="*/ 252 h 2194"/>
                  <a:gd name="T88" fmla="*/ 3112 w 3451"/>
                  <a:gd name="T89" fmla="*/ 72 h 2194"/>
                  <a:gd name="T90" fmla="*/ 3306 w 3451"/>
                  <a:gd name="T91" fmla="*/ 2 h 2194"/>
                  <a:gd name="T92" fmla="*/ 3442 w 3451"/>
                  <a:gd name="T93" fmla="*/ 292 h 2194"/>
                  <a:gd name="T94" fmla="*/ 3403 w 3451"/>
                  <a:gd name="T95" fmla="*/ 879 h 2194"/>
                  <a:gd name="T96" fmla="*/ 3163 w 3451"/>
                  <a:gd name="T97" fmla="*/ 1423 h 2194"/>
                  <a:gd name="T98" fmla="*/ 2761 w 3451"/>
                  <a:gd name="T99" fmla="*/ 1849 h 2194"/>
                  <a:gd name="T100" fmla="*/ 2233 w 3451"/>
                  <a:gd name="T101" fmla="*/ 2119 h 2194"/>
                  <a:gd name="T102" fmla="*/ 1620 w 3451"/>
                  <a:gd name="T103" fmla="*/ 2191 h 2194"/>
                  <a:gd name="T104" fmla="*/ 1031 w 3451"/>
                  <a:gd name="T105" fmla="*/ 2048 h 2194"/>
                  <a:gd name="T106" fmla="*/ 540 w 3451"/>
                  <a:gd name="T107" fmla="*/ 1723 h 2194"/>
                  <a:gd name="T108" fmla="*/ 189 w 3451"/>
                  <a:gd name="T109" fmla="*/ 1253 h 2194"/>
                  <a:gd name="T110" fmla="*/ 13 w 3451"/>
                  <a:gd name="T111" fmla="*/ 677 h 2194"/>
                  <a:gd name="T112" fmla="*/ 57 w 3451"/>
                  <a:gd name="T113" fmla="*/ 270 h 2194"/>
                  <a:gd name="T114" fmla="*/ 311 w 3451"/>
                  <a:gd name="T115" fmla="*/ 295 h 2194"/>
                  <a:gd name="T116" fmla="*/ 582 w 3451"/>
                  <a:gd name="T117" fmla="*/ 166 h 2194"/>
                  <a:gd name="T118" fmla="*/ 770 w 3451"/>
                  <a:gd name="T119" fmla="*/ 11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51" h="2194">
                    <a:moveTo>
                      <a:pt x="1985" y="616"/>
                    </a:moveTo>
                    <a:lnTo>
                      <a:pt x="1981" y="617"/>
                    </a:lnTo>
                    <a:lnTo>
                      <a:pt x="1977" y="618"/>
                    </a:lnTo>
                    <a:lnTo>
                      <a:pt x="1974" y="620"/>
                    </a:lnTo>
                    <a:lnTo>
                      <a:pt x="1971" y="621"/>
                    </a:lnTo>
                    <a:lnTo>
                      <a:pt x="1830" y="662"/>
                    </a:lnTo>
                    <a:lnTo>
                      <a:pt x="1815" y="668"/>
                    </a:lnTo>
                    <a:lnTo>
                      <a:pt x="1804" y="679"/>
                    </a:lnTo>
                    <a:lnTo>
                      <a:pt x="1796" y="692"/>
                    </a:lnTo>
                    <a:lnTo>
                      <a:pt x="1793" y="708"/>
                    </a:lnTo>
                    <a:lnTo>
                      <a:pt x="1794" y="724"/>
                    </a:lnTo>
                    <a:lnTo>
                      <a:pt x="1812" y="791"/>
                    </a:lnTo>
                    <a:lnTo>
                      <a:pt x="1817" y="805"/>
                    </a:lnTo>
                    <a:lnTo>
                      <a:pt x="1826" y="817"/>
                    </a:lnTo>
                    <a:lnTo>
                      <a:pt x="1838" y="825"/>
                    </a:lnTo>
                    <a:lnTo>
                      <a:pt x="1852" y="828"/>
                    </a:lnTo>
                    <a:lnTo>
                      <a:pt x="1867" y="828"/>
                    </a:lnTo>
                    <a:lnTo>
                      <a:pt x="1883" y="827"/>
                    </a:lnTo>
                    <a:lnTo>
                      <a:pt x="1897" y="830"/>
                    </a:lnTo>
                    <a:lnTo>
                      <a:pt x="1908" y="838"/>
                    </a:lnTo>
                    <a:lnTo>
                      <a:pt x="1917" y="849"/>
                    </a:lnTo>
                    <a:lnTo>
                      <a:pt x="1923" y="862"/>
                    </a:lnTo>
                    <a:lnTo>
                      <a:pt x="1925" y="878"/>
                    </a:lnTo>
                    <a:lnTo>
                      <a:pt x="1925" y="1237"/>
                    </a:lnTo>
                    <a:lnTo>
                      <a:pt x="1927" y="1250"/>
                    </a:lnTo>
                    <a:lnTo>
                      <a:pt x="1933" y="1262"/>
                    </a:lnTo>
                    <a:lnTo>
                      <a:pt x="1943" y="1271"/>
                    </a:lnTo>
                    <a:lnTo>
                      <a:pt x="1954" y="1279"/>
                    </a:lnTo>
                    <a:lnTo>
                      <a:pt x="1968" y="1283"/>
                    </a:lnTo>
                    <a:lnTo>
                      <a:pt x="1981" y="1285"/>
                    </a:lnTo>
                    <a:lnTo>
                      <a:pt x="2086" y="1285"/>
                    </a:lnTo>
                    <a:lnTo>
                      <a:pt x="2102" y="1282"/>
                    </a:lnTo>
                    <a:lnTo>
                      <a:pt x="2113" y="1276"/>
                    </a:lnTo>
                    <a:lnTo>
                      <a:pt x="2122" y="1266"/>
                    </a:lnTo>
                    <a:lnTo>
                      <a:pt x="2127" y="1253"/>
                    </a:lnTo>
                    <a:lnTo>
                      <a:pt x="2129" y="1237"/>
                    </a:lnTo>
                    <a:lnTo>
                      <a:pt x="2129" y="673"/>
                    </a:lnTo>
                    <a:lnTo>
                      <a:pt x="2128" y="659"/>
                    </a:lnTo>
                    <a:lnTo>
                      <a:pt x="2124" y="646"/>
                    </a:lnTo>
                    <a:lnTo>
                      <a:pt x="2119" y="634"/>
                    </a:lnTo>
                    <a:lnTo>
                      <a:pt x="2110" y="624"/>
                    </a:lnTo>
                    <a:lnTo>
                      <a:pt x="2100" y="618"/>
                    </a:lnTo>
                    <a:lnTo>
                      <a:pt x="2086" y="616"/>
                    </a:lnTo>
                    <a:lnTo>
                      <a:pt x="1985" y="616"/>
                    </a:lnTo>
                    <a:close/>
                    <a:moveTo>
                      <a:pt x="760" y="611"/>
                    </a:moveTo>
                    <a:lnTo>
                      <a:pt x="756" y="612"/>
                    </a:lnTo>
                    <a:lnTo>
                      <a:pt x="753" y="613"/>
                    </a:lnTo>
                    <a:lnTo>
                      <a:pt x="750" y="615"/>
                    </a:lnTo>
                    <a:lnTo>
                      <a:pt x="747" y="616"/>
                    </a:lnTo>
                    <a:lnTo>
                      <a:pt x="605" y="657"/>
                    </a:lnTo>
                    <a:lnTo>
                      <a:pt x="591" y="663"/>
                    </a:lnTo>
                    <a:lnTo>
                      <a:pt x="580" y="673"/>
                    </a:lnTo>
                    <a:lnTo>
                      <a:pt x="572" y="687"/>
                    </a:lnTo>
                    <a:lnTo>
                      <a:pt x="569" y="703"/>
                    </a:lnTo>
                    <a:lnTo>
                      <a:pt x="570" y="718"/>
                    </a:lnTo>
                    <a:lnTo>
                      <a:pt x="588" y="785"/>
                    </a:lnTo>
                    <a:lnTo>
                      <a:pt x="593" y="800"/>
                    </a:lnTo>
                    <a:lnTo>
                      <a:pt x="602" y="812"/>
                    </a:lnTo>
                    <a:lnTo>
                      <a:pt x="614" y="820"/>
                    </a:lnTo>
                    <a:lnTo>
                      <a:pt x="627" y="824"/>
                    </a:lnTo>
                    <a:lnTo>
                      <a:pt x="643" y="823"/>
                    </a:lnTo>
                    <a:lnTo>
                      <a:pt x="658" y="822"/>
                    </a:lnTo>
                    <a:lnTo>
                      <a:pt x="672" y="825"/>
                    </a:lnTo>
                    <a:lnTo>
                      <a:pt x="684" y="833"/>
                    </a:lnTo>
                    <a:lnTo>
                      <a:pt x="692" y="844"/>
                    </a:lnTo>
                    <a:lnTo>
                      <a:pt x="699" y="857"/>
                    </a:lnTo>
                    <a:lnTo>
                      <a:pt x="701" y="872"/>
                    </a:lnTo>
                    <a:lnTo>
                      <a:pt x="701" y="1232"/>
                    </a:lnTo>
                    <a:lnTo>
                      <a:pt x="703" y="1245"/>
                    </a:lnTo>
                    <a:lnTo>
                      <a:pt x="709" y="1257"/>
                    </a:lnTo>
                    <a:lnTo>
                      <a:pt x="718" y="1266"/>
                    </a:lnTo>
                    <a:lnTo>
                      <a:pt x="730" y="1273"/>
                    </a:lnTo>
                    <a:lnTo>
                      <a:pt x="744" y="1278"/>
                    </a:lnTo>
                    <a:lnTo>
                      <a:pt x="757" y="1280"/>
                    </a:lnTo>
                    <a:lnTo>
                      <a:pt x="862" y="1280"/>
                    </a:lnTo>
                    <a:lnTo>
                      <a:pt x="878" y="1278"/>
                    </a:lnTo>
                    <a:lnTo>
                      <a:pt x="889" y="1270"/>
                    </a:lnTo>
                    <a:lnTo>
                      <a:pt x="898" y="1261"/>
                    </a:lnTo>
                    <a:lnTo>
                      <a:pt x="903" y="1247"/>
                    </a:lnTo>
                    <a:lnTo>
                      <a:pt x="905" y="1232"/>
                    </a:lnTo>
                    <a:lnTo>
                      <a:pt x="905" y="668"/>
                    </a:lnTo>
                    <a:lnTo>
                      <a:pt x="904" y="655"/>
                    </a:lnTo>
                    <a:lnTo>
                      <a:pt x="900" y="641"/>
                    </a:lnTo>
                    <a:lnTo>
                      <a:pt x="894" y="629"/>
                    </a:lnTo>
                    <a:lnTo>
                      <a:pt x="886" y="619"/>
                    </a:lnTo>
                    <a:lnTo>
                      <a:pt x="876" y="613"/>
                    </a:lnTo>
                    <a:lnTo>
                      <a:pt x="862" y="611"/>
                    </a:lnTo>
                    <a:lnTo>
                      <a:pt x="760" y="611"/>
                    </a:lnTo>
                    <a:close/>
                    <a:moveTo>
                      <a:pt x="2577" y="609"/>
                    </a:moveTo>
                    <a:lnTo>
                      <a:pt x="2535" y="612"/>
                    </a:lnTo>
                    <a:lnTo>
                      <a:pt x="2498" y="619"/>
                    </a:lnTo>
                    <a:lnTo>
                      <a:pt x="2462" y="630"/>
                    </a:lnTo>
                    <a:lnTo>
                      <a:pt x="2430" y="645"/>
                    </a:lnTo>
                    <a:lnTo>
                      <a:pt x="2399" y="665"/>
                    </a:lnTo>
                    <a:lnTo>
                      <a:pt x="2373" y="687"/>
                    </a:lnTo>
                    <a:lnTo>
                      <a:pt x="2349" y="712"/>
                    </a:lnTo>
                    <a:lnTo>
                      <a:pt x="2328" y="740"/>
                    </a:lnTo>
                    <a:lnTo>
                      <a:pt x="2310" y="771"/>
                    </a:lnTo>
                    <a:lnTo>
                      <a:pt x="2296" y="804"/>
                    </a:lnTo>
                    <a:lnTo>
                      <a:pt x="2284" y="839"/>
                    </a:lnTo>
                    <a:lnTo>
                      <a:pt x="2276" y="874"/>
                    </a:lnTo>
                    <a:lnTo>
                      <a:pt x="2272" y="912"/>
                    </a:lnTo>
                    <a:lnTo>
                      <a:pt x="2269" y="950"/>
                    </a:lnTo>
                    <a:lnTo>
                      <a:pt x="2269" y="952"/>
                    </a:lnTo>
                    <a:lnTo>
                      <a:pt x="2272" y="991"/>
                    </a:lnTo>
                    <a:lnTo>
                      <a:pt x="2276" y="1027"/>
                    </a:lnTo>
                    <a:lnTo>
                      <a:pt x="2284" y="1064"/>
                    </a:lnTo>
                    <a:lnTo>
                      <a:pt x="2296" y="1098"/>
                    </a:lnTo>
                    <a:lnTo>
                      <a:pt x="2310" y="1131"/>
                    </a:lnTo>
                    <a:lnTo>
                      <a:pt x="2327" y="1161"/>
                    </a:lnTo>
                    <a:lnTo>
                      <a:pt x="2348" y="1189"/>
                    </a:lnTo>
                    <a:lnTo>
                      <a:pt x="2372" y="1214"/>
                    </a:lnTo>
                    <a:lnTo>
                      <a:pt x="2398" y="1237"/>
                    </a:lnTo>
                    <a:lnTo>
                      <a:pt x="2428" y="1256"/>
                    </a:lnTo>
                    <a:lnTo>
                      <a:pt x="2460" y="1270"/>
                    </a:lnTo>
                    <a:lnTo>
                      <a:pt x="2496" y="1282"/>
                    </a:lnTo>
                    <a:lnTo>
                      <a:pt x="2534" y="1288"/>
                    </a:lnTo>
                    <a:lnTo>
                      <a:pt x="2575" y="1291"/>
                    </a:lnTo>
                    <a:lnTo>
                      <a:pt x="2616" y="1288"/>
                    </a:lnTo>
                    <a:lnTo>
                      <a:pt x="2655" y="1282"/>
                    </a:lnTo>
                    <a:lnTo>
                      <a:pt x="2689" y="1270"/>
                    </a:lnTo>
                    <a:lnTo>
                      <a:pt x="2723" y="1255"/>
                    </a:lnTo>
                    <a:lnTo>
                      <a:pt x="2752" y="1236"/>
                    </a:lnTo>
                    <a:lnTo>
                      <a:pt x="2779" y="1214"/>
                    </a:lnTo>
                    <a:lnTo>
                      <a:pt x="2803" y="1188"/>
                    </a:lnTo>
                    <a:lnTo>
                      <a:pt x="2823" y="1160"/>
                    </a:lnTo>
                    <a:lnTo>
                      <a:pt x="2841" y="1129"/>
                    </a:lnTo>
                    <a:lnTo>
                      <a:pt x="2856" y="1096"/>
                    </a:lnTo>
                    <a:lnTo>
                      <a:pt x="2867" y="1062"/>
                    </a:lnTo>
                    <a:lnTo>
                      <a:pt x="2876" y="1025"/>
                    </a:lnTo>
                    <a:lnTo>
                      <a:pt x="2881" y="989"/>
                    </a:lnTo>
                    <a:lnTo>
                      <a:pt x="2882" y="950"/>
                    </a:lnTo>
                    <a:lnTo>
                      <a:pt x="2882" y="948"/>
                    </a:lnTo>
                    <a:lnTo>
                      <a:pt x="2881" y="910"/>
                    </a:lnTo>
                    <a:lnTo>
                      <a:pt x="2876" y="872"/>
                    </a:lnTo>
                    <a:lnTo>
                      <a:pt x="2867" y="837"/>
                    </a:lnTo>
                    <a:lnTo>
                      <a:pt x="2857" y="802"/>
                    </a:lnTo>
                    <a:lnTo>
                      <a:pt x="2842" y="770"/>
                    </a:lnTo>
                    <a:lnTo>
                      <a:pt x="2824" y="739"/>
                    </a:lnTo>
                    <a:lnTo>
                      <a:pt x="2804" y="711"/>
                    </a:lnTo>
                    <a:lnTo>
                      <a:pt x="2781" y="686"/>
                    </a:lnTo>
                    <a:lnTo>
                      <a:pt x="2753" y="664"/>
                    </a:lnTo>
                    <a:lnTo>
                      <a:pt x="2724" y="645"/>
                    </a:lnTo>
                    <a:lnTo>
                      <a:pt x="2691" y="630"/>
                    </a:lnTo>
                    <a:lnTo>
                      <a:pt x="2656" y="619"/>
                    </a:lnTo>
                    <a:lnTo>
                      <a:pt x="2618" y="612"/>
                    </a:lnTo>
                    <a:lnTo>
                      <a:pt x="2577" y="609"/>
                    </a:lnTo>
                    <a:close/>
                    <a:moveTo>
                      <a:pt x="1364" y="609"/>
                    </a:moveTo>
                    <a:lnTo>
                      <a:pt x="1323" y="612"/>
                    </a:lnTo>
                    <a:lnTo>
                      <a:pt x="1285" y="619"/>
                    </a:lnTo>
                    <a:lnTo>
                      <a:pt x="1249" y="630"/>
                    </a:lnTo>
                    <a:lnTo>
                      <a:pt x="1217" y="645"/>
                    </a:lnTo>
                    <a:lnTo>
                      <a:pt x="1187" y="665"/>
                    </a:lnTo>
                    <a:lnTo>
                      <a:pt x="1160" y="687"/>
                    </a:lnTo>
                    <a:lnTo>
                      <a:pt x="1136" y="712"/>
                    </a:lnTo>
                    <a:lnTo>
                      <a:pt x="1115" y="740"/>
                    </a:lnTo>
                    <a:lnTo>
                      <a:pt x="1098" y="771"/>
                    </a:lnTo>
                    <a:lnTo>
                      <a:pt x="1083" y="804"/>
                    </a:lnTo>
                    <a:lnTo>
                      <a:pt x="1071" y="839"/>
                    </a:lnTo>
                    <a:lnTo>
                      <a:pt x="1063" y="874"/>
                    </a:lnTo>
                    <a:lnTo>
                      <a:pt x="1058" y="912"/>
                    </a:lnTo>
                    <a:lnTo>
                      <a:pt x="1057" y="950"/>
                    </a:lnTo>
                    <a:lnTo>
                      <a:pt x="1057" y="952"/>
                    </a:lnTo>
                    <a:lnTo>
                      <a:pt x="1058" y="991"/>
                    </a:lnTo>
                    <a:lnTo>
                      <a:pt x="1063" y="1027"/>
                    </a:lnTo>
                    <a:lnTo>
                      <a:pt x="1071" y="1064"/>
                    </a:lnTo>
                    <a:lnTo>
                      <a:pt x="1083" y="1098"/>
                    </a:lnTo>
                    <a:lnTo>
                      <a:pt x="1096" y="1131"/>
                    </a:lnTo>
                    <a:lnTo>
                      <a:pt x="1114" y="1161"/>
                    </a:lnTo>
                    <a:lnTo>
                      <a:pt x="1135" y="1189"/>
                    </a:lnTo>
                    <a:lnTo>
                      <a:pt x="1158" y="1214"/>
                    </a:lnTo>
                    <a:lnTo>
                      <a:pt x="1186" y="1237"/>
                    </a:lnTo>
                    <a:lnTo>
                      <a:pt x="1215" y="1256"/>
                    </a:lnTo>
                    <a:lnTo>
                      <a:pt x="1247" y="1270"/>
                    </a:lnTo>
                    <a:lnTo>
                      <a:pt x="1283" y="1282"/>
                    </a:lnTo>
                    <a:lnTo>
                      <a:pt x="1321" y="1288"/>
                    </a:lnTo>
                    <a:lnTo>
                      <a:pt x="1363" y="1291"/>
                    </a:lnTo>
                    <a:lnTo>
                      <a:pt x="1403" y="1288"/>
                    </a:lnTo>
                    <a:lnTo>
                      <a:pt x="1441" y="1282"/>
                    </a:lnTo>
                    <a:lnTo>
                      <a:pt x="1477" y="1270"/>
                    </a:lnTo>
                    <a:lnTo>
                      <a:pt x="1509" y="1255"/>
                    </a:lnTo>
                    <a:lnTo>
                      <a:pt x="1539" y="1236"/>
                    </a:lnTo>
                    <a:lnTo>
                      <a:pt x="1566" y="1214"/>
                    </a:lnTo>
                    <a:lnTo>
                      <a:pt x="1590" y="1188"/>
                    </a:lnTo>
                    <a:lnTo>
                      <a:pt x="1611" y="1160"/>
                    </a:lnTo>
                    <a:lnTo>
                      <a:pt x="1629" y="1129"/>
                    </a:lnTo>
                    <a:lnTo>
                      <a:pt x="1643" y="1096"/>
                    </a:lnTo>
                    <a:lnTo>
                      <a:pt x="1655" y="1062"/>
                    </a:lnTo>
                    <a:lnTo>
                      <a:pt x="1663" y="1025"/>
                    </a:lnTo>
                    <a:lnTo>
                      <a:pt x="1668" y="989"/>
                    </a:lnTo>
                    <a:lnTo>
                      <a:pt x="1669" y="950"/>
                    </a:lnTo>
                    <a:lnTo>
                      <a:pt x="1669" y="948"/>
                    </a:lnTo>
                    <a:lnTo>
                      <a:pt x="1668" y="910"/>
                    </a:lnTo>
                    <a:lnTo>
                      <a:pt x="1663" y="872"/>
                    </a:lnTo>
                    <a:lnTo>
                      <a:pt x="1655" y="837"/>
                    </a:lnTo>
                    <a:lnTo>
                      <a:pt x="1643" y="802"/>
                    </a:lnTo>
                    <a:lnTo>
                      <a:pt x="1630" y="770"/>
                    </a:lnTo>
                    <a:lnTo>
                      <a:pt x="1612" y="739"/>
                    </a:lnTo>
                    <a:lnTo>
                      <a:pt x="1591" y="711"/>
                    </a:lnTo>
                    <a:lnTo>
                      <a:pt x="1568" y="686"/>
                    </a:lnTo>
                    <a:lnTo>
                      <a:pt x="1541" y="664"/>
                    </a:lnTo>
                    <a:lnTo>
                      <a:pt x="1511" y="645"/>
                    </a:lnTo>
                    <a:lnTo>
                      <a:pt x="1479" y="630"/>
                    </a:lnTo>
                    <a:lnTo>
                      <a:pt x="1443" y="619"/>
                    </a:lnTo>
                    <a:lnTo>
                      <a:pt x="1405" y="612"/>
                    </a:lnTo>
                    <a:lnTo>
                      <a:pt x="1364" y="609"/>
                    </a:lnTo>
                    <a:close/>
                    <a:moveTo>
                      <a:pt x="839" y="0"/>
                    </a:moveTo>
                    <a:lnTo>
                      <a:pt x="873" y="3"/>
                    </a:lnTo>
                    <a:lnTo>
                      <a:pt x="907" y="11"/>
                    </a:lnTo>
                    <a:lnTo>
                      <a:pt x="940" y="26"/>
                    </a:lnTo>
                    <a:lnTo>
                      <a:pt x="972" y="46"/>
                    </a:lnTo>
                    <a:lnTo>
                      <a:pt x="1001" y="72"/>
                    </a:lnTo>
                    <a:lnTo>
                      <a:pt x="1032" y="104"/>
                    </a:lnTo>
                    <a:lnTo>
                      <a:pt x="1062" y="136"/>
                    </a:lnTo>
                    <a:lnTo>
                      <a:pt x="1094" y="166"/>
                    </a:lnTo>
                    <a:lnTo>
                      <a:pt x="1136" y="200"/>
                    </a:lnTo>
                    <a:lnTo>
                      <a:pt x="1179" y="228"/>
                    </a:lnTo>
                    <a:lnTo>
                      <a:pt x="1224" y="252"/>
                    </a:lnTo>
                    <a:lnTo>
                      <a:pt x="1270" y="271"/>
                    </a:lnTo>
                    <a:lnTo>
                      <a:pt x="1319" y="286"/>
                    </a:lnTo>
                    <a:lnTo>
                      <a:pt x="1366" y="295"/>
                    </a:lnTo>
                    <a:lnTo>
                      <a:pt x="1415" y="299"/>
                    </a:lnTo>
                    <a:lnTo>
                      <a:pt x="1463" y="299"/>
                    </a:lnTo>
                    <a:lnTo>
                      <a:pt x="1468" y="299"/>
                    </a:lnTo>
                    <a:lnTo>
                      <a:pt x="1474" y="299"/>
                    </a:lnTo>
                    <a:lnTo>
                      <a:pt x="1477" y="299"/>
                    </a:lnTo>
                    <a:lnTo>
                      <a:pt x="1477" y="299"/>
                    </a:lnTo>
                    <a:lnTo>
                      <a:pt x="1494" y="299"/>
                    </a:lnTo>
                    <a:lnTo>
                      <a:pt x="1550" y="292"/>
                    </a:lnTo>
                    <a:lnTo>
                      <a:pt x="1604" y="280"/>
                    </a:lnTo>
                    <a:lnTo>
                      <a:pt x="1656" y="262"/>
                    </a:lnTo>
                    <a:lnTo>
                      <a:pt x="1705" y="239"/>
                    </a:lnTo>
                    <a:lnTo>
                      <a:pt x="1751" y="210"/>
                    </a:lnTo>
                    <a:lnTo>
                      <a:pt x="1796" y="177"/>
                    </a:lnTo>
                    <a:lnTo>
                      <a:pt x="1829" y="147"/>
                    </a:lnTo>
                    <a:lnTo>
                      <a:pt x="1860" y="115"/>
                    </a:lnTo>
                    <a:lnTo>
                      <a:pt x="1890" y="83"/>
                    </a:lnTo>
                    <a:lnTo>
                      <a:pt x="1915" y="59"/>
                    </a:lnTo>
                    <a:lnTo>
                      <a:pt x="1943" y="40"/>
                    </a:lnTo>
                    <a:lnTo>
                      <a:pt x="1971" y="25"/>
                    </a:lnTo>
                    <a:lnTo>
                      <a:pt x="2001" y="14"/>
                    </a:lnTo>
                    <a:lnTo>
                      <a:pt x="2032" y="7"/>
                    </a:lnTo>
                    <a:lnTo>
                      <a:pt x="2063" y="4"/>
                    </a:lnTo>
                    <a:lnTo>
                      <a:pt x="2095" y="7"/>
                    </a:lnTo>
                    <a:lnTo>
                      <a:pt x="2126" y="14"/>
                    </a:lnTo>
                    <a:lnTo>
                      <a:pt x="2156" y="25"/>
                    </a:lnTo>
                    <a:lnTo>
                      <a:pt x="2185" y="40"/>
                    </a:lnTo>
                    <a:lnTo>
                      <a:pt x="2212" y="59"/>
                    </a:lnTo>
                    <a:lnTo>
                      <a:pt x="2237" y="83"/>
                    </a:lnTo>
                    <a:lnTo>
                      <a:pt x="2267" y="115"/>
                    </a:lnTo>
                    <a:lnTo>
                      <a:pt x="2299" y="147"/>
                    </a:lnTo>
                    <a:lnTo>
                      <a:pt x="2331" y="177"/>
                    </a:lnTo>
                    <a:lnTo>
                      <a:pt x="2376" y="210"/>
                    </a:lnTo>
                    <a:lnTo>
                      <a:pt x="2422" y="239"/>
                    </a:lnTo>
                    <a:lnTo>
                      <a:pt x="2472" y="262"/>
                    </a:lnTo>
                    <a:lnTo>
                      <a:pt x="2523" y="280"/>
                    </a:lnTo>
                    <a:lnTo>
                      <a:pt x="2577" y="292"/>
                    </a:lnTo>
                    <a:lnTo>
                      <a:pt x="2633" y="299"/>
                    </a:lnTo>
                    <a:lnTo>
                      <a:pt x="2651" y="299"/>
                    </a:lnTo>
                    <a:lnTo>
                      <a:pt x="2699" y="299"/>
                    </a:lnTo>
                    <a:lnTo>
                      <a:pt x="2747" y="295"/>
                    </a:lnTo>
                    <a:lnTo>
                      <a:pt x="2795" y="286"/>
                    </a:lnTo>
                    <a:lnTo>
                      <a:pt x="2842" y="271"/>
                    </a:lnTo>
                    <a:lnTo>
                      <a:pt x="2889" y="252"/>
                    </a:lnTo>
                    <a:lnTo>
                      <a:pt x="2934" y="228"/>
                    </a:lnTo>
                    <a:lnTo>
                      <a:pt x="2977" y="200"/>
                    </a:lnTo>
                    <a:lnTo>
                      <a:pt x="3019" y="166"/>
                    </a:lnTo>
                    <a:lnTo>
                      <a:pt x="3051" y="136"/>
                    </a:lnTo>
                    <a:lnTo>
                      <a:pt x="3081" y="104"/>
                    </a:lnTo>
                    <a:lnTo>
                      <a:pt x="3112" y="72"/>
                    </a:lnTo>
                    <a:lnTo>
                      <a:pt x="3142" y="46"/>
                    </a:lnTo>
                    <a:lnTo>
                      <a:pt x="3173" y="26"/>
                    </a:lnTo>
                    <a:lnTo>
                      <a:pt x="3207" y="11"/>
                    </a:lnTo>
                    <a:lnTo>
                      <a:pt x="3240" y="3"/>
                    </a:lnTo>
                    <a:lnTo>
                      <a:pt x="3275" y="0"/>
                    </a:lnTo>
                    <a:lnTo>
                      <a:pt x="3306" y="2"/>
                    </a:lnTo>
                    <a:lnTo>
                      <a:pt x="3338" y="10"/>
                    </a:lnTo>
                    <a:lnTo>
                      <a:pt x="3368" y="22"/>
                    </a:lnTo>
                    <a:lnTo>
                      <a:pt x="3397" y="39"/>
                    </a:lnTo>
                    <a:lnTo>
                      <a:pt x="3416" y="121"/>
                    </a:lnTo>
                    <a:lnTo>
                      <a:pt x="3431" y="206"/>
                    </a:lnTo>
                    <a:lnTo>
                      <a:pt x="3442" y="292"/>
                    </a:lnTo>
                    <a:lnTo>
                      <a:pt x="3449" y="380"/>
                    </a:lnTo>
                    <a:lnTo>
                      <a:pt x="3451" y="468"/>
                    </a:lnTo>
                    <a:lnTo>
                      <a:pt x="3448" y="574"/>
                    </a:lnTo>
                    <a:lnTo>
                      <a:pt x="3438" y="677"/>
                    </a:lnTo>
                    <a:lnTo>
                      <a:pt x="3424" y="779"/>
                    </a:lnTo>
                    <a:lnTo>
                      <a:pt x="3403" y="879"/>
                    </a:lnTo>
                    <a:lnTo>
                      <a:pt x="3375" y="976"/>
                    </a:lnTo>
                    <a:lnTo>
                      <a:pt x="3343" y="1070"/>
                    </a:lnTo>
                    <a:lnTo>
                      <a:pt x="3305" y="1163"/>
                    </a:lnTo>
                    <a:lnTo>
                      <a:pt x="3263" y="1253"/>
                    </a:lnTo>
                    <a:lnTo>
                      <a:pt x="3215" y="1339"/>
                    </a:lnTo>
                    <a:lnTo>
                      <a:pt x="3163" y="1423"/>
                    </a:lnTo>
                    <a:lnTo>
                      <a:pt x="3106" y="1504"/>
                    </a:lnTo>
                    <a:lnTo>
                      <a:pt x="3045" y="1580"/>
                    </a:lnTo>
                    <a:lnTo>
                      <a:pt x="2979" y="1654"/>
                    </a:lnTo>
                    <a:lnTo>
                      <a:pt x="2910" y="1723"/>
                    </a:lnTo>
                    <a:lnTo>
                      <a:pt x="2837" y="1788"/>
                    </a:lnTo>
                    <a:lnTo>
                      <a:pt x="2761" y="1849"/>
                    </a:lnTo>
                    <a:lnTo>
                      <a:pt x="2680" y="1906"/>
                    </a:lnTo>
                    <a:lnTo>
                      <a:pt x="2596" y="1958"/>
                    </a:lnTo>
                    <a:lnTo>
                      <a:pt x="2509" y="2005"/>
                    </a:lnTo>
                    <a:lnTo>
                      <a:pt x="2420" y="2048"/>
                    </a:lnTo>
                    <a:lnTo>
                      <a:pt x="2328" y="2086"/>
                    </a:lnTo>
                    <a:lnTo>
                      <a:pt x="2233" y="2119"/>
                    </a:lnTo>
                    <a:lnTo>
                      <a:pt x="2135" y="2145"/>
                    </a:lnTo>
                    <a:lnTo>
                      <a:pt x="2036" y="2166"/>
                    </a:lnTo>
                    <a:lnTo>
                      <a:pt x="1934" y="2181"/>
                    </a:lnTo>
                    <a:lnTo>
                      <a:pt x="1831" y="2191"/>
                    </a:lnTo>
                    <a:lnTo>
                      <a:pt x="1726" y="2194"/>
                    </a:lnTo>
                    <a:lnTo>
                      <a:pt x="1620" y="2191"/>
                    </a:lnTo>
                    <a:lnTo>
                      <a:pt x="1516" y="2181"/>
                    </a:lnTo>
                    <a:lnTo>
                      <a:pt x="1415" y="2166"/>
                    </a:lnTo>
                    <a:lnTo>
                      <a:pt x="1315" y="2145"/>
                    </a:lnTo>
                    <a:lnTo>
                      <a:pt x="1218" y="2119"/>
                    </a:lnTo>
                    <a:lnTo>
                      <a:pt x="1124" y="2086"/>
                    </a:lnTo>
                    <a:lnTo>
                      <a:pt x="1031" y="2048"/>
                    </a:lnTo>
                    <a:lnTo>
                      <a:pt x="941" y="2005"/>
                    </a:lnTo>
                    <a:lnTo>
                      <a:pt x="855" y="1958"/>
                    </a:lnTo>
                    <a:lnTo>
                      <a:pt x="771" y="1906"/>
                    </a:lnTo>
                    <a:lnTo>
                      <a:pt x="690" y="1849"/>
                    </a:lnTo>
                    <a:lnTo>
                      <a:pt x="614" y="1788"/>
                    </a:lnTo>
                    <a:lnTo>
                      <a:pt x="540" y="1723"/>
                    </a:lnTo>
                    <a:lnTo>
                      <a:pt x="471" y="1654"/>
                    </a:lnTo>
                    <a:lnTo>
                      <a:pt x="406" y="1580"/>
                    </a:lnTo>
                    <a:lnTo>
                      <a:pt x="345" y="1504"/>
                    </a:lnTo>
                    <a:lnTo>
                      <a:pt x="288" y="1423"/>
                    </a:lnTo>
                    <a:lnTo>
                      <a:pt x="236" y="1339"/>
                    </a:lnTo>
                    <a:lnTo>
                      <a:pt x="189" y="1253"/>
                    </a:lnTo>
                    <a:lnTo>
                      <a:pt x="146" y="1163"/>
                    </a:lnTo>
                    <a:lnTo>
                      <a:pt x="108" y="1070"/>
                    </a:lnTo>
                    <a:lnTo>
                      <a:pt x="75" y="976"/>
                    </a:lnTo>
                    <a:lnTo>
                      <a:pt x="49" y="879"/>
                    </a:lnTo>
                    <a:lnTo>
                      <a:pt x="28" y="779"/>
                    </a:lnTo>
                    <a:lnTo>
                      <a:pt x="13" y="677"/>
                    </a:lnTo>
                    <a:lnTo>
                      <a:pt x="3" y="574"/>
                    </a:lnTo>
                    <a:lnTo>
                      <a:pt x="0" y="468"/>
                    </a:lnTo>
                    <a:lnTo>
                      <a:pt x="1" y="396"/>
                    </a:lnTo>
                    <a:lnTo>
                      <a:pt x="6" y="324"/>
                    </a:lnTo>
                    <a:lnTo>
                      <a:pt x="14" y="252"/>
                    </a:lnTo>
                    <a:lnTo>
                      <a:pt x="57" y="270"/>
                    </a:lnTo>
                    <a:lnTo>
                      <a:pt x="102" y="284"/>
                    </a:lnTo>
                    <a:lnTo>
                      <a:pt x="148" y="293"/>
                    </a:lnTo>
                    <a:lnTo>
                      <a:pt x="196" y="299"/>
                    </a:lnTo>
                    <a:lnTo>
                      <a:pt x="214" y="299"/>
                    </a:lnTo>
                    <a:lnTo>
                      <a:pt x="262" y="299"/>
                    </a:lnTo>
                    <a:lnTo>
                      <a:pt x="311" y="295"/>
                    </a:lnTo>
                    <a:lnTo>
                      <a:pt x="359" y="286"/>
                    </a:lnTo>
                    <a:lnTo>
                      <a:pt x="406" y="271"/>
                    </a:lnTo>
                    <a:lnTo>
                      <a:pt x="452" y="252"/>
                    </a:lnTo>
                    <a:lnTo>
                      <a:pt x="497" y="228"/>
                    </a:lnTo>
                    <a:lnTo>
                      <a:pt x="541" y="200"/>
                    </a:lnTo>
                    <a:lnTo>
                      <a:pt x="582" y="166"/>
                    </a:lnTo>
                    <a:lnTo>
                      <a:pt x="615" y="136"/>
                    </a:lnTo>
                    <a:lnTo>
                      <a:pt x="645" y="104"/>
                    </a:lnTo>
                    <a:lnTo>
                      <a:pt x="675" y="72"/>
                    </a:lnTo>
                    <a:lnTo>
                      <a:pt x="705" y="46"/>
                    </a:lnTo>
                    <a:lnTo>
                      <a:pt x="736" y="26"/>
                    </a:lnTo>
                    <a:lnTo>
                      <a:pt x="770" y="11"/>
                    </a:lnTo>
                    <a:lnTo>
                      <a:pt x="804" y="3"/>
                    </a:lnTo>
                    <a:lnTo>
                      <a:pt x="839" y="0"/>
                    </a:lnTo>
                    <a:close/>
                  </a:path>
                </a:pathLst>
              </a:custGeom>
              <a:solidFill>
                <a:schemeClr val="accent1">
                  <a:lumMod val="75000"/>
                </a:schemeClr>
              </a:solidFill>
              <a:ln w="0">
                <a:noFill/>
                <a:prstDash val="solid"/>
                <a:round/>
                <a:headEnd/>
                <a:tailEnd/>
              </a:ln>
            </p:spPr>
            <p:txBody>
              <a:bodyPr lIns="68544" tIns="34272" rIns="68544" bIns="34272"/>
              <a:lstStyle/>
              <a:p>
                <a:pPr defTabSz="685800" eaLnBrk="1" fontAlgn="auto" hangingPunct="1">
                  <a:spcBef>
                    <a:spcPts val="0"/>
                  </a:spcBef>
                  <a:spcAft>
                    <a:spcPts val="0"/>
                  </a:spcAft>
                  <a:defRPr/>
                </a:pPr>
                <a:endParaRPr lang="en-US" sz="1424">
                  <a:solidFill>
                    <a:prstClr val="black"/>
                  </a:solidFill>
                  <a:latin typeface="Arial"/>
                </a:endParaRPr>
              </a:p>
            </p:txBody>
          </p:sp>
        </p:grpSp>
        <p:sp>
          <p:nvSpPr>
            <p:cNvPr id="176191" name="TextBox 109">
              <a:extLst>
                <a:ext uri="{FF2B5EF4-FFF2-40B4-BE49-F238E27FC236}">
                  <a16:creationId xmlns:a16="http://schemas.microsoft.com/office/drawing/2014/main" id="{13D8F525-7978-4E16-BBAA-03EB1D392366}"/>
                </a:ext>
              </a:extLst>
            </p:cNvPr>
            <p:cNvSpPr txBox="1">
              <a:spLocks noChangeArrowheads="1"/>
            </p:cNvSpPr>
            <p:nvPr/>
          </p:nvSpPr>
          <p:spPr bwMode="auto">
            <a:xfrm>
              <a:off x="4386807" y="5474323"/>
              <a:ext cx="1019528" cy="23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44" tIns="34272" rIns="68544" bIns="34272" anchor="ctr"/>
            <a:lstStyle>
              <a:lvl1pPr defTabSz="685800">
                <a:lnSpc>
                  <a:spcPct val="95000"/>
                </a:lnSpc>
                <a:spcBef>
                  <a:spcPts val="900"/>
                </a:spcBef>
                <a:spcAft>
                  <a:spcPts val="300"/>
                </a:spcAft>
                <a:buClr>
                  <a:schemeClr val="accent1"/>
                </a:buClr>
                <a:buFont typeface="Wingdings" panose="05000000000000000000" pitchFamily="2" charset="2"/>
                <a:buChar char="§"/>
                <a:defRPr sz="1600">
                  <a:solidFill>
                    <a:schemeClr val="tx1"/>
                  </a:solidFill>
                  <a:latin typeface="Arial" panose="020B0604020202020204" pitchFamily="34" charset="0"/>
                </a:defRPr>
              </a:lvl1pPr>
              <a:lvl2pPr marL="342900" indent="-171450" defTabSz="685800">
                <a:lnSpc>
                  <a:spcPct val="90000"/>
                </a:lnSpc>
                <a:spcBef>
                  <a:spcPts val="150"/>
                </a:spcBef>
                <a:spcAft>
                  <a:spcPts val="300"/>
                </a:spcAft>
                <a:buClr>
                  <a:srgbClr val="595959"/>
                </a:buClr>
                <a:buFont typeface="Wingdings" panose="05000000000000000000" pitchFamily="2" charset="2"/>
                <a:buChar char="§"/>
                <a:defRPr sz="1300">
                  <a:solidFill>
                    <a:schemeClr val="tx1"/>
                  </a:solidFill>
                  <a:latin typeface="Arial" panose="020B0604020202020204" pitchFamily="34" charset="0"/>
                </a:defRPr>
              </a:lvl2pPr>
              <a:lvl3pPr marL="514350" indent="-171450" defTabSz="685800">
                <a:lnSpc>
                  <a:spcPct val="85000"/>
                </a:lnSpc>
                <a:spcBef>
                  <a:spcPts val="150"/>
                </a:spcBef>
                <a:spcAft>
                  <a:spcPts val="300"/>
                </a:spcAft>
                <a:buClr>
                  <a:srgbClr val="595959"/>
                </a:buClr>
                <a:buFont typeface="Wingdings" panose="05000000000000000000" pitchFamily="2" charset="2"/>
                <a:buChar char="§"/>
                <a:defRPr sz="1200">
                  <a:solidFill>
                    <a:schemeClr val="tx1"/>
                  </a:solidFill>
                  <a:latin typeface="Arial" panose="020B0604020202020204" pitchFamily="34" charset="0"/>
                </a:defRPr>
              </a:lvl3pPr>
              <a:lvl4pPr marL="685800" indent="-171450" defTabSz="685800">
                <a:lnSpc>
                  <a:spcPct val="85000"/>
                </a:lnSpc>
                <a:spcBef>
                  <a:spcPts val="150"/>
                </a:spcBef>
                <a:spcAft>
                  <a:spcPts val="300"/>
                </a:spcAft>
                <a:buClr>
                  <a:srgbClr val="595959"/>
                </a:buClr>
                <a:buFont typeface="Wingdings" panose="05000000000000000000" pitchFamily="2" charset="2"/>
                <a:buChar char="§"/>
                <a:defRPr sz="1000">
                  <a:solidFill>
                    <a:schemeClr val="tx1"/>
                  </a:solidFill>
                  <a:latin typeface="Arial" panose="020B0604020202020204" pitchFamily="34" charset="0"/>
                </a:defRPr>
              </a:lvl4pPr>
              <a:lvl5pPr marL="814388" indent="-128588" defTabSz="68580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5pPr>
              <a:lvl6pPr marL="12715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6pPr>
              <a:lvl7pPr marL="17287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7pPr>
              <a:lvl8pPr marL="21859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8pPr>
              <a:lvl9pPr marL="2643188" indent="-128588" defTabSz="685800" eaLnBrk="0" fontAlgn="base" hangingPunct="0">
                <a:lnSpc>
                  <a:spcPct val="85000"/>
                </a:lnSpc>
                <a:spcBef>
                  <a:spcPts val="150"/>
                </a:spcBef>
                <a:spcAft>
                  <a:spcPts val="300"/>
                </a:spcAft>
                <a:buClr>
                  <a:srgbClr val="595959"/>
                </a:buClr>
                <a:buFont typeface="Wingdings" panose="05000000000000000000" pitchFamily="2" charset="2"/>
                <a:buChar char="§"/>
                <a:defRPr sz="900">
                  <a:solidFill>
                    <a:schemeClr val="tx1"/>
                  </a:solidFill>
                  <a:latin typeface="Arial" panose="020B0604020202020204" pitchFamily="34" charset="0"/>
                </a:defRPr>
              </a:lvl9pPr>
            </a:lstStyle>
            <a:p>
              <a:pPr algn="ctr" eaLnBrk="1" hangingPunct="1">
                <a:spcBef>
                  <a:spcPts val="300"/>
                </a:spcBef>
                <a:spcAft>
                  <a:spcPts val="150"/>
                </a:spcAft>
                <a:buClr>
                  <a:srgbClr val="0067C5"/>
                </a:buClr>
                <a:buFontTx/>
                <a:buNone/>
              </a:pPr>
              <a:endParaRPr lang="en-US" altLang="en-US" sz="1200">
                <a:solidFill>
                  <a:srgbClr val="595959"/>
                </a:solidFill>
              </a:endParaRPr>
            </a:p>
          </p:txBody>
        </p:sp>
      </p:grpSp>
      <p:pic>
        <p:nvPicPr>
          <p:cNvPr id="176161" name="Picture 13" descr="A close up of a sign&#10;&#10;Description generated with high confidence">
            <a:extLst>
              <a:ext uri="{FF2B5EF4-FFF2-40B4-BE49-F238E27FC236}">
                <a16:creationId xmlns:a16="http://schemas.microsoft.com/office/drawing/2014/main" id="{F6402BFE-D5D6-4884-BFB8-6CD4438F570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06813" y="3379788"/>
            <a:ext cx="746125"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FBA3975-5560-451B-8DA6-5FAA6A25899A}"/>
              </a:ext>
            </a:extLst>
          </p:cNvPr>
          <p:cNvSpPr/>
          <p:nvPr/>
        </p:nvSpPr>
        <p:spPr>
          <a:xfrm>
            <a:off x="2774950" y="1676400"/>
            <a:ext cx="938213" cy="398463"/>
          </a:xfrm>
          <a:prstGeom prst="rect">
            <a:avLst/>
          </a:prstGeom>
        </p:spPr>
        <p:txBody>
          <a:bodyPr>
            <a:spAutoFit/>
          </a:bodyPr>
          <a:lstStyle/>
          <a:p>
            <a:pPr algn="ctr" defTabSz="685800" eaLnBrk="1" fontAlgn="auto" hangingPunct="1">
              <a:lnSpc>
                <a:spcPct val="95000"/>
              </a:lnSpc>
              <a:spcBef>
                <a:spcPts val="300"/>
              </a:spcBef>
              <a:spcAft>
                <a:spcPts val="150"/>
              </a:spcAft>
              <a:buClr>
                <a:srgbClr val="0067C5"/>
              </a:buClr>
              <a:defRPr/>
            </a:pPr>
            <a:r>
              <a:rPr lang="en-US" sz="1050" dirty="0">
                <a:solidFill>
                  <a:prstClr val="black">
                    <a:lumMod val="65000"/>
                    <a:lumOff val="35000"/>
                  </a:prstClr>
                </a:solidFill>
                <a:latin typeface="Arial"/>
              </a:rPr>
              <a:t>Advanced AI/ Analytics</a:t>
            </a:r>
          </a:p>
        </p:txBody>
      </p:sp>
      <p:sp>
        <p:nvSpPr>
          <p:cNvPr id="160" name="Rectangle 159">
            <a:extLst>
              <a:ext uri="{FF2B5EF4-FFF2-40B4-BE49-F238E27FC236}">
                <a16:creationId xmlns:a16="http://schemas.microsoft.com/office/drawing/2014/main" id="{10E84315-6E77-4ACE-9566-8F5A8469AD81}"/>
              </a:ext>
            </a:extLst>
          </p:cNvPr>
          <p:cNvSpPr/>
          <p:nvPr/>
        </p:nvSpPr>
        <p:spPr>
          <a:xfrm>
            <a:off x="3703638" y="1682750"/>
            <a:ext cx="857250" cy="400050"/>
          </a:xfrm>
          <a:prstGeom prst="rect">
            <a:avLst/>
          </a:prstGeom>
        </p:spPr>
        <p:txBody>
          <a:bodyPr>
            <a:spAutoFit/>
          </a:bodyPr>
          <a:lstStyle/>
          <a:p>
            <a:pPr algn="ctr" defTabSz="685800" eaLnBrk="1" fontAlgn="auto" hangingPunct="1">
              <a:lnSpc>
                <a:spcPct val="95000"/>
              </a:lnSpc>
              <a:spcBef>
                <a:spcPts val="300"/>
              </a:spcBef>
              <a:spcAft>
                <a:spcPts val="150"/>
              </a:spcAft>
              <a:buClr>
                <a:srgbClr val="0067C5"/>
              </a:buClr>
              <a:defRPr/>
            </a:pPr>
            <a:r>
              <a:rPr lang="en-US" sz="1050" dirty="0">
                <a:solidFill>
                  <a:prstClr val="black">
                    <a:lumMod val="65000"/>
                    <a:lumOff val="35000"/>
                  </a:prstClr>
                </a:solidFill>
                <a:latin typeface="Arial"/>
              </a:rPr>
              <a:t>Enterprise Apps</a:t>
            </a:r>
          </a:p>
        </p:txBody>
      </p:sp>
      <p:sp>
        <p:nvSpPr>
          <p:cNvPr id="161" name="Right Arrow 132">
            <a:extLst>
              <a:ext uri="{FF2B5EF4-FFF2-40B4-BE49-F238E27FC236}">
                <a16:creationId xmlns:a16="http://schemas.microsoft.com/office/drawing/2014/main" id="{F3285D57-129D-426C-B327-1E7BF6E5E635}"/>
              </a:ext>
            </a:extLst>
          </p:cNvPr>
          <p:cNvSpPr/>
          <p:nvPr/>
        </p:nvSpPr>
        <p:spPr>
          <a:xfrm>
            <a:off x="2052638" y="1149350"/>
            <a:ext cx="484187" cy="550863"/>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sp>
        <p:nvSpPr>
          <p:cNvPr id="162" name="Left-Right Arrow 133">
            <a:extLst>
              <a:ext uri="{FF2B5EF4-FFF2-40B4-BE49-F238E27FC236}">
                <a16:creationId xmlns:a16="http://schemas.microsoft.com/office/drawing/2014/main" id="{C466C234-5CDB-4A11-A88C-639099B05B19}"/>
              </a:ext>
            </a:extLst>
          </p:cNvPr>
          <p:cNvSpPr/>
          <p:nvPr/>
        </p:nvSpPr>
        <p:spPr>
          <a:xfrm>
            <a:off x="5556250" y="1198563"/>
            <a:ext cx="947738" cy="501650"/>
          </a:xfrm>
          <a:prstGeom prst="leftRightArrow">
            <a:avLst>
              <a:gd name="adj1" fmla="val 59150"/>
              <a:gd name="adj2" fmla="val 43037"/>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sp>
        <p:nvSpPr>
          <p:cNvPr id="163" name="Freeform 26">
            <a:extLst>
              <a:ext uri="{FF2B5EF4-FFF2-40B4-BE49-F238E27FC236}">
                <a16:creationId xmlns:a16="http://schemas.microsoft.com/office/drawing/2014/main" id="{151BF65C-0DBA-4920-AF98-49CE281D8147}"/>
              </a:ext>
            </a:extLst>
          </p:cNvPr>
          <p:cNvSpPr>
            <a:spLocks/>
          </p:cNvSpPr>
          <p:nvPr/>
        </p:nvSpPr>
        <p:spPr bwMode="auto">
          <a:xfrm>
            <a:off x="2981325" y="2817813"/>
            <a:ext cx="101600" cy="303212"/>
          </a:xfrm>
          <a:custGeom>
            <a:avLst/>
            <a:gdLst>
              <a:gd name="T0" fmla="*/ 73 w 465"/>
              <a:gd name="T1" fmla="*/ 0 h 2270"/>
              <a:gd name="T2" fmla="*/ 93 w 465"/>
              <a:gd name="T3" fmla="*/ 3 h 2270"/>
              <a:gd name="T4" fmla="*/ 414 w 465"/>
              <a:gd name="T5" fmla="*/ 100 h 2270"/>
              <a:gd name="T6" fmla="*/ 430 w 465"/>
              <a:gd name="T7" fmla="*/ 107 h 2270"/>
              <a:gd name="T8" fmla="*/ 445 w 465"/>
              <a:gd name="T9" fmla="*/ 119 h 2270"/>
              <a:gd name="T10" fmla="*/ 456 w 465"/>
              <a:gd name="T11" fmla="*/ 133 h 2270"/>
              <a:gd name="T12" fmla="*/ 463 w 465"/>
              <a:gd name="T13" fmla="*/ 150 h 2270"/>
              <a:gd name="T14" fmla="*/ 465 w 465"/>
              <a:gd name="T15" fmla="*/ 169 h 2270"/>
              <a:gd name="T16" fmla="*/ 465 w 465"/>
              <a:gd name="T17" fmla="*/ 2101 h 2270"/>
              <a:gd name="T18" fmla="*/ 463 w 465"/>
              <a:gd name="T19" fmla="*/ 2120 h 2270"/>
              <a:gd name="T20" fmla="*/ 456 w 465"/>
              <a:gd name="T21" fmla="*/ 2136 h 2270"/>
              <a:gd name="T22" fmla="*/ 445 w 465"/>
              <a:gd name="T23" fmla="*/ 2151 h 2270"/>
              <a:gd name="T24" fmla="*/ 430 w 465"/>
              <a:gd name="T25" fmla="*/ 2162 h 2270"/>
              <a:gd name="T26" fmla="*/ 414 w 465"/>
              <a:gd name="T27" fmla="*/ 2170 h 2270"/>
              <a:gd name="T28" fmla="*/ 93 w 465"/>
              <a:gd name="T29" fmla="*/ 2267 h 2270"/>
              <a:gd name="T30" fmla="*/ 73 w 465"/>
              <a:gd name="T31" fmla="*/ 2270 h 2270"/>
              <a:gd name="T32" fmla="*/ 54 w 465"/>
              <a:gd name="T33" fmla="*/ 2268 h 2270"/>
              <a:gd name="T34" fmla="*/ 38 w 465"/>
              <a:gd name="T35" fmla="*/ 2261 h 2270"/>
              <a:gd name="T36" fmla="*/ 22 w 465"/>
              <a:gd name="T37" fmla="*/ 2249 h 2270"/>
              <a:gd name="T38" fmla="*/ 10 w 465"/>
              <a:gd name="T39" fmla="*/ 2235 h 2270"/>
              <a:gd name="T40" fmla="*/ 3 w 465"/>
              <a:gd name="T41" fmla="*/ 2217 h 2270"/>
              <a:gd name="T42" fmla="*/ 0 w 465"/>
              <a:gd name="T43" fmla="*/ 2197 h 2270"/>
              <a:gd name="T44" fmla="*/ 0 w 465"/>
              <a:gd name="T45" fmla="*/ 73 h 2270"/>
              <a:gd name="T46" fmla="*/ 3 w 465"/>
              <a:gd name="T47" fmla="*/ 53 h 2270"/>
              <a:gd name="T48" fmla="*/ 10 w 465"/>
              <a:gd name="T49" fmla="*/ 35 h 2270"/>
              <a:gd name="T50" fmla="*/ 22 w 465"/>
              <a:gd name="T51" fmla="*/ 20 h 2270"/>
              <a:gd name="T52" fmla="*/ 38 w 465"/>
              <a:gd name="T53" fmla="*/ 9 h 2270"/>
              <a:gd name="T54" fmla="*/ 54 w 465"/>
              <a:gd name="T55" fmla="*/ 2 h 2270"/>
              <a:gd name="T56" fmla="*/ 73 w 465"/>
              <a:gd name="T57" fmla="*/ 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5" h="2270">
                <a:moveTo>
                  <a:pt x="73" y="0"/>
                </a:moveTo>
                <a:lnTo>
                  <a:pt x="93" y="3"/>
                </a:lnTo>
                <a:lnTo>
                  <a:pt x="414" y="100"/>
                </a:lnTo>
                <a:lnTo>
                  <a:pt x="430" y="107"/>
                </a:lnTo>
                <a:lnTo>
                  <a:pt x="445" y="119"/>
                </a:lnTo>
                <a:lnTo>
                  <a:pt x="456" y="133"/>
                </a:lnTo>
                <a:lnTo>
                  <a:pt x="463" y="150"/>
                </a:lnTo>
                <a:lnTo>
                  <a:pt x="465" y="169"/>
                </a:lnTo>
                <a:lnTo>
                  <a:pt x="465" y="2101"/>
                </a:lnTo>
                <a:lnTo>
                  <a:pt x="463" y="2120"/>
                </a:lnTo>
                <a:lnTo>
                  <a:pt x="456" y="2136"/>
                </a:lnTo>
                <a:lnTo>
                  <a:pt x="445" y="2151"/>
                </a:lnTo>
                <a:lnTo>
                  <a:pt x="430" y="2162"/>
                </a:lnTo>
                <a:lnTo>
                  <a:pt x="414" y="2170"/>
                </a:lnTo>
                <a:lnTo>
                  <a:pt x="93" y="2267"/>
                </a:lnTo>
                <a:lnTo>
                  <a:pt x="73" y="2270"/>
                </a:lnTo>
                <a:lnTo>
                  <a:pt x="54" y="2268"/>
                </a:lnTo>
                <a:lnTo>
                  <a:pt x="38" y="2261"/>
                </a:lnTo>
                <a:lnTo>
                  <a:pt x="22" y="2249"/>
                </a:lnTo>
                <a:lnTo>
                  <a:pt x="10" y="2235"/>
                </a:lnTo>
                <a:lnTo>
                  <a:pt x="3" y="2217"/>
                </a:lnTo>
                <a:lnTo>
                  <a:pt x="0" y="2197"/>
                </a:lnTo>
                <a:lnTo>
                  <a:pt x="0" y="73"/>
                </a:lnTo>
                <a:lnTo>
                  <a:pt x="3" y="53"/>
                </a:lnTo>
                <a:lnTo>
                  <a:pt x="10" y="35"/>
                </a:lnTo>
                <a:lnTo>
                  <a:pt x="22" y="20"/>
                </a:lnTo>
                <a:lnTo>
                  <a:pt x="38" y="9"/>
                </a:lnTo>
                <a:lnTo>
                  <a:pt x="54" y="2"/>
                </a:lnTo>
                <a:lnTo>
                  <a:pt x="73" y="0"/>
                </a:lnTo>
                <a:close/>
              </a:path>
            </a:pathLst>
          </a:custGeom>
          <a:solidFill>
            <a:schemeClr val="accent2"/>
          </a:solidFill>
          <a:ln w="0">
            <a:noFill/>
            <a:prstDash val="solid"/>
            <a:round/>
            <a:headEnd/>
            <a:tailEnd/>
          </a:ln>
        </p:spPr>
        <p:txBody>
          <a:bodyPr lIns="41127" tIns="102843" rIns="68544" bIns="34272"/>
          <a:lstStyle/>
          <a:p>
            <a:pPr defTabSz="685800" eaLnBrk="1" fontAlgn="auto" hangingPunct="1">
              <a:spcBef>
                <a:spcPts val="0"/>
              </a:spcBef>
              <a:spcAft>
                <a:spcPts val="0"/>
              </a:spcAft>
              <a:defRPr/>
            </a:pPr>
            <a:r>
              <a:rPr lang="en-US" sz="750" b="1">
                <a:solidFill>
                  <a:prstClr val="white"/>
                </a:solidFill>
                <a:latin typeface="Arial"/>
              </a:rPr>
              <a:t>1</a:t>
            </a:r>
            <a:endParaRPr lang="en-US" sz="900" b="1">
              <a:solidFill>
                <a:prstClr val="white"/>
              </a:solidFill>
              <a:latin typeface="Arial"/>
            </a:endParaRPr>
          </a:p>
        </p:txBody>
      </p:sp>
      <p:sp>
        <p:nvSpPr>
          <p:cNvPr id="164" name="Freeform 28">
            <a:extLst>
              <a:ext uri="{FF2B5EF4-FFF2-40B4-BE49-F238E27FC236}">
                <a16:creationId xmlns:a16="http://schemas.microsoft.com/office/drawing/2014/main" id="{8C53ACBC-9A0F-4964-99C2-9D0B7E0D3E3D}"/>
              </a:ext>
            </a:extLst>
          </p:cNvPr>
          <p:cNvSpPr>
            <a:spLocks/>
          </p:cNvSpPr>
          <p:nvPr/>
        </p:nvSpPr>
        <p:spPr bwMode="auto">
          <a:xfrm>
            <a:off x="3101975" y="2768600"/>
            <a:ext cx="112713" cy="366713"/>
          </a:xfrm>
          <a:custGeom>
            <a:avLst/>
            <a:gdLst>
              <a:gd name="T0" fmla="*/ 92 w 566"/>
              <a:gd name="T1" fmla="*/ 0 h 2756"/>
              <a:gd name="T2" fmla="*/ 114 w 566"/>
              <a:gd name="T3" fmla="*/ 3 h 2756"/>
              <a:gd name="T4" fmla="*/ 503 w 566"/>
              <a:gd name="T5" fmla="*/ 120 h 2756"/>
              <a:gd name="T6" fmla="*/ 524 w 566"/>
              <a:gd name="T7" fmla="*/ 130 h 2756"/>
              <a:gd name="T8" fmla="*/ 541 w 566"/>
              <a:gd name="T9" fmla="*/ 144 h 2756"/>
              <a:gd name="T10" fmla="*/ 554 w 566"/>
              <a:gd name="T11" fmla="*/ 162 h 2756"/>
              <a:gd name="T12" fmla="*/ 562 w 566"/>
              <a:gd name="T13" fmla="*/ 182 h 2756"/>
              <a:gd name="T14" fmla="*/ 566 w 566"/>
              <a:gd name="T15" fmla="*/ 205 h 2756"/>
              <a:gd name="T16" fmla="*/ 566 w 566"/>
              <a:gd name="T17" fmla="*/ 2551 h 2756"/>
              <a:gd name="T18" fmla="*/ 562 w 566"/>
              <a:gd name="T19" fmla="*/ 2574 h 2756"/>
              <a:gd name="T20" fmla="*/ 554 w 566"/>
              <a:gd name="T21" fmla="*/ 2594 h 2756"/>
              <a:gd name="T22" fmla="*/ 541 w 566"/>
              <a:gd name="T23" fmla="*/ 2611 h 2756"/>
              <a:gd name="T24" fmla="*/ 524 w 566"/>
              <a:gd name="T25" fmla="*/ 2626 h 2756"/>
              <a:gd name="T26" fmla="*/ 503 w 566"/>
              <a:gd name="T27" fmla="*/ 2635 h 2756"/>
              <a:gd name="T28" fmla="*/ 114 w 566"/>
              <a:gd name="T29" fmla="*/ 2752 h 2756"/>
              <a:gd name="T30" fmla="*/ 92 w 566"/>
              <a:gd name="T31" fmla="*/ 2756 h 2756"/>
              <a:gd name="T32" fmla="*/ 72 w 566"/>
              <a:gd name="T33" fmla="*/ 2754 h 2756"/>
              <a:gd name="T34" fmla="*/ 52 w 566"/>
              <a:gd name="T35" fmla="*/ 2748 h 2756"/>
              <a:gd name="T36" fmla="*/ 36 w 566"/>
              <a:gd name="T37" fmla="*/ 2739 h 2756"/>
              <a:gd name="T38" fmla="*/ 21 w 566"/>
              <a:gd name="T39" fmla="*/ 2725 h 2756"/>
              <a:gd name="T40" fmla="*/ 10 w 566"/>
              <a:gd name="T41" fmla="*/ 2709 h 2756"/>
              <a:gd name="T42" fmla="*/ 2 w 566"/>
              <a:gd name="T43" fmla="*/ 2690 h 2756"/>
              <a:gd name="T44" fmla="*/ 0 w 566"/>
              <a:gd name="T45" fmla="*/ 2668 h 2756"/>
              <a:gd name="T46" fmla="*/ 0 w 566"/>
              <a:gd name="T47" fmla="*/ 88 h 2756"/>
              <a:gd name="T48" fmla="*/ 2 w 566"/>
              <a:gd name="T49" fmla="*/ 66 h 2756"/>
              <a:gd name="T50" fmla="*/ 10 w 566"/>
              <a:gd name="T51" fmla="*/ 47 h 2756"/>
              <a:gd name="T52" fmla="*/ 21 w 566"/>
              <a:gd name="T53" fmla="*/ 30 h 2756"/>
              <a:gd name="T54" fmla="*/ 36 w 566"/>
              <a:gd name="T55" fmla="*/ 17 h 2756"/>
              <a:gd name="T56" fmla="*/ 52 w 566"/>
              <a:gd name="T57" fmla="*/ 7 h 2756"/>
              <a:gd name="T58" fmla="*/ 72 w 566"/>
              <a:gd name="T59" fmla="*/ 1 h 2756"/>
              <a:gd name="T60" fmla="*/ 92 w 566"/>
              <a:gd name="T61" fmla="*/ 0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6" h="2756">
                <a:moveTo>
                  <a:pt x="92" y="0"/>
                </a:moveTo>
                <a:lnTo>
                  <a:pt x="114" y="3"/>
                </a:lnTo>
                <a:lnTo>
                  <a:pt x="503" y="120"/>
                </a:lnTo>
                <a:lnTo>
                  <a:pt x="524" y="130"/>
                </a:lnTo>
                <a:lnTo>
                  <a:pt x="541" y="144"/>
                </a:lnTo>
                <a:lnTo>
                  <a:pt x="554" y="162"/>
                </a:lnTo>
                <a:lnTo>
                  <a:pt x="562" y="182"/>
                </a:lnTo>
                <a:lnTo>
                  <a:pt x="566" y="205"/>
                </a:lnTo>
                <a:lnTo>
                  <a:pt x="566" y="2551"/>
                </a:lnTo>
                <a:lnTo>
                  <a:pt x="562" y="2574"/>
                </a:lnTo>
                <a:lnTo>
                  <a:pt x="554" y="2594"/>
                </a:lnTo>
                <a:lnTo>
                  <a:pt x="541" y="2611"/>
                </a:lnTo>
                <a:lnTo>
                  <a:pt x="524" y="2626"/>
                </a:lnTo>
                <a:lnTo>
                  <a:pt x="503" y="2635"/>
                </a:lnTo>
                <a:lnTo>
                  <a:pt x="114" y="2752"/>
                </a:lnTo>
                <a:lnTo>
                  <a:pt x="92" y="2756"/>
                </a:lnTo>
                <a:lnTo>
                  <a:pt x="72" y="2754"/>
                </a:lnTo>
                <a:lnTo>
                  <a:pt x="52" y="2748"/>
                </a:lnTo>
                <a:lnTo>
                  <a:pt x="36" y="2739"/>
                </a:lnTo>
                <a:lnTo>
                  <a:pt x="21" y="2725"/>
                </a:lnTo>
                <a:lnTo>
                  <a:pt x="10" y="2709"/>
                </a:lnTo>
                <a:lnTo>
                  <a:pt x="2" y="2690"/>
                </a:lnTo>
                <a:lnTo>
                  <a:pt x="0" y="2668"/>
                </a:lnTo>
                <a:lnTo>
                  <a:pt x="0" y="88"/>
                </a:lnTo>
                <a:lnTo>
                  <a:pt x="2" y="66"/>
                </a:lnTo>
                <a:lnTo>
                  <a:pt x="10" y="47"/>
                </a:lnTo>
                <a:lnTo>
                  <a:pt x="21" y="30"/>
                </a:lnTo>
                <a:lnTo>
                  <a:pt x="36" y="17"/>
                </a:lnTo>
                <a:lnTo>
                  <a:pt x="52" y="7"/>
                </a:lnTo>
                <a:lnTo>
                  <a:pt x="72" y="1"/>
                </a:lnTo>
                <a:lnTo>
                  <a:pt x="92" y="0"/>
                </a:lnTo>
                <a:close/>
              </a:path>
            </a:pathLst>
          </a:custGeom>
          <a:solidFill>
            <a:schemeClr val="accent1"/>
          </a:solidFill>
          <a:ln w="0">
            <a:noFill/>
            <a:prstDash val="solid"/>
            <a:round/>
            <a:headEnd/>
            <a:tailEnd/>
          </a:ln>
        </p:spPr>
        <p:txBody>
          <a:bodyPr lIns="41127" tIns="34272" rIns="0" bIns="34272" anchor="ctr"/>
          <a:lstStyle/>
          <a:p>
            <a:pPr defTabSz="685800" eaLnBrk="1" fontAlgn="auto" hangingPunct="1">
              <a:spcBef>
                <a:spcPts val="0"/>
              </a:spcBef>
              <a:spcAft>
                <a:spcPts val="0"/>
              </a:spcAft>
              <a:defRPr/>
            </a:pPr>
            <a:r>
              <a:rPr lang="en-US" sz="788" b="1" dirty="0">
                <a:solidFill>
                  <a:prstClr val="white"/>
                </a:solidFill>
                <a:latin typeface="Arial"/>
              </a:rPr>
              <a:t>2</a:t>
            </a:r>
          </a:p>
        </p:txBody>
      </p:sp>
      <p:sp>
        <p:nvSpPr>
          <p:cNvPr id="165" name="Freeform 27">
            <a:extLst>
              <a:ext uri="{FF2B5EF4-FFF2-40B4-BE49-F238E27FC236}">
                <a16:creationId xmlns:a16="http://schemas.microsoft.com/office/drawing/2014/main" id="{8CB718D2-3F2E-4AFC-8F48-4A5378971F26}"/>
              </a:ext>
            </a:extLst>
          </p:cNvPr>
          <p:cNvSpPr>
            <a:spLocks/>
          </p:cNvSpPr>
          <p:nvPr/>
        </p:nvSpPr>
        <p:spPr bwMode="auto">
          <a:xfrm>
            <a:off x="3240088" y="2720975"/>
            <a:ext cx="238125" cy="431800"/>
          </a:xfrm>
          <a:custGeom>
            <a:avLst/>
            <a:gdLst>
              <a:gd name="T0" fmla="*/ 109 w 1717"/>
              <a:gd name="T1" fmla="*/ 0 h 3242"/>
              <a:gd name="T2" fmla="*/ 134 w 1717"/>
              <a:gd name="T3" fmla="*/ 4 h 3242"/>
              <a:gd name="T4" fmla="*/ 1643 w 1717"/>
              <a:gd name="T5" fmla="*/ 459 h 3242"/>
              <a:gd name="T6" fmla="*/ 1663 w 1717"/>
              <a:gd name="T7" fmla="*/ 468 h 3242"/>
              <a:gd name="T8" fmla="*/ 1681 w 1717"/>
              <a:gd name="T9" fmla="*/ 480 h 3242"/>
              <a:gd name="T10" fmla="*/ 1696 w 1717"/>
              <a:gd name="T11" fmla="*/ 496 h 3242"/>
              <a:gd name="T12" fmla="*/ 1707 w 1717"/>
              <a:gd name="T13" fmla="*/ 515 h 3242"/>
              <a:gd name="T14" fmla="*/ 1714 w 1717"/>
              <a:gd name="T15" fmla="*/ 536 h 3242"/>
              <a:gd name="T16" fmla="*/ 1717 w 1717"/>
              <a:gd name="T17" fmla="*/ 558 h 3242"/>
              <a:gd name="T18" fmla="*/ 1717 w 1717"/>
              <a:gd name="T19" fmla="*/ 2684 h 3242"/>
              <a:gd name="T20" fmla="*/ 1714 w 1717"/>
              <a:gd name="T21" fmla="*/ 2706 h 3242"/>
              <a:gd name="T22" fmla="*/ 1707 w 1717"/>
              <a:gd name="T23" fmla="*/ 2727 h 3242"/>
              <a:gd name="T24" fmla="*/ 1696 w 1717"/>
              <a:gd name="T25" fmla="*/ 2746 h 3242"/>
              <a:gd name="T26" fmla="*/ 1681 w 1717"/>
              <a:gd name="T27" fmla="*/ 2761 h 3242"/>
              <a:gd name="T28" fmla="*/ 1663 w 1717"/>
              <a:gd name="T29" fmla="*/ 2774 h 3242"/>
              <a:gd name="T30" fmla="*/ 1643 w 1717"/>
              <a:gd name="T31" fmla="*/ 2782 h 3242"/>
              <a:gd name="T32" fmla="*/ 134 w 1717"/>
              <a:gd name="T33" fmla="*/ 3238 h 3242"/>
              <a:gd name="T34" fmla="*/ 109 w 1717"/>
              <a:gd name="T35" fmla="*/ 3242 h 3242"/>
              <a:gd name="T36" fmla="*/ 85 w 1717"/>
              <a:gd name="T37" fmla="*/ 3241 h 3242"/>
              <a:gd name="T38" fmla="*/ 63 w 1717"/>
              <a:gd name="T39" fmla="*/ 3234 h 3242"/>
              <a:gd name="T40" fmla="*/ 42 w 1717"/>
              <a:gd name="T41" fmla="*/ 3222 h 3242"/>
              <a:gd name="T42" fmla="*/ 26 w 1717"/>
              <a:gd name="T43" fmla="*/ 3205 h 3242"/>
              <a:gd name="T44" fmla="*/ 12 w 1717"/>
              <a:gd name="T45" fmla="*/ 3187 h 3242"/>
              <a:gd name="T46" fmla="*/ 4 w 1717"/>
              <a:gd name="T47" fmla="*/ 3164 h 3242"/>
              <a:gd name="T48" fmla="*/ 0 w 1717"/>
              <a:gd name="T49" fmla="*/ 3139 h 3242"/>
              <a:gd name="T50" fmla="*/ 0 w 1717"/>
              <a:gd name="T51" fmla="*/ 103 h 3242"/>
              <a:gd name="T52" fmla="*/ 4 w 1717"/>
              <a:gd name="T53" fmla="*/ 78 h 3242"/>
              <a:gd name="T54" fmla="*/ 12 w 1717"/>
              <a:gd name="T55" fmla="*/ 55 h 3242"/>
              <a:gd name="T56" fmla="*/ 26 w 1717"/>
              <a:gd name="T57" fmla="*/ 36 h 3242"/>
              <a:gd name="T58" fmla="*/ 42 w 1717"/>
              <a:gd name="T59" fmla="*/ 20 h 3242"/>
              <a:gd name="T60" fmla="*/ 63 w 1717"/>
              <a:gd name="T61" fmla="*/ 8 h 3242"/>
              <a:gd name="T62" fmla="*/ 85 w 1717"/>
              <a:gd name="T63" fmla="*/ 1 h 3242"/>
              <a:gd name="T64" fmla="*/ 109 w 1717"/>
              <a:gd name="T65" fmla="*/ 0 h 3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17" h="3242">
                <a:moveTo>
                  <a:pt x="109" y="0"/>
                </a:moveTo>
                <a:lnTo>
                  <a:pt x="134" y="4"/>
                </a:lnTo>
                <a:lnTo>
                  <a:pt x="1643" y="459"/>
                </a:lnTo>
                <a:lnTo>
                  <a:pt x="1663" y="468"/>
                </a:lnTo>
                <a:lnTo>
                  <a:pt x="1681" y="480"/>
                </a:lnTo>
                <a:lnTo>
                  <a:pt x="1696" y="496"/>
                </a:lnTo>
                <a:lnTo>
                  <a:pt x="1707" y="515"/>
                </a:lnTo>
                <a:lnTo>
                  <a:pt x="1714" y="536"/>
                </a:lnTo>
                <a:lnTo>
                  <a:pt x="1717" y="558"/>
                </a:lnTo>
                <a:lnTo>
                  <a:pt x="1717" y="2684"/>
                </a:lnTo>
                <a:lnTo>
                  <a:pt x="1714" y="2706"/>
                </a:lnTo>
                <a:lnTo>
                  <a:pt x="1707" y="2727"/>
                </a:lnTo>
                <a:lnTo>
                  <a:pt x="1696" y="2746"/>
                </a:lnTo>
                <a:lnTo>
                  <a:pt x="1681" y="2761"/>
                </a:lnTo>
                <a:lnTo>
                  <a:pt x="1663" y="2774"/>
                </a:lnTo>
                <a:lnTo>
                  <a:pt x="1643" y="2782"/>
                </a:lnTo>
                <a:lnTo>
                  <a:pt x="134" y="3238"/>
                </a:lnTo>
                <a:lnTo>
                  <a:pt x="109" y="3242"/>
                </a:lnTo>
                <a:lnTo>
                  <a:pt x="85" y="3241"/>
                </a:lnTo>
                <a:lnTo>
                  <a:pt x="63" y="3234"/>
                </a:lnTo>
                <a:lnTo>
                  <a:pt x="42" y="3222"/>
                </a:lnTo>
                <a:lnTo>
                  <a:pt x="26" y="3205"/>
                </a:lnTo>
                <a:lnTo>
                  <a:pt x="12" y="3187"/>
                </a:lnTo>
                <a:lnTo>
                  <a:pt x="4" y="3164"/>
                </a:lnTo>
                <a:lnTo>
                  <a:pt x="0" y="3139"/>
                </a:lnTo>
                <a:lnTo>
                  <a:pt x="0" y="103"/>
                </a:lnTo>
                <a:lnTo>
                  <a:pt x="4" y="78"/>
                </a:lnTo>
                <a:lnTo>
                  <a:pt x="12" y="55"/>
                </a:lnTo>
                <a:lnTo>
                  <a:pt x="26" y="36"/>
                </a:lnTo>
                <a:lnTo>
                  <a:pt x="42" y="20"/>
                </a:lnTo>
                <a:lnTo>
                  <a:pt x="63" y="8"/>
                </a:lnTo>
                <a:lnTo>
                  <a:pt x="85" y="1"/>
                </a:lnTo>
                <a:lnTo>
                  <a:pt x="109" y="0"/>
                </a:lnTo>
                <a:close/>
              </a:path>
            </a:pathLst>
          </a:custGeom>
          <a:solidFill>
            <a:schemeClr val="accent1">
              <a:lumMod val="75000"/>
            </a:schemeClr>
          </a:solidFill>
          <a:ln w="0">
            <a:noFill/>
            <a:prstDash val="solid"/>
            <a:round/>
            <a:headEnd/>
            <a:tailEnd/>
          </a:ln>
        </p:spPr>
        <p:txBody>
          <a:bodyPr lIns="68562" tIns="34281" rIns="68544" bIns="34272" anchor="ctr"/>
          <a:lstStyle/>
          <a:p>
            <a:pPr defTabSz="685800" eaLnBrk="1" fontAlgn="auto" hangingPunct="1">
              <a:spcBef>
                <a:spcPts val="0"/>
              </a:spcBef>
              <a:spcAft>
                <a:spcPts val="0"/>
              </a:spcAft>
              <a:defRPr/>
            </a:pPr>
            <a:r>
              <a:rPr lang="en-US" sz="900" b="1" dirty="0">
                <a:solidFill>
                  <a:prstClr val="white"/>
                </a:solidFill>
                <a:latin typeface="Arial"/>
              </a:rPr>
              <a:t>3</a:t>
            </a:r>
          </a:p>
        </p:txBody>
      </p:sp>
      <p:sp>
        <p:nvSpPr>
          <p:cNvPr id="167" name="Oval 166">
            <a:extLst>
              <a:ext uri="{FF2B5EF4-FFF2-40B4-BE49-F238E27FC236}">
                <a16:creationId xmlns:a16="http://schemas.microsoft.com/office/drawing/2014/main" id="{BB675A7F-65C0-4955-8860-16ABF1B0C01F}"/>
              </a:ext>
            </a:extLst>
          </p:cNvPr>
          <p:cNvSpPr/>
          <p:nvPr/>
        </p:nvSpPr>
        <p:spPr>
          <a:xfrm>
            <a:off x="2936875" y="3341688"/>
            <a:ext cx="530225" cy="90487"/>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375" err="1">
              <a:solidFill>
                <a:prstClr val="white"/>
              </a:solidFill>
            </a:endParaRPr>
          </a:p>
        </p:txBody>
      </p:sp>
      <p:sp>
        <p:nvSpPr>
          <p:cNvPr id="168" name="Rectangle 167">
            <a:extLst>
              <a:ext uri="{FF2B5EF4-FFF2-40B4-BE49-F238E27FC236}">
                <a16:creationId xmlns:a16="http://schemas.microsoft.com/office/drawing/2014/main" id="{A15F989D-4164-4E9C-8D67-040C78554BCF}"/>
              </a:ext>
            </a:extLst>
          </p:cNvPr>
          <p:cNvSpPr/>
          <p:nvPr/>
        </p:nvSpPr>
        <p:spPr>
          <a:xfrm>
            <a:off x="2936875" y="3268663"/>
            <a:ext cx="530225" cy="1206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68544" rIns="68544" bIns="34272"/>
          <a:lstStyle/>
          <a:p>
            <a:pPr algn="ctr" defTabSz="685800" eaLnBrk="1" fontAlgn="auto" hangingPunct="1">
              <a:lnSpc>
                <a:spcPct val="95000"/>
              </a:lnSpc>
              <a:spcBef>
                <a:spcPts val="0"/>
              </a:spcBef>
              <a:spcAft>
                <a:spcPts val="0"/>
              </a:spcAft>
              <a:defRPr/>
            </a:pPr>
            <a:endParaRPr lang="en-US" sz="525">
              <a:solidFill>
                <a:prstClr val="white"/>
              </a:solidFill>
            </a:endParaRPr>
          </a:p>
        </p:txBody>
      </p:sp>
      <p:sp>
        <p:nvSpPr>
          <p:cNvPr id="169" name="Oval 168">
            <a:extLst>
              <a:ext uri="{FF2B5EF4-FFF2-40B4-BE49-F238E27FC236}">
                <a16:creationId xmlns:a16="http://schemas.microsoft.com/office/drawing/2014/main" id="{4B95B43C-AC35-4707-BE11-E2B35A3776CE}"/>
              </a:ext>
            </a:extLst>
          </p:cNvPr>
          <p:cNvSpPr/>
          <p:nvPr/>
        </p:nvSpPr>
        <p:spPr>
          <a:xfrm>
            <a:off x="2936875" y="3219450"/>
            <a:ext cx="530225" cy="90488"/>
          </a:xfrm>
          <a:prstGeom prst="ellipse">
            <a:avLst/>
          </a:pr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375" err="1">
              <a:solidFill>
                <a:prstClr val="white"/>
              </a:solidFill>
            </a:endParaRPr>
          </a:p>
        </p:txBody>
      </p:sp>
      <p:sp>
        <p:nvSpPr>
          <p:cNvPr id="2" name="Rectangle 1">
            <a:extLst>
              <a:ext uri="{FF2B5EF4-FFF2-40B4-BE49-F238E27FC236}">
                <a16:creationId xmlns:a16="http://schemas.microsoft.com/office/drawing/2014/main" id="{34ABFB05-DC39-4C15-8327-E821DE0DA12A}"/>
              </a:ext>
            </a:extLst>
          </p:cNvPr>
          <p:cNvSpPr/>
          <p:nvPr/>
        </p:nvSpPr>
        <p:spPr>
          <a:xfrm>
            <a:off x="3670300" y="2079625"/>
            <a:ext cx="938213" cy="7461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pic>
        <p:nvPicPr>
          <p:cNvPr id="176173" name="Picture 6">
            <a:extLst>
              <a:ext uri="{FF2B5EF4-FFF2-40B4-BE49-F238E27FC236}">
                <a16:creationId xmlns:a16="http://schemas.microsoft.com/office/drawing/2014/main" id="{24326165-5D65-4606-A253-706C0CD4DD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60800" y="2133600"/>
            <a:ext cx="568325"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74" name="Picture 7">
            <a:extLst>
              <a:ext uri="{FF2B5EF4-FFF2-40B4-BE49-F238E27FC236}">
                <a16:creationId xmlns:a16="http://schemas.microsoft.com/office/drawing/2014/main" id="{111BE36F-DB4A-49CE-8231-9547B3FE4C2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8088" y="2371725"/>
            <a:ext cx="768350"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75" name="Picture 8">
            <a:extLst>
              <a:ext uri="{FF2B5EF4-FFF2-40B4-BE49-F238E27FC236}">
                <a16:creationId xmlns:a16="http://schemas.microsoft.com/office/drawing/2014/main" id="{0CCD1383-0927-47F0-83A1-58D22584EA8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t="15523" b="20805"/>
          <a:stretch>
            <a:fillRect/>
          </a:stretch>
        </p:blipFill>
        <p:spPr bwMode="auto">
          <a:xfrm>
            <a:off x="3841750" y="2573338"/>
            <a:ext cx="54133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6176" name="Group 28">
            <a:extLst>
              <a:ext uri="{FF2B5EF4-FFF2-40B4-BE49-F238E27FC236}">
                <a16:creationId xmlns:a16="http://schemas.microsoft.com/office/drawing/2014/main" id="{4FF52FBE-CBE8-48C8-A5A9-2894228A72D8}"/>
              </a:ext>
            </a:extLst>
          </p:cNvPr>
          <p:cNvGrpSpPr>
            <a:grpSpLocks/>
          </p:cNvGrpSpPr>
          <p:nvPr/>
        </p:nvGrpSpPr>
        <p:grpSpPr bwMode="auto">
          <a:xfrm>
            <a:off x="4772025" y="2219325"/>
            <a:ext cx="608013" cy="893763"/>
            <a:chOff x="6135865" y="3545476"/>
            <a:chExt cx="468536" cy="721876"/>
          </a:xfrm>
        </p:grpSpPr>
        <p:grpSp>
          <p:nvGrpSpPr>
            <p:cNvPr id="176178" name="Group 30">
              <a:extLst>
                <a:ext uri="{FF2B5EF4-FFF2-40B4-BE49-F238E27FC236}">
                  <a16:creationId xmlns:a16="http://schemas.microsoft.com/office/drawing/2014/main" id="{34963A4A-24F8-4180-9A7F-AFEC64BA43A8}"/>
                </a:ext>
              </a:extLst>
            </p:cNvPr>
            <p:cNvGrpSpPr>
              <a:grpSpLocks/>
            </p:cNvGrpSpPr>
            <p:nvPr/>
          </p:nvGrpSpPr>
          <p:grpSpPr bwMode="auto">
            <a:xfrm>
              <a:off x="6135865" y="3984266"/>
              <a:ext cx="468536" cy="283086"/>
              <a:chOff x="7512868" y="4108143"/>
              <a:chExt cx="484632" cy="292811"/>
            </a:xfrm>
          </p:grpSpPr>
          <p:sp>
            <p:nvSpPr>
              <p:cNvPr id="100" name="Oval 99">
                <a:extLst>
                  <a:ext uri="{FF2B5EF4-FFF2-40B4-BE49-F238E27FC236}">
                    <a16:creationId xmlns:a16="http://schemas.microsoft.com/office/drawing/2014/main" id="{DCD0C8D9-9FA1-48EE-84C7-8E304B418B3E}"/>
                  </a:ext>
                </a:extLst>
              </p:cNvPr>
              <p:cNvSpPr/>
              <p:nvPr/>
            </p:nvSpPr>
            <p:spPr>
              <a:xfrm>
                <a:off x="7511603" y="4290875"/>
                <a:ext cx="480836" cy="11007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sp>
            <p:nvSpPr>
              <p:cNvPr id="103" name="Rectangle 102">
                <a:extLst>
                  <a:ext uri="{FF2B5EF4-FFF2-40B4-BE49-F238E27FC236}">
                    <a16:creationId xmlns:a16="http://schemas.microsoft.com/office/drawing/2014/main" id="{DFF7AD2A-951F-4062-BF69-8E7A34573FA1}"/>
                  </a:ext>
                </a:extLst>
              </p:cNvPr>
              <p:cNvSpPr/>
              <p:nvPr/>
            </p:nvSpPr>
            <p:spPr>
              <a:xfrm>
                <a:off x="7511603" y="4163556"/>
                <a:ext cx="480836" cy="19097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68544" rIns="68544" bIns="34272"/>
              <a:lstStyle/>
              <a:p>
                <a:pPr algn="ctr" defTabSz="685800" eaLnBrk="1" fontAlgn="auto" hangingPunct="1">
                  <a:lnSpc>
                    <a:spcPct val="95000"/>
                  </a:lnSpc>
                  <a:spcBef>
                    <a:spcPts val="0"/>
                  </a:spcBef>
                  <a:spcAft>
                    <a:spcPts val="0"/>
                  </a:spcAft>
                  <a:defRPr/>
                </a:pPr>
                <a:endParaRPr lang="en-US" sz="1050" dirty="0">
                  <a:solidFill>
                    <a:prstClr val="white"/>
                  </a:solidFill>
                </a:endParaRPr>
              </a:p>
            </p:txBody>
          </p:sp>
          <p:sp>
            <p:nvSpPr>
              <p:cNvPr id="104" name="Oval 103">
                <a:extLst>
                  <a:ext uri="{FF2B5EF4-FFF2-40B4-BE49-F238E27FC236}">
                    <a16:creationId xmlns:a16="http://schemas.microsoft.com/office/drawing/2014/main" id="{537586CF-38A1-4596-A590-D9DDA86F875C}"/>
                  </a:ext>
                </a:extLst>
              </p:cNvPr>
              <p:cNvSpPr/>
              <p:nvPr/>
            </p:nvSpPr>
            <p:spPr>
              <a:xfrm>
                <a:off x="7511603" y="4107854"/>
                <a:ext cx="485897" cy="108752"/>
              </a:xfrm>
              <a:prstGeom prst="ellipse">
                <a:avLst/>
              </a:pr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grpSp>
        <p:grpSp>
          <p:nvGrpSpPr>
            <p:cNvPr id="176179" name="Group 31">
              <a:extLst>
                <a:ext uri="{FF2B5EF4-FFF2-40B4-BE49-F238E27FC236}">
                  <a16:creationId xmlns:a16="http://schemas.microsoft.com/office/drawing/2014/main" id="{00B0D8B9-281F-42EA-B3FA-E2603D7E1632}"/>
                </a:ext>
              </a:extLst>
            </p:cNvPr>
            <p:cNvGrpSpPr>
              <a:grpSpLocks/>
            </p:cNvGrpSpPr>
            <p:nvPr/>
          </p:nvGrpSpPr>
          <p:grpSpPr bwMode="auto">
            <a:xfrm>
              <a:off x="6135865" y="3765638"/>
              <a:ext cx="468536" cy="283086"/>
              <a:chOff x="7512868" y="4114493"/>
              <a:chExt cx="484632" cy="292811"/>
            </a:xfrm>
          </p:grpSpPr>
          <p:sp>
            <p:nvSpPr>
              <p:cNvPr id="95" name="Oval 94">
                <a:extLst>
                  <a:ext uri="{FF2B5EF4-FFF2-40B4-BE49-F238E27FC236}">
                    <a16:creationId xmlns:a16="http://schemas.microsoft.com/office/drawing/2014/main" id="{90F28835-7FE3-4023-87BE-02E29AE02A75}"/>
                  </a:ext>
                </a:extLst>
              </p:cNvPr>
              <p:cNvSpPr/>
              <p:nvPr/>
            </p:nvSpPr>
            <p:spPr>
              <a:xfrm>
                <a:off x="7511603" y="4296577"/>
                <a:ext cx="480836" cy="110078"/>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sp>
            <p:nvSpPr>
              <p:cNvPr id="96" name="Rectangle 95">
                <a:extLst>
                  <a:ext uri="{FF2B5EF4-FFF2-40B4-BE49-F238E27FC236}">
                    <a16:creationId xmlns:a16="http://schemas.microsoft.com/office/drawing/2014/main" id="{B87CC277-2AB9-48A5-9745-7A24CA0A90E5}"/>
                  </a:ext>
                </a:extLst>
              </p:cNvPr>
              <p:cNvSpPr/>
              <p:nvPr/>
            </p:nvSpPr>
            <p:spPr>
              <a:xfrm>
                <a:off x="7511603" y="4171910"/>
                <a:ext cx="480836" cy="188326"/>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68544" rIns="68544" bIns="34272"/>
              <a:lstStyle/>
              <a:p>
                <a:pPr algn="ctr" defTabSz="685800" eaLnBrk="1" fontAlgn="auto" hangingPunct="1">
                  <a:lnSpc>
                    <a:spcPct val="95000"/>
                  </a:lnSpc>
                  <a:spcBef>
                    <a:spcPts val="0"/>
                  </a:spcBef>
                  <a:spcAft>
                    <a:spcPts val="0"/>
                  </a:spcAft>
                  <a:defRPr/>
                </a:pPr>
                <a:endParaRPr lang="en-US" sz="1050" dirty="0">
                  <a:solidFill>
                    <a:prstClr val="white"/>
                  </a:solidFill>
                </a:endParaRPr>
              </a:p>
            </p:txBody>
          </p:sp>
          <p:sp>
            <p:nvSpPr>
              <p:cNvPr id="99" name="Oval 98">
                <a:extLst>
                  <a:ext uri="{FF2B5EF4-FFF2-40B4-BE49-F238E27FC236}">
                    <a16:creationId xmlns:a16="http://schemas.microsoft.com/office/drawing/2014/main" id="{DB735610-9D5E-451D-9103-39B95BDFC65D}"/>
                  </a:ext>
                </a:extLst>
              </p:cNvPr>
              <p:cNvSpPr/>
              <p:nvPr/>
            </p:nvSpPr>
            <p:spPr>
              <a:xfrm>
                <a:off x="7511603" y="4114881"/>
                <a:ext cx="485897" cy="110079"/>
              </a:xfrm>
              <a:prstGeom prst="ellipse">
                <a:avLst/>
              </a:pr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grpSp>
        <p:grpSp>
          <p:nvGrpSpPr>
            <p:cNvPr id="176180" name="Group 32">
              <a:extLst>
                <a:ext uri="{FF2B5EF4-FFF2-40B4-BE49-F238E27FC236}">
                  <a16:creationId xmlns:a16="http://schemas.microsoft.com/office/drawing/2014/main" id="{71B1503F-9D51-428F-B6CB-A4D47C13BFB5}"/>
                </a:ext>
              </a:extLst>
            </p:cNvPr>
            <p:cNvGrpSpPr>
              <a:grpSpLocks/>
            </p:cNvGrpSpPr>
            <p:nvPr/>
          </p:nvGrpSpPr>
          <p:grpSpPr bwMode="auto">
            <a:xfrm>
              <a:off x="6135865" y="3545476"/>
              <a:ext cx="468536" cy="283086"/>
              <a:chOff x="7512868" y="4121637"/>
              <a:chExt cx="484632" cy="292811"/>
            </a:xfrm>
          </p:grpSpPr>
          <p:sp>
            <p:nvSpPr>
              <p:cNvPr id="91" name="Oval 90">
                <a:extLst>
                  <a:ext uri="{FF2B5EF4-FFF2-40B4-BE49-F238E27FC236}">
                    <a16:creationId xmlns:a16="http://schemas.microsoft.com/office/drawing/2014/main" id="{4F7B9BFD-40C3-4A83-BD97-A5B5AE8CA2F9}"/>
                  </a:ext>
                </a:extLst>
              </p:cNvPr>
              <p:cNvSpPr/>
              <p:nvPr/>
            </p:nvSpPr>
            <p:spPr>
              <a:xfrm>
                <a:off x="7511603" y="4305985"/>
                <a:ext cx="480836" cy="108752"/>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sp>
            <p:nvSpPr>
              <p:cNvPr id="92" name="Rectangle 91">
                <a:extLst>
                  <a:ext uri="{FF2B5EF4-FFF2-40B4-BE49-F238E27FC236}">
                    <a16:creationId xmlns:a16="http://schemas.microsoft.com/office/drawing/2014/main" id="{B9D5F48B-EBC0-491F-80B2-824AB5FFE065}"/>
                  </a:ext>
                </a:extLst>
              </p:cNvPr>
              <p:cNvSpPr/>
              <p:nvPr/>
            </p:nvSpPr>
            <p:spPr>
              <a:xfrm>
                <a:off x="7511603" y="4178666"/>
                <a:ext cx="480836" cy="18965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68544" rIns="68544" bIns="34272"/>
              <a:lstStyle/>
              <a:p>
                <a:pPr algn="ctr" defTabSz="685800" eaLnBrk="1" fontAlgn="auto" hangingPunct="1">
                  <a:lnSpc>
                    <a:spcPct val="95000"/>
                  </a:lnSpc>
                  <a:spcBef>
                    <a:spcPts val="0"/>
                  </a:spcBef>
                  <a:spcAft>
                    <a:spcPts val="0"/>
                  </a:spcAft>
                  <a:defRPr/>
                </a:pPr>
                <a:endParaRPr lang="en-US" sz="1050" dirty="0">
                  <a:solidFill>
                    <a:prstClr val="white"/>
                  </a:solidFill>
                </a:endParaRPr>
              </a:p>
            </p:txBody>
          </p:sp>
          <p:sp>
            <p:nvSpPr>
              <p:cNvPr id="93" name="Oval 92">
                <a:extLst>
                  <a:ext uri="{FF2B5EF4-FFF2-40B4-BE49-F238E27FC236}">
                    <a16:creationId xmlns:a16="http://schemas.microsoft.com/office/drawing/2014/main" id="{D1F0449E-1DA7-4F6E-80C9-3941E95D4CAE}"/>
                  </a:ext>
                </a:extLst>
              </p:cNvPr>
              <p:cNvSpPr/>
              <p:nvPr/>
            </p:nvSpPr>
            <p:spPr>
              <a:xfrm>
                <a:off x="7511603" y="4121637"/>
                <a:ext cx="485897" cy="110079"/>
              </a:xfrm>
              <a:prstGeom prst="ellipse">
                <a:avLst/>
              </a:pr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anchor="ctr"/>
              <a:lstStyle/>
              <a:p>
                <a:pPr algn="ctr" defTabSz="685800" eaLnBrk="1" fontAlgn="auto" hangingPunct="1">
                  <a:lnSpc>
                    <a:spcPct val="95000"/>
                  </a:lnSpc>
                  <a:spcBef>
                    <a:spcPts val="0"/>
                  </a:spcBef>
                  <a:spcAft>
                    <a:spcPts val="0"/>
                  </a:spcAft>
                  <a:defRPr/>
                </a:pPr>
                <a:endParaRPr lang="en-US" sz="675" err="1">
                  <a:solidFill>
                    <a:prstClr val="white"/>
                  </a:solidFill>
                </a:endParaRPr>
              </a:p>
            </p:txBody>
          </p:sp>
        </p:grpSp>
      </p:grpSp>
      <p:sp>
        <p:nvSpPr>
          <p:cNvPr id="107" name="Rectangle 106">
            <a:extLst>
              <a:ext uri="{FF2B5EF4-FFF2-40B4-BE49-F238E27FC236}">
                <a16:creationId xmlns:a16="http://schemas.microsoft.com/office/drawing/2014/main" id="{F1E8A7E7-A1E7-44A5-9146-EB9E7562937F}"/>
              </a:ext>
            </a:extLst>
          </p:cNvPr>
          <p:cNvSpPr/>
          <p:nvPr/>
        </p:nvSpPr>
        <p:spPr>
          <a:xfrm>
            <a:off x="4625975" y="1690688"/>
            <a:ext cx="855663" cy="400050"/>
          </a:xfrm>
          <a:prstGeom prst="rect">
            <a:avLst/>
          </a:prstGeom>
        </p:spPr>
        <p:txBody>
          <a:bodyPr>
            <a:spAutoFit/>
          </a:bodyPr>
          <a:lstStyle/>
          <a:p>
            <a:pPr algn="ctr" defTabSz="685800" eaLnBrk="1" fontAlgn="auto" hangingPunct="1">
              <a:lnSpc>
                <a:spcPct val="95000"/>
              </a:lnSpc>
              <a:spcBef>
                <a:spcPts val="300"/>
              </a:spcBef>
              <a:spcAft>
                <a:spcPts val="150"/>
              </a:spcAft>
              <a:buClr>
                <a:srgbClr val="0067C5"/>
              </a:buClr>
              <a:defRPr/>
            </a:pPr>
            <a:r>
              <a:rPr lang="en-US" sz="1050" dirty="0">
                <a:solidFill>
                  <a:prstClr val="black">
                    <a:lumMod val="65000"/>
                    <a:lumOff val="35000"/>
                  </a:prstClr>
                </a:solidFill>
                <a:latin typeface="Arial"/>
              </a:rPr>
              <a:t>General  Apps</a:t>
            </a:r>
          </a:p>
        </p:txBody>
      </p:sp>
      <p:pic>
        <p:nvPicPr>
          <p:cNvPr id="87" name="Picture 86">
            <a:extLst>
              <a:ext uri="{FF2B5EF4-FFF2-40B4-BE49-F238E27FC236}">
                <a16:creationId xmlns:a16="http://schemas.microsoft.com/office/drawing/2014/main" id="{1B3ADCF1-ED7B-B745-B6FD-980626C3E73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auto">
          <a:xfrm>
            <a:off x="687706" y="3576368"/>
            <a:ext cx="857251" cy="583518"/>
          </a:xfrm>
          <a:prstGeom prst="rect">
            <a:avLst/>
          </a:prstGeom>
          <a:noFill/>
          <a:ln>
            <a:noFill/>
          </a:ln>
          <a:effectLst>
            <a:outerShdw blurRad="50800" dist="38100" dir="5400000" algn="t" rotWithShape="0">
              <a:srgbClr val="00000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ectangle 83">
            <a:extLst>
              <a:ext uri="{FF2B5EF4-FFF2-40B4-BE49-F238E27FC236}">
                <a16:creationId xmlns:a16="http://schemas.microsoft.com/office/drawing/2014/main" id="{379A973B-71E6-1E4F-A250-6382E56CAAD5}"/>
              </a:ext>
            </a:extLst>
          </p:cNvPr>
          <p:cNvSpPr/>
          <p:nvPr/>
        </p:nvSpPr>
        <p:spPr>
          <a:xfrm>
            <a:off x="5628640" y="1261736"/>
            <a:ext cx="855663" cy="399340"/>
          </a:xfrm>
          <a:prstGeom prst="rect">
            <a:avLst/>
          </a:prstGeom>
        </p:spPr>
        <p:txBody>
          <a:bodyPr>
            <a:spAutoFit/>
          </a:bodyPr>
          <a:lstStyle/>
          <a:p>
            <a:pPr algn="ctr" defTabSz="685800" eaLnBrk="1" fontAlgn="auto" hangingPunct="1">
              <a:lnSpc>
                <a:spcPct val="95000"/>
              </a:lnSpc>
              <a:spcBef>
                <a:spcPts val="300"/>
              </a:spcBef>
              <a:spcAft>
                <a:spcPts val="150"/>
              </a:spcAft>
              <a:buClr>
                <a:srgbClr val="0067C5"/>
              </a:buClr>
              <a:defRPr/>
            </a:pPr>
            <a:r>
              <a:rPr lang="en-US" sz="1050" dirty="0">
                <a:solidFill>
                  <a:schemeClr val="bg1"/>
                </a:solidFill>
                <a:latin typeface="Arial"/>
              </a:rPr>
              <a:t>Cloud Services</a:t>
            </a:r>
          </a:p>
        </p:txBody>
      </p:sp>
      <p:sp>
        <p:nvSpPr>
          <p:cNvPr id="88" name="Rectangle 87">
            <a:extLst>
              <a:ext uri="{FF2B5EF4-FFF2-40B4-BE49-F238E27FC236}">
                <a16:creationId xmlns:a16="http://schemas.microsoft.com/office/drawing/2014/main" id="{5B7EDFCF-A67D-7B49-B8D4-FC46A159FF93}"/>
              </a:ext>
            </a:extLst>
          </p:cNvPr>
          <p:cNvSpPr/>
          <p:nvPr/>
        </p:nvSpPr>
        <p:spPr>
          <a:xfrm>
            <a:off x="6919853" y="2708184"/>
            <a:ext cx="855663" cy="399340"/>
          </a:xfrm>
          <a:prstGeom prst="rect">
            <a:avLst/>
          </a:prstGeom>
          <a:solidFill>
            <a:schemeClr val="accent1">
              <a:lumMod val="40000"/>
              <a:lumOff val="60000"/>
            </a:schemeClr>
          </a:solidFill>
        </p:spPr>
        <p:txBody>
          <a:bodyPr>
            <a:spAutoFit/>
          </a:bodyPr>
          <a:lstStyle/>
          <a:p>
            <a:pPr algn="ctr" defTabSz="685800" eaLnBrk="1" fontAlgn="auto" hangingPunct="1">
              <a:lnSpc>
                <a:spcPct val="95000"/>
              </a:lnSpc>
              <a:spcBef>
                <a:spcPts val="300"/>
              </a:spcBef>
              <a:spcAft>
                <a:spcPts val="150"/>
              </a:spcAft>
              <a:buClr>
                <a:srgbClr val="0067C5"/>
              </a:buClr>
              <a:defRPr/>
            </a:pPr>
            <a:r>
              <a:rPr lang="en-US" sz="1050" dirty="0">
                <a:solidFill>
                  <a:schemeClr val="bg1"/>
                </a:solidFill>
                <a:latin typeface="Arial"/>
              </a:rPr>
              <a:t>Cloud Services</a:t>
            </a:r>
          </a:p>
        </p:txBody>
      </p:sp>
    </p:spTree>
    <p:extLst>
      <p:ext uri="{BB962C8B-B14F-4D97-AF65-F5344CB8AC3E}">
        <p14:creationId xmlns:p14="http://schemas.microsoft.com/office/powerpoint/2010/main" val="1350330266"/>
      </p:ext>
    </p:extLst>
  </p:cSld>
  <p:clrMapOvr>
    <a:masterClrMapping/>
  </p:clrMapOvr>
  <p:transition spd="slow">
    <p:circl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7E47E-8EBE-9B48-B409-9A3D87C01630}"/>
              </a:ext>
            </a:extLst>
          </p:cNvPr>
          <p:cNvSpPr/>
          <p:nvPr/>
        </p:nvSpPr>
        <p:spPr bwMode="auto">
          <a:xfrm>
            <a:off x="5543550" y="758325"/>
            <a:ext cx="3339193" cy="4101058"/>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pPr>
            <a:endParaRPr kumimoji="0" lang="en-US" sz="2000" b="0" i="0" u="none" strike="noStrike" cap="none" normalizeH="0" baseline="0">
              <a:ln>
                <a:noFill/>
              </a:ln>
              <a:solidFill>
                <a:schemeClr val="tx1"/>
              </a:solidFill>
              <a:effectLst/>
              <a:latin typeface="Arial" charset="0"/>
            </a:endParaRPr>
          </a:p>
        </p:txBody>
      </p:sp>
      <p:sp>
        <p:nvSpPr>
          <p:cNvPr id="174082" name="Title 2">
            <a:extLst>
              <a:ext uri="{FF2B5EF4-FFF2-40B4-BE49-F238E27FC236}">
                <a16:creationId xmlns:a16="http://schemas.microsoft.com/office/drawing/2014/main" id="{421891D7-F788-431B-A27C-4B777D901D0E}"/>
              </a:ext>
            </a:extLst>
          </p:cNvPr>
          <p:cNvSpPr>
            <a:spLocks noGrp="1" noChangeArrowheads="1"/>
          </p:cNvSpPr>
          <p:nvPr>
            <p:ph type="title"/>
          </p:nvPr>
        </p:nvSpPr>
        <p:spPr>
          <a:xfrm>
            <a:off x="161638" y="112026"/>
            <a:ext cx="4959002" cy="1035050"/>
          </a:xfrm>
        </p:spPr>
        <p:txBody>
          <a:bodyPr/>
          <a:lstStyle/>
          <a:p>
            <a:r>
              <a:rPr lang="en-US" altLang="en-US" sz="3000" dirty="0"/>
              <a:t>The World’s Most Trusted CI Solution</a:t>
            </a:r>
            <a:endParaRPr lang="en-US" altLang="en-US" b="0" dirty="0"/>
          </a:p>
        </p:txBody>
      </p:sp>
      <p:sp>
        <p:nvSpPr>
          <p:cNvPr id="174083" name="Rectangle 4">
            <a:extLst>
              <a:ext uri="{FF2B5EF4-FFF2-40B4-BE49-F238E27FC236}">
                <a16:creationId xmlns:a16="http://schemas.microsoft.com/office/drawing/2014/main" id="{C5E5AD7E-3E40-4980-A5E9-A71C4204F05A}"/>
              </a:ext>
            </a:extLst>
          </p:cNvPr>
          <p:cNvSpPr>
            <a:spLocks noChangeArrowheads="1"/>
          </p:cNvSpPr>
          <p:nvPr/>
        </p:nvSpPr>
        <p:spPr bwMode="auto">
          <a:xfrm>
            <a:off x="482885" y="1465193"/>
            <a:ext cx="542448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600"/>
              </a:spcBef>
              <a:spcAft>
                <a:spcPts val="600"/>
              </a:spcAft>
            </a:pPr>
            <a:r>
              <a:rPr lang="en-US" altLang="en-US" sz="1900" b="1" dirty="0">
                <a:solidFill>
                  <a:srgbClr val="000000"/>
                </a:solidFill>
              </a:rPr>
              <a:t>Simplify your support experience </a:t>
            </a:r>
            <a:br>
              <a:rPr lang="en-US" altLang="en-US" sz="1900" b="1" i="1" dirty="0">
                <a:solidFill>
                  <a:srgbClr val="000000"/>
                </a:solidFill>
              </a:rPr>
            </a:br>
            <a:r>
              <a:rPr lang="en-US" altLang="en-US" sz="1200" dirty="0">
                <a:solidFill>
                  <a:srgbClr val="000000"/>
                </a:solidFill>
              </a:rPr>
              <a:t>with full stack support from a single vendor</a:t>
            </a:r>
            <a:endParaRPr lang="en-US" altLang="en-US" sz="1900" dirty="0">
              <a:solidFill>
                <a:srgbClr val="000000"/>
              </a:solidFill>
            </a:endParaRPr>
          </a:p>
        </p:txBody>
      </p:sp>
      <p:sp>
        <p:nvSpPr>
          <p:cNvPr id="174084" name="Rectangle 5">
            <a:extLst>
              <a:ext uri="{FF2B5EF4-FFF2-40B4-BE49-F238E27FC236}">
                <a16:creationId xmlns:a16="http://schemas.microsoft.com/office/drawing/2014/main" id="{1EB44F5C-9022-47FE-B0E6-E1CC346F5A42}"/>
              </a:ext>
            </a:extLst>
          </p:cNvPr>
          <p:cNvSpPr>
            <a:spLocks noChangeArrowheads="1"/>
          </p:cNvSpPr>
          <p:nvPr/>
        </p:nvSpPr>
        <p:spPr bwMode="auto">
          <a:xfrm>
            <a:off x="482885" y="2165634"/>
            <a:ext cx="5424488" cy="56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600"/>
              </a:spcBef>
              <a:spcAft>
                <a:spcPts val="600"/>
              </a:spcAft>
            </a:pPr>
            <a:r>
              <a:rPr lang="en-US" altLang="en-US" sz="1900" b="1" dirty="0">
                <a:solidFill>
                  <a:srgbClr val="000000"/>
                </a:solidFill>
              </a:rPr>
              <a:t>Operate with confidence</a:t>
            </a:r>
            <a:br>
              <a:rPr lang="en-US" altLang="en-US" sz="1900" b="1" dirty="0">
                <a:solidFill>
                  <a:srgbClr val="000000"/>
                </a:solidFill>
              </a:rPr>
            </a:br>
            <a:r>
              <a:rPr lang="en-US" altLang="en-US" sz="1200" dirty="0">
                <a:solidFill>
                  <a:srgbClr val="000000"/>
                </a:solidFill>
              </a:rPr>
              <a:t>on a platform and partnership trusted worldwide </a:t>
            </a:r>
            <a:endParaRPr lang="en-US" altLang="en-US" sz="1900" dirty="0">
              <a:solidFill>
                <a:srgbClr val="000000"/>
              </a:solidFill>
            </a:endParaRPr>
          </a:p>
        </p:txBody>
      </p:sp>
      <p:sp>
        <p:nvSpPr>
          <p:cNvPr id="174085" name="Rectangle 6">
            <a:extLst>
              <a:ext uri="{FF2B5EF4-FFF2-40B4-BE49-F238E27FC236}">
                <a16:creationId xmlns:a16="http://schemas.microsoft.com/office/drawing/2014/main" id="{6A07DF1E-C788-48F2-AA56-D7DD384C3630}"/>
              </a:ext>
            </a:extLst>
          </p:cNvPr>
          <p:cNvSpPr>
            <a:spLocks noChangeArrowheads="1"/>
          </p:cNvSpPr>
          <p:nvPr/>
        </p:nvSpPr>
        <p:spPr bwMode="auto">
          <a:xfrm>
            <a:off x="482885" y="2941703"/>
            <a:ext cx="5264150" cy="56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600"/>
              </a:spcBef>
              <a:spcAft>
                <a:spcPts val="600"/>
              </a:spcAft>
            </a:pPr>
            <a:r>
              <a:rPr lang="en-US" altLang="en-US" sz="1900" b="1" dirty="0">
                <a:solidFill>
                  <a:srgbClr val="000000"/>
                </a:solidFill>
              </a:rPr>
              <a:t>Continually optimize your operations</a:t>
            </a:r>
            <a:r>
              <a:rPr lang="en-US" altLang="en-US" sz="1900" dirty="0">
                <a:solidFill>
                  <a:srgbClr val="000000"/>
                </a:solidFill>
              </a:rPr>
              <a:t> </a:t>
            </a:r>
            <a:br>
              <a:rPr lang="en-US" altLang="en-US" sz="1900" dirty="0">
                <a:solidFill>
                  <a:srgbClr val="000000"/>
                </a:solidFill>
              </a:rPr>
            </a:br>
            <a:r>
              <a:rPr lang="en-US" altLang="en-US" sz="1200" dirty="0">
                <a:solidFill>
                  <a:srgbClr val="000000"/>
                </a:solidFill>
              </a:rPr>
              <a:t>with cloud-powered intelligent, actionable insights</a:t>
            </a:r>
            <a:endParaRPr lang="en-US" altLang="en-US" sz="1300" dirty="0">
              <a:solidFill>
                <a:srgbClr val="000000"/>
              </a:solidFill>
            </a:endParaRPr>
          </a:p>
        </p:txBody>
      </p:sp>
      <p:sp>
        <p:nvSpPr>
          <p:cNvPr id="174086" name="Rectangle 7">
            <a:extLst>
              <a:ext uri="{FF2B5EF4-FFF2-40B4-BE49-F238E27FC236}">
                <a16:creationId xmlns:a16="http://schemas.microsoft.com/office/drawing/2014/main" id="{A0BDAD44-B3A3-42CB-AC57-1C0EBBE84390}"/>
              </a:ext>
            </a:extLst>
          </p:cNvPr>
          <p:cNvSpPr>
            <a:spLocks noChangeArrowheads="1"/>
          </p:cNvSpPr>
          <p:nvPr/>
        </p:nvSpPr>
        <p:spPr bwMode="auto">
          <a:xfrm>
            <a:off x="484230" y="3641618"/>
            <a:ext cx="471478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spcAft>
                <a:spcPts val="600"/>
              </a:spcAft>
            </a:pPr>
            <a:r>
              <a:rPr lang="en-US" altLang="en-US" sz="1900" b="1" dirty="0">
                <a:solidFill>
                  <a:srgbClr val="000000"/>
                </a:solidFill>
              </a:rPr>
              <a:t>Streamline IT with managed services </a:t>
            </a:r>
            <a:br>
              <a:rPr lang="en-US" altLang="en-US" sz="1900" b="1" dirty="0">
                <a:solidFill>
                  <a:srgbClr val="000000"/>
                </a:solidFill>
              </a:rPr>
            </a:br>
            <a:r>
              <a:rPr lang="en-US" altLang="en-US" sz="1200" dirty="0">
                <a:solidFill>
                  <a:srgbClr val="000000"/>
                </a:solidFill>
              </a:rPr>
              <a:t>that deliver a simple, cloud-like experience </a:t>
            </a:r>
            <a:endParaRPr lang="en-US" altLang="en-US" sz="1900" dirty="0">
              <a:solidFill>
                <a:srgbClr val="000000"/>
              </a:solidFill>
            </a:endParaRPr>
          </a:p>
        </p:txBody>
      </p:sp>
      <p:pic>
        <p:nvPicPr>
          <p:cNvPr id="23" name="Picture 11">
            <a:extLst>
              <a:ext uri="{FF2B5EF4-FFF2-40B4-BE49-F238E27FC236}">
                <a16:creationId xmlns:a16="http://schemas.microsoft.com/office/drawing/2014/main" id="{1A8AF1DE-065B-B94B-B8D9-0892BFF04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2185" y="993888"/>
            <a:ext cx="1760495" cy="159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descr="ITCS_logo_website@2x.png">
            <a:extLst>
              <a:ext uri="{FF2B5EF4-FFF2-40B4-BE49-F238E27FC236}">
                <a16:creationId xmlns:a16="http://schemas.microsoft.com/office/drawing/2014/main" id="{A0F5F548-49EA-2949-9913-7B614FA653A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42231" y="3678307"/>
            <a:ext cx="2918884" cy="29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1">
            <a:extLst>
              <a:ext uri="{FF2B5EF4-FFF2-40B4-BE49-F238E27FC236}">
                <a16:creationId xmlns:a16="http://schemas.microsoft.com/office/drawing/2014/main" id="{BE2F70FC-3220-5F48-A29E-AA91806EC5AF}"/>
              </a:ext>
            </a:extLst>
          </p:cNvPr>
          <p:cNvSpPr txBox="1">
            <a:spLocks noChangeArrowheads="1"/>
          </p:cNvSpPr>
          <p:nvPr/>
        </p:nvSpPr>
        <p:spPr bwMode="auto">
          <a:xfrm>
            <a:off x="5743575" y="2687707"/>
            <a:ext cx="29922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ctr"/>
            <a:r>
              <a:rPr lang="en-US" altLang="en-US" dirty="0">
                <a:solidFill>
                  <a:srgbClr val="4C4948"/>
                </a:solidFill>
                <a:latin typeface="Arial" charset="0"/>
                <a:ea typeface="MS PGothic" charset="-128"/>
              </a:rPr>
              <a:t>#1 Converged Infrastructure Solution</a:t>
            </a:r>
          </a:p>
        </p:txBody>
      </p:sp>
    </p:spTree>
    <p:extLst>
      <p:ext uri="{BB962C8B-B14F-4D97-AF65-F5344CB8AC3E}">
        <p14:creationId xmlns:p14="http://schemas.microsoft.com/office/powerpoint/2010/main" val="3902108433"/>
      </p:ext>
    </p:extLst>
  </p:cSld>
  <p:clrMapOvr>
    <a:masterClrMapping/>
  </p:clrMapOvr>
  <p:transition spd="slow">
    <p:circl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5">
            <a:extLst>
              <a:ext uri="{FF2B5EF4-FFF2-40B4-BE49-F238E27FC236}">
                <a16:creationId xmlns:a16="http://schemas.microsoft.com/office/drawing/2014/main" id="{69A9A91E-718E-0147-9996-B10C77667925}"/>
              </a:ext>
            </a:extLst>
          </p:cNvPr>
          <p:cNvGrpSpPr>
            <a:grpSpLocks/>
          </p:cNvGrpSpPr>
          <p:nvPr/>
        </p:nvGrpSpPr>
        <p:grpSpPr bwMode="auto">
          <a:xfrm>
            <a:off x="7633291" y="560386"/>
            <a:ext cx="1490662" cy="1325562"/>
            <a:chOff x="5457989" y="385275"/>
            <a:chExt cx="1490649" cy="1492305"/>
          </a:xfrm>
        </p:grpSpPr>
        <p:pic>
          <p:nvPicPr>
            <p:cNvPr id="23" name="Picture 22">
              <a:extLst>
                <a:ext uri="{FF2B5EF4-FFF2-40B4-BE49-F238E27FC236}">
                  <a16:creationId xmlns:a16="http://schemas.microsoft.com/office/drawing/2014/main" id="{AD71F5FE-6583-3543-BB62-4BE0BA65A1F4}"/>
                </a:ext>
              </a:extLst>
            </p:cNvPr>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606636" y="385275"/>
              <a:ext cx="1327108" cy="1492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a:extLst>
                <a:ext uri="{FF2B5EF4-FFF2-40B4-BE49-F238E27FC236}">
                  <a16:creationId xmlns:a16="http://schemas.microsoft.com/office/drawing/2014/main" id="{F3342B9C-2F38-6347-8B92-0E387CAA6EB2}"/>
                </a:ext>
              </a:extLst>
            </p:cNvPr>
            <p:cNvSpPr txBox="1"/>
            <p:nvPr/>
          </p:nvSpPr>
          <p:spPr>
            <a:xfrm>
              <a:off x="5457989" y="960751"/>
              <a:ext cx="1490649" cy="675559"/>
            </a:xfrm>
            <a:prstGeom prst="rect">
              <a:avLst/>
            </a:prstGeom>
          </p:spPr>
          <p:txBody>
            <a:bodyPr/>
            <a:lstStyle/>
            <a:p>
              <a:pPr algn="ctr" eaLnBrk="1" fontAlgn="auto" hangingPunct="1">
                <a:lnSpc>
                  <a:spcPct val="95000"/>
                </a:lnSpc>
                <a:spcBef>
                  <a:spcPts val="400"/>
                </a:spcBef>
                <a:spcAft>
                  <a:spcPts val="200"/>
                </a:spcAft>
                <a:buClr>
                  <a:schemeClr val="accent1"/>
                </a:buClr>
                <a:defRPr/>
              </a:pPr>
              <a:r>
                <a:rPr lang="en-US" sz="1400" dirty="0">
                  <a:solidFill>
                    <a:schemeClr val="bg1"/>
                  </a:solidFill>
                  <a:latin typeface="+mn-lt"/>
                </a:rPr>
                <a:t>CSA</a:t>
              </a:r>
            </a:p>
          </p:txBody>
        </p:sp>
      </p:grpSp>
      <p:sp>
        <p:nvSpPr>
          <p:cNvPr id="2" name="Title 1">
            <a:extLst>
              <a:ext uri="{FF2B5EF4-FFF2-40B4-BE49-F238E27FC236}">
                <a16:creationId xmlns:a16="http://schemas.microsoft.com/office/drawing/2014/main" id="{36A07A83-EB0C-F54D-A824-0E4539D7E7DA}"/>
              </a:ext>
            </a:extLst>
          </p:cNvPr>
          <p:cNvSpPr>
            <a:spLocks noGrp="1"/>
          </p:cNvSpPr>
          <p:nvPr>
            <p:ph type="ctrTitle"/>
          </p:nvPr>
        </p:nvSpPr>
        <p:spPr/>
        <p:txBody>
          <a:bodyPr/>
          <a:lstStyle/>
          <a:p>
            <a:r>
              <a:rPr lang="en-US" dirty="0"/>
              <a:t>Deliver a Better Customer Experience</a:t>
            </a:r>
          </a:p>
        </p:txBody>
      </p:sp>
      <p:sp>
        <p:nvSpPr>
          <p:cNvPr id="3" name="Text Placeholder 2">
            <a:extLst>
              <a:ext uri="{FF2B5EF4-FFF2-40B4-BE49-F238E27FC236}">
                <a16:creationId xmlns:a16="http://schemas.microsoft.com/office/drawing/2014/main" id="{57EBC2AA-D2CE-404C-A7F1-92DE9A46F10F}"/>
              </a:ext>
            </a:extLst>
          </p:cNvPr>
          <p:cNvSpPr>
            <a:spLocks noGrp="1"/>
          </p:cNvSpPr>
          <p:nvPr>
            <p:ph type="body" sz="quarter" idx="10"/>
          </p:nvPr>
        </p:nvSpPr>
        <p:spPr>
          <a:xfrm>
            <a:off x="6073138" y="3053885"/>
            <a:ext cx="3070862" cy="1619074"/>
          </a:xfrm>
        </p:spPr>
        <p:txBody>
          <a:bodyPr/>
          <a:lstStyle/>
          <a:p>
            <a:r>
              <a:rPr lang="en-US" dirty="0"/>
              <a:t>Health and best practice monitoring</a:t>
            </a:r>
          </a:p>
          <a:p>
            <a:r>
              <a:rPr lang="en-US" dirty="0"/>
              <a:t>Continuous configuration assurance</a:t>
            </a:r>
          </a:p>
          <a:p>
            <a:r>
              <a:rPr lang="en-US" dirty="0"/>
              <a:t>Predictive insights and guidance</a:t>
            </a:r>
          </a:p>
        </p:txBody>
      </p:sp>
      <p:sp>
        <p:nvSpPr>
          <p:cNvPr id="4" name="Up-Down Arrow 8">
            <a:extLst>
              <a:ext uri="{FF2B5EF4-FFF2-40B4-BE49-F238E27FC236}">
                <a16:creationId xmlns:a16="http://schemas.microsoft.com/office/drawing/2014/main" id="{66898ED5-5D53-804A-99A0-BC204843A926}"/>
              </a:ext>
            </a:extLst>
          </p:cNvPr>
          <p:cNvSpPr/>
          <p:nvPr/>
        </p:nvSpPr>
        <p:spPr>
          <a:xfrm>
            <a:off x="3425636" y="926348"/>
            <a:ext cx="2173287" cy="1144588"/>
          </a:xfrm>
          <a:prstGeom prst="upDownArrow">
            <a:avLst>
              <a:gd name="adj1" fmla="val 90386"/>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buClr>
                <a:srgbClr val="000000"/>
              </a:buClr>
              <a:defRPr/>
            </a:pPr>
            <a:r>
              <a:rPr lang="en-US" sz="1999" kern="0" dirty="0">
                <a:solidFill>
                  <a:schemeClr val="accent1"/>
                </a:solidFill>
                <a:sym typeface="Arial"/>
              </a:rPr>
              <a:t>One Call</a:t>
            </a:r>
          </a:p>
          <a:p>
            <a:pPr algn="ctr" defTabSz="914126">
              <a:buClr>
                <a:srgbClr val="000000"/>
              </a:buClr>
              <a:defRPr/>
            </a:pPr>
            <a:r>
              <a:rPr lang="en-US" sz="1999" kern="0" dirty="0">
                <a:solidFill>
                  <a:schemeClr val="accent1"/>
                </a:solidFill>
                <a:sym typeface="Arial"/>
              </a:rPr>
              <a:t>One Vendor</a:t>
            </a:r>
          </a:p>
          <a:p>
            <a:pPr algn="ctr" defTabSz="914126">
              <a:buClr>
                <a:srgbClr val="000000"/>
              </a:buClr>
              <a:defRPr/>
            </a:pPr>
            <a:r>
              <a:rPr lang="en-US" sz="1999" kern="0" dirty="0">
                <a:solidFill>
                  <a:schemeClr val="accent1"/>
                </a:solidFill>
                <a:sym typeface="Arial"/>
              </a:rPr>
              <a:t>Support</a:t>
            </a:r>
          </a:p>
        </p:txBody>
      </p:sp>
      <p:sp>
        <p:nvSpPr>
          <p:cNvPr id="5" name="Rectangle: Rounded Corners 5">
            <a:extLst>
              <a:ext uri="{FF2B5EF4-FFF2-40B4-BE49-F238E27FC236}">
                <a16:creationId xmlns:a16="http://schemas.microsoft.com/office/drawing/2014/main" id="{E00CB49F-2815-A54B-8386-D2F271DB258E}"/>
              </a:ext>
            </a:extLst>
          </p:cNvPr>
          <p:cNvSpPr/>
          <p:nvPr/>
        </p:nvSpPr>
        <p:spPr>
          <a:xfrm>
            <a:off x="3816350" y="4006850"/>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Storage OS</a:t>
            </a:r>
          </a:p>
        </p:txBody>
      </p:sp>
      <p:sp>
        <p:nvSpPr>
          <p:cNvPr id="6" name="Rectangle: Rounded Corners 6">
            <a:extLst>
              <a:ext uri="{FF2B5EF4-FFF2-40B4-BE49-F238E27FC236}">
                <a16:creationId xmlns:a16="http://schemas.microsoft.com/office/drawing/2014/main" id="{A5D5BD12-5EAB-DF44-BC78-300B90F45A99}"/>
              </a:ext>
            </a:extLst>
          </p:cNvPr>
          <p:cNvSpPr/>
          <p:nvPr/>
        </p:nvSpPr>
        <p:spPr>
          <a:xfrm>
            <a:off x="3816350" y="4383087"/>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Storage hardware</a:t>
            </a:r>
          </a:p>
        </p:txBody>
      </p:sp>
      <p:sp>
        <p:nvSpPr>
          <p:cNvPr id="7" name="Rectangle: Rounded Corners 7">
            <a:extLst>
              <a:ext uri="{FF2B5EF4-FFF2-40B4-BE49-F238E27FC236}">
                <a16:creationId xmlns:a16="http://schemas.microsoft.com/office/drawing/2014/main" id="{9B2C6DB2-FA74-7744-BA77-E5EC6672E62A}"/>
              </a:ext>
            </a:extLst>
          </p:cNvPr>
          <p:cNvSpPr/>
          <p:nvPr/>
        </p:nvSpPr>
        <p:spPr>
          <a:xfrm>
            <a:off x="3816350" y="3629025"/>
            <a:ext cx="1511300" cy="303212"/>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Storage network</a:t>
            </a:r>
          </a:p>
        </p:txBody>
      </p:sp>
      <p:sp>
        <p:nvSpPr>
          <p:cNvPr id="8" name="Rectangle: Rounded Corners 8">
            <a:extLst>
              <a:ext uri="{FF2B5EF4-FFF2-40B4-BE49-F238E27FC236}">
                <a16:creationId xmlns:a16="http://schemas.microsoft.com/office/drawing/2014/main" id="{16CEC82C-7909-F448-96BC-4502C10D1933}"/>
              </a:ext>
            </a:extLst>
          </p:cNvPr>
          <p:cNvSpPr/>
          <p:nvPr/>
        </p:nvSpPr>
        <p:spPr>
          <a:xfrm>
            <a:off x="3816350" y="3252787"/>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Compute hardware</a:t>
            </a:r>
          </a:p>
        </p:txBody>
      </p:sp>
      <p:sp>
        <p:nvSpPr>
          <p:cNvPr id="9" name="Rectangle: Rounded Corners 9">
            <a:extLst>
              <a:ext uri="{FF2B5EF4-FFF2-40B4-BE49-F238E27FC236}">
                <a16:creationId xmlns:a16="http://schemas.microsoft.com/office/drawing/2014/main" id="{50154732-C46F-E14C-BBB9-E26D9EDF7F83}"/>
              </a:ext>
            </a:extLst>
          </p:cNvPr>
          <p:cNvSpPr/>
          <p:nvPr/>
        </p:nvSpPr>
        <p:spPr>
          <a:xfrm>
            <a:off x="3816350" y="2876550"/>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Compute OS</a:t>
            </a:r>
          </a:p>
        </p:txBody>
      </p:sp>
      <p:sp>
        <p:nvSpPr>
          <p:cNvPr id="10" name="Rectangle: Rounded Corners 10">
            <a:extLst>
              <a:ext uri="{FF2B5EF4-FFF2-40B4-BE49-F238E27FC236}">
                <a16:creationId xmlns:a16="http://schemas.microsoft.com/office/drawing/2014/main" id="{D9399DB2-109B-1446-9BA4-6B8237B2ED93}"/>
              </a:ext>
            </a:extLst>
          </p:cNvPr>
          <p:cNvSpPr/>
          <p:nvPr/>
        </p:nvSpPr>
        <p:spPr>
          <a:xfrm>
            <a:off x="3816350" y="2124075"/>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Hypervisor</a:t>
            </a:r>
          </a:p>
        </p:txBody>
      </p:sp>
      <p:sp>
        <p:nvSpPr>
          <p:cNvPr id="11" name="Rectangle: Rounded Corners 13">
            <a:extLst>
              <a:ext uri="{FF2B5EF4-FFF2-40B4-BE49-F238E27FC236}">
                <a16:creationId xmlns:a16="http://schemas.microsoft.com/office/drawing/2014/main" id="{6630978A-1AC1-6C4E-9200-3CE3BE5E35DD}"/>
              </a:ext>
            </a:extLst>
          </p:cNvPr>
          <p:cNvSpPr/>
          <p:nvPr/>
        </p:nvSpPr>
        <p:spPr>
          <a:xfrm>
            <a:off x="3816350" y="2500312"/>
            <a:ext cx="1511300" cy="301625"/>
          </a:xfrm>
          <a:prstGeom prst="round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a:lnSpc>
                <a:spcPct val="95000"/>
              </a:lnSpc>
              <a:buClr>
                <a:srgbClr val="000000"/>
              </a:buClr>
              <a:defRPr/>
            </a:pPr>
            <a:r>
              <a:rPr lang="en-US" sz="1200" kern="0">
                <a:solidFill>
                  <a:srgbClr val="FFFFFF"/>
                </a:solidFill>
                <a:sym typeface="Arial"/>
              </a:rPr>
              <a:t>Compute network</a:t>
            </a:r>
          </a:p>
        </p:txBody>
      </p:sp>
      <p:grpSp>
        <p:nvGrpSpPr>
          <p:cNvPr id="12" name="Group 5">
            <a:extLst>
              <a:ext uri="{FF2B5EF4-FFF2-40B4-BE49-F238E27FC236}">
                <a16:creationId xmlns:a16="http://schemas.microsoft.com/office/drawing/2014/main" id="{53DD9546-A83E-C942-9918-13E42FB86E05}"/>
              </a:ext>
            </a:extLst>
          </p:cNvPr>
          <p:cNvGrpSpPr>
            <a:grpSpLocks/>
          </p:cNvGrpSpPr>
          <p:nvPr/>
        </p:nvGrpSpPr>
        <p:grpSpPr bwMode="auto">
          <a:xfrm>
            <a:off x="6806610" y="720725"/>
            <a:ext cx="1490662" cy="1325562"/>
            <a:chOff x="5457989" y="314681"/>
            <a:chExt cx="1490649" cy="1492305"/>
          </a:xfrm>
        </p:grpSpPr>
        <p:pic>
          <p:nvPicPr>
            <p:cNvPr id="13" name="Picture 19">
              <a:extLst>
                <a:ext uri="{FF2B5EF4-FFF2-40B4-BE49-F238E27FC236}">
                  <a16:creationId xmlns:a16="http://schemas.microsoft.com/office/drawing/2014/main" id="{145B3152-1C01-704F-8205-9717246B60C3}"/>
                </a:ext>
              </a:extLst>
            </p:cNvPr>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621530" y="314681"/>
              <a:ext cx="1327108" cy="1492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9E712103-7202-4B45-B419-8716F69511C3}"/>
                </a:ext>
              </a:extLst>
            </p:cNvPr>
            <p:cNvSpPr txBox="1"/>
            <p:nvPr/>
          </p:nvSpPr>
          <p:spPr>
            <a:xfrm>
              <a:off x="5457989" y="960751"/>
              <a:ext cx="1490649" cy="675559"/>
            </a:xfrm>
            <a:prstGeom prst="rect">
              <a:avLst/>
            </a:prstGeom>
          </p:spPr>
          <p:txBody>
            <a:bodyPr/>
            <a:lstStyle/>
            <a:p>
              <a:pPr algn="ctr" eaLnBrk="1" fontAlgn="auto" hangingPunct="1">
                <a:lnSpc>
                  <a:spcPct val="95000"/>
                </a:lnSpc>
                <a:spcBef>
                  <a:spcPts val="400"/>
                </a:spcBef>
                <a:spcAft>
                  <a:spcPts val="200"/>
                </a:spcAft>
                <a:buClr>
                  <a:schemeClr val="accent1"/>
                </a:buClr>
                <a:defRPr/>
              </a:pPr>
              <a:r>
                <a:rPr lang="en-US" sz="1400" dirty="0">
                  <a:solidFill>
                    <a:schemeClr val="bg1"/>
                  </a:solidFill>
                  <a:latin typeface="+mn-lt"/>
                </a:rPr>
                <a:t>Active IQ</a:t>
              </a:r>
            </a:p>
          </p:txBody>
        </p:sp>
      </p:grpSp>
      <p:sp>
        <p:nvSpPr>
          <p:cNvPr id="15" name="Rectangle: Rounded Corners 2">
            <a:extLst>
              <a:ext uri="{FF2B5EF4-FFF2-40B4-BE49-F238E27FC236}">
                <a16:creationId xmlns:a16="http://schemas.microsoft.com/office/drawing/2014/main" id="{BCCCEE39-929D-3D4B-A6A0-4243786EA38A}"/>
              </a:ext>
            </a:extLst>
          </p:cNvPr>
          <p:cNvSpPr/>
          <p:nvPr/>
        </p:nvSpPr>
        <p:spPr>
          <a:xfrm>
            <a:off x="3732212" y="2046287"/>
            <a:ext cx="1636713" cy="2678113"/>
          </a:xfrm>
          <a:prstGeom prst="roundRect">
            <a:avLst>
              <a:gd name="adj" fmla="val 0"/>
            </a:avLst>
          </a:prstGeom>
          <a:noFill/>
          <a:ln w="381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5000"/>
              </a:lnSpc>
              <a:defRPr/>
            </a:pPr>
            <a:endParaRPr lang="en-US" dirty="0" err="1"/>
          </a:p>
        </p:txBody>
      </p:sp>
      <p:grpSp>
        <p:nvGrpSpPr>
          <p:cNvPr id="19" name="Group 5">
            <a:extLst>
              <a:ext uri="{FF2B5EF4-FFF2-40B4-BE49-F238E27FC236}">
                <a16:creationId xmlns:a16="http://schemas.microsoft.com/office/drawing/2014/main" id="{6A982E2E-044B-4D43-A25C-53F6170FA689}"/>
              </a:ext>
            </a:extLst>
          </p:cNvPr>
          <p:cNvGrpSpPr>
            <a:grpSpLocks/>
          </p:cNvGrpSpPr>
          <p:nvPr/>
        </p:nvGrpSpPr>
        <p:grpSpPr bwMode="auto">
          <a:xfrm>
            <a:off x="278058" y="943301"/>
            <a:ext cx="1490662" cy="1325562"/>
            <a:chOff x="5468350" y="385275"/>
            <a:chExt cx="1490649" cy="1492305"/>
          </a:xfrm>
        </p:grpSpPr>
        <p:pic>
          <p:nvPicPr>
            <p:cNvPr id="20" name="Picture 19">
              <a:extLst>
                <a:ext uri="{FF2B5EF4-FFF2-40B4-BE49-F238E27FC236}">
                  <a16:creationId xmlns:a16="http://schemas.microsoft.com/office/drawing/2014/main" id="{4A54AA34-F5CA-CB4C-A52D-8BDB88D00FAA}"/>
                </a:ext>
              </a:extLst>
            </p:cNvPr>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606636" y="385275"/>
              <a:ext cx="1327108" cy="1492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a:extLst>
                <a:ext uri="{FF2B5EF4-FFF2-40B4-BE49-F238E27FC236}">
                  <a16:creationId xmlns:a16="http://schemas.microsoft.com/office/drawing/2014/main" id="{764DD0CC-1D9A-6F43-A7CD-A2A72910F150}"/>
                </a:ext>
              </a:extLst>
            </p:cNvPr>
            <p:cNvSpPr txBox="1"/>
            <p:nvPr/>
          </p:nvSpPr>
          <p:spPr>
            <a:xfrm>
              <a:off x="5468350" y="1123855"/>
              <a:ext cx="1490649" cy="485747"/>
            </a:xfrm>
            <a:prstGeom prst="rect">
              <a:avLst/>
            </a:prstGeom>
          </p:spPr>
          <p:txBody>
            <a:bodyPr/>
            <a:lstStyle/>
            <a:p>
              <a:pPr algn="ctr" eaLnBrk="1" fontAlgn="auto" hangingPunct="1">
                <a:lnSpc>
                  <a:spcPct val="95000"/>
                </a:lnSpc>
                <a:spcBef>
                  <a:spcPts val="400"/>
                </a:spcBef>
                <a:spcAft>
                  <a:spcPts val="200"/>
                </a:spcAft>
                <a:buClr>
                  <a:schemeClr val="accent1"/>
                </a:buClr>
                <a:defRPr/>
              </a:pPr>
              <a:r>
                <a:rPr lang="en-US" sz="1400" dirty="0" err="1">
                  <a:solidFill>
                    <a:schemeClr val="bg1"/>
                  </a:solidFill>
                  <a:latin typeface="+mn-lt"/>
                </a:rPr>
                <a:t>Intersight</a:t>
              </a:r>
              <a:endParaRPr lang="en-US" sz="1400" dirty="0">
                <a:solidFill>
                  <a:schemeClr val="bg1"/>
                </a:solidFill>
                <a:latin typeface="+mn-lt"/>
              </a:endParaRPr>
            </a:p>
          </p:txBody>
        </p:sp>
      </p:grpSp>
      <p:sp>
        <p:nvSpPr>
          <p:cNvPr id="26" name="Triangle 25">
            <a:extLst>
              <a:ext uri="{FF2B5EF4-FFF2-40B4-BE49-F238E27FC236}">
                <a16:creationId xmlns:a16="http://schemas.microsoft.com/office/drawing/2014/main" id="{8B053C8A-03CC-5F48-8655-CFAE53C857E6}"/>
              </a:ext>
            </a:extLst>
          </p:cNvPr>
          <p:cNvSpPr/>
          <p:nvPr/>
        </p:nvSpPr>
        <p:spPr>
          <a:xfrm rot="5400000">
            <a:off x="4521158" y="2952215"/>
            <a:ext cx="2623127" cy="841867"/>
          </a:xfrm>
          <a:prstGeom prst="triangle">
            <a:avLst>
              <a:gd name="adj" fmla="val 21023"/>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dirty="0" err="1"/>
          </a:p>
        </p:txBody>
      </p:sp>
      <p:sp>
        <p:nvSpPr>
          <p:cNvPr id="27" name="Rectangle 26">
            <a:extLst>
              <a:ext uri="{FF2B5EF4-FFF2-40B4-BE49-F238E27FC236}">
                <a16:creationId xmlns:a16="http://schemas.microsoft.com/office/drawing/2014/main" id="{11890451-A310-8141-85B8-44D95A3F9346}"/>
              </a:ext>
            </a:extLst>
          </p:cNvPr>
          <p:cNvSpPr/>
          <p:nvPr/>
        </p:nvSpPr>
        <p:spPr>
          <a:xfrm>
            <a:off x="5846491" y="2508578"/>
            <a:ext cx="2572860" cy="45085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dirty="0" err="1"/>
          </a:p>
        </p:txBody>
      </p:sp>
      <p:sp>
        <p:nvSpPr>
          <p:cNvPr id="28" name="Rectangle 27">
            <a:extLst>
              <a:ext uri="{FF2B5EF4-FFF2-40B4-BE49-F238E27FC236}">
                <a16:creationId xmlns:a16="http://schemas.microsoft.com/office/drawing/2014/main" id="{AE6E2297-CF77-F149-A4EF-F36DEB1255DE}"/>
              </a:ext>
            </a:extLst>
          </p:cNvPr>
          <p:cNvSpPr/>
          <p:nvPr/>
        </p:nvSpPr>
        <p:spPr>
          <a:xfrm rot="5400000">
            <a:off x="7582882" y="1966587"/>
            <a:ext cx="1222085" cy="45085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dirty="0" err="1"/>
          </a:p>
        </p:txBody>
      </p:sp>
      <p:sp>
        <p:nvSpPr>
          <p:cNvPr id="29" name="TextBox 28">
            <a:extLst>
              <a:ext uri="{FF2B5EF4-FFF2-40B4-BE49-F238E27FC236}">
                <a16:creationId xmlns:a16="http://schemas.microsoft.com/office/drawing/2014/main" id="{2C27E537-6DED-1F45-9886-4C3110A388DB}"/>
              </a:ext>
            </a:extLst>
          </p:cNvPr>
          <p:cNvSpPr txBox="1"/>
          <p:nvPr/>
        </p:nvSpPr>
        <p:spPr>
          <a:xfrm>
            <a:off x="6082103" y="2603035"/>
            <a:ext cx="1801562" cy="376237"/>
          </a:xfrm>
          <a:prstGeom prst="rect">
            <a:avLst/>
          </a:prstGeom>
        </p:spPr>
        <p:txBody>
          <a:bodyPr vert="horz" wrap="none" lIns="91440" tIns="45720" rIns="91440" bIns="45720" rtlCol="0" anchor="t">
            <a:noAutofit/>
          </a:bodyPr>
          <a:lstStyle/>
          <a:p>
            <a:pPr marR="0" algn="l" defTabSz="914400" rtl="0" eaLnBrk="1" fontAlgn="auto" latinLnBrk="0" hangingPunct="1">
              <a:lnSpc>
                <a:spcPct val="95000"/>
              </a:lnSpc>
              <a:spcBef>
                <a:spcPts val="400"/>
              </a:spcBef>
              <a:spcAft>
                <a:spcPts val="200"/>
              </a:spcAft>
              <a:buClr>
                <a:schemeClr val="accent1"/>
              </a:buClr>
              <a:buSzTx/>
              <a:tabLst/>
            </a:pPr>
            <a:r>
              <a:rPr lang="en-US" sz="1400" dirty="0">
                <a:solidFill>
                  <a:sysClr val="windowText" lastClr="000000"/>
                </a:solidFill>
                <a:latin typeface="+mn-lt"/>
              </a:rPr>
              <a:t>Intelligent services</a:t>
            </a:r>
            <a:endParaRPr kumimoji="0" lang="en-US" sz="1400" b="0" i="0" u="none" strike="noStrike" kern="1200" cap="none" spc="0" normalizeH="0" baseline="0" noProof="0" dirty="0" err="1">
              <a:ln>
                <a:noFill/>
              </a:ln>
              <a:solidFill>
                <a:sysClr val="windowText" lastClr="000000"/>
              </a:solidFill>
              <a:effectLst/>
              <a:uLnTx/>
              <a:uFillTx/>
              <a:latin typeface="+mn-lt"/>
            </a:endParaRPr>
          </a:p>
        </p:txBody>
      </p:sp>
      <p:pic>
        <p:nvPicPr>
          <p:cNvPr id="30" name="image109.png">
            <a:extLst>
              <a:ext uri="{FF2B5EF4-FFF2-40B4-BE49-F238E27FC236}">
                <a16:creationId xmlns:a16="http://schemas.microsoft.com/office/drawing/2014/main" id="{D115702B-C84F-984A-AC4B-5633F700DDF5}"/>
              </a:ext>
            </a:extLst>
          </p:cNvPr>
          <p:cNvPicPr/>
          <p:nvPr/>
        </p:nvPicPr>
        <p:blipFill>
          <a:blip r:embed="rId4"/>
          <a:stretch>
            <a:fillRect/>
          </a:stretch>
        </p:blipFill>
        <p:spPr>
          <a:xfrm>
            <a:off x="5519397" y="2593429"/>
            <a:ext cx="444900" cy="422388"/>
          </a:xfrm>
          <a:prstGeom prst="rect">
            <a:avLst/>
          </a:prstGeom>
          <a:ln w="12700">
            <a:miter lim="400000"/>
          </a:ln>
        </p:spPr>
      </p:pic>
      <p:sp>
        <p:nvSpPr>
          <p:cNvPr id="31" name="Triangle 30">
            <a:extLst>
              <a:ext uri="{FF2B5EF4-FFF2-40B4-BE49-F238E27FC236}">
                <a16:creationId xmlns:a16="http://schemas.microsoft.com/office/drawing/2014/main" id="{ABF28D79-0A35-724F-9AF9-8CB618048F45}"/>
              </a:ext>
            </a:extLst>
          </p:cNvPr>
          <p:cNvSpPr/>
          <p:nvPr/>
        </p:nvSpPr>
        <p:spPr>
          <a:xfrm rot="5400000" flipV="1">
            <a:off x="1987739" y="2972339"/>
            <a:ext cx="2623127" cy="794469"/>
          </a:xfrm>
          <a:prstGeom prst="triangle">
            <a:avLst>
              <a:gd name="adj" fmla="val 21023"/>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dirty="0" err="1"/>
          </a:p>
        </p:txBody>
      </p:sp>
      <p:pic>
        <p:nvPicPr>
          <p:cNvPr id="32" name="image114.png" descr="SnapManager-Generic.png">
            <a:extLst>
              <a:ext uri="{FF2B5EF4-FFF2-40B4-BE49-F238E27FC236}">
                <a16:creationId xmlns:a16="http://schemas.microsoft.com/office/drawing/2014/main" id="{2C4290B9-2382-CC42-AF65-49D5FCE585CF}"/>
              </a:ext>
            </a:extLst>
          </p:cNvPr>
          <p:cNvPicPr/>
          <p:nvPr/>
        </p:nvPicPr>
        <p:blipFill>
          <a:blip r:embed="rId5"/>
          <a:stretch>
            <a:fillRect/>
          </a:stretch>
        </p:blipFill>
        <p:spPr>
          <a:xfrm>
            <a:off x="3226675" y="2585513"/>
            <a:ext cx="426128" cy="341402"/>
          </a:xfrm>
          <a:prstGeom prst="rect">
            <a:avLst/>
          </a:prstGeom>
          <a:ln w="12700">
            <a:miter lim="400000"/>
          </a:ln>
        </p:spPr>
      </p:pic>
      <p:sp>
        <p:nvSpPr>
          <p:cNvPr id="33" name="Rectangle 32">
            <a:extLst>
              <a:ext uri="{FF2B5EF4-FFF2-40B4-BE49-F238E27FC236}">
                <a16:creationId xmlns:a16="http://schemas.microsoft.com/office/drawing/2014/main" id="{6BBA0E09-84AC-8846-9068-EBFC91D0BB64}"/>
              </a:ext>
            </a:extLst>
          </p:cNvPr>
          <p:cNvSpPr/>
          <p:nvPr/>
        </p:nvSpPr>
        <p:spPr>
          <a:xfrm>
            <a:off x="560409" y="2496369"/>
            <a:ext cx="2636952" cy="450850"/>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dirty="0" err="1"/>
          </a:p>
        </p:txBody>
      </p:sp>
      <p:sp>
        <p:nvSpPr>
          <p:cNvPr id="35" name="TextBox 34">
            <a:extLst>
              <a:ext uri="{FF2B5EF4-FFF2-40B4-BE49-F238E27FC236}">
                <a16:creationId xmlns:a16="http://schemas.microsoft.com/office/drawing/2014/main" id="{01733764-A8B4-5640-B0DF-A99F68424554}"/>
              </a:ext>
            </a:extLst>
          </p:cNvPr>
          <p:cNvSpPr txBox="1"/>
          <p:nvPr/>
        </p:nvSpPr>
        <p:spPr>
          <a:xfrm>
            <a:off x="618640" y="2568095"/>
            <a:ext cx="1801562" cy="376237"/>
          </a:xfrm>
          <a:prstGeom prst="rect">
            <a:avLst/>
          </a:prstGeom>
        </p:spPr>
        <p:txBody>
          <a:bodyPr vert="horz" wrap="none" lIns="91440" tIns="45720" rIns="91440" bIns="45720" rtlCol="0" anchor="t">
            <a:noAutofit/>
          </a:bodyPr>
          <a:lstStyle/>
          <a:p>
            <a:pPr marR="0" algn="l" defTabSz="914400" rtl="0" eaLnBrk="1" fontAlgn="auto" latinLnBrk="0" hangingPunct="1">
              <a:lnSpc>
                <a:spcPct val="95000"/>
              </a:lnSpc>
              <a:spcBef>
                <a:spcPts val="400"/>
              </a:spcBef>
              <a:spcAft>
                <a:spcPts val="200"/>
              </a:spcAft>
              <a:buClr>
                <a:schemeClr val="accent1"/>
              </a:buClr>
              <a:buSzTx/>
              <a:tabLst/>
            </a:pPr>
            <a:r>
              <a:rPr lang="en-US" sz="1400" dirty="0">
                <a:solidFill>
                  <a:sysClr val="windowText" lastClr="000000"/>
                </a:solidFill>
                <a:latin typeface="+mn-lt"/>
              </a:rPr>
              <a:t>Management automation</a:t>
            </a:r>
            <a:endParaRPr kumimoji="0" lang="en-US" sz="1400" b="0" i="0" u="none" strike="noStrike" kern="1200" cap="none" spc="0" normalizeH="0" baseline="0" noProof="0" dirty="0" err="1">
              <a:ln>
                <a:noFill/>
              </a:ln>
              <a:solidFill>
                <a:sysClr val="windowText" lastClr="000000"/>
              </a:solidFill>
              <a:effectLst/>
              <a:uLnTx/>
              <a:uFillTx/>
              <a:latin typeface="+mn-lt"/>
            </a:endParaRPr>
          </a:p>
        </p:txBody>
      </p:sp>
      <p:sp>
        <p:nvSpPr>
          <p:cNvPr id="36" name="TextBox 35">
            <a:extLst>
              <a:ext uri="{FF2B5EF4-FFF2-40B4-BE49-F238E27FC236}">
                <a16:creationId xmlns:a16="http://schemas.microsoft.com/office/drawing/2014/main" id="{2D133964-F9D4-AA44-8861-5DFC19023AF5}"/>
              </a:ext>
            </a:extLst>
          </p:cNvPr>
          <p:cNvSpPr txBox="1"/>
          <p:nvPr/>
        </p:nvSpPr>
        <p:spPr>
          <a:xfrm>
            <a:off x="1746738" y="3387969"/>
            <a:ext cx="0" cy="0"/>
          </a:xfrm>
          <a:prstGeom prst="rect">
            <a:avLst/>
          </a:prstGeom>
        </p:spPr>
        <p:txBody>
          <a:bodyPr vert="horz" wrap="none" lIns="91440" tIns="45720" rIns="91440" bIns="45720" rtlCol="0" anchor="t">
            <a:noAutofit/>
          </a:bodyPr>
          <a:lstStyle/>
          <a:p>
            <a:pPr marL="173038" marR="0" indent="-173038" algn="l" defTabSz="914400" rtl="0" eaLnBrk="1" fontAlgn="auto" latinLnBrk="0" hangingPunct="1">
              <a:lnSpc>
                <a:spcPct val="95000"/>
              </a:lnSpc>
              <a:spcBef>
                <a:spcPts val="400"/>
              </a:spcBef>
              <a:spcAft>
                <a:spcPts val="200"/>
              </a:spcAft>
              <a:buClr>
                <a:schemeClr val="accent1"/>
              </a:buClr>
              <a:buSzTx/>
              <a:buFont typeface="Wingdings" panose="05000000000000000000" pitchFamily="2" charset="2"/>
              <a:buChar char="§"/>
              <a:tabLst/>
            </a:pPr>
            <a:endParaRPr kumimoji="0" lang="en-US" sz="1400" b="0" i="0" u="none" strike="noStrike" kern="1200" cap="none" spc="0" normalizeH="0" baseline="0" noProof="0" dirty="0" err="1">
              <a:ln>
                <a:noFill/>
              </a:ln>
              <a:solidFill>
                <a:sysClr val="windowText" lastClr="000000"/>
              </a:solidFill>
              <a:effectLst/>
              <a:uLnTx/>
              <a:uFillTx/>
              <a:latin typeface="+mn-lt"/>
            </a:endParaRPr>
          </a:p>
        </p:txBody>
      </p:sp>
      <p:sp>
        <p:nvSpPr>
          <p:cNvPr id="37" name="Text Placeholder 2">
            <a:extLst>
              <a:ext uri="{FF2B5EF4-FFF2-40B4-BE49-F238E27FC236}">
                <a16:creationId xmlns:a16="http://schemas.microsoft.com/office/drawing/2014/main" id="{FE9DD980-301A-DB42-8AD8-FCD12B551A25}"/>
              </a:ext>
            </a:extLst>
          </p:cNvPr>
          <p:cNvSpPr txBox="1">
            <a:spLocks/>
          </p:cNvSpPr>
          <p:nvPr/>
        </p:nvSpPr>
        <p:spPr bwMode="auto">
          <a:xfrm>
            <a:off x="618640" y="2959428"/>
            <a:ext cx="2727346" cy="1392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521" tIns="45761" rIns="91521" bIns="45761" numCol="1" anchor="t" anchorCtr="0" compatLnSpc="1">
            <a:prstTxWarp prst="textNoShape">
              <a:avLst/>
            </a:prstTxWarp>
          </a:bodyPr>
          <a:lstStyle>
            <a:lvl1pPr marL="176213" indent="-176213" algn="l" defTabSz="685800" rtl="0" eaLnBrk="0" fontAlgn="base" hangingPunct="0">
              <a:lnSpc>
                <a:spcPct val="95000"/>
              </a:lnSpc>
              <a:spcBef>
                <a:spcPts val="900"/>
              </a:spcBef>
              <a:spcAft>
                <a:spcPts val="300"/>
              </a:spcAft>
              <a:buClrTx/>
              <a:buFont typeface="Wingdings" panose="05000000000000000000" pitchFamily="2" charset="2"/>
              <a:buChar char="§"/>
              <a:defRPr sz="1500" kern="1200">
                <a:solidFill>
                  <a:schemeClr val="tx1"/>
                </a:solidFill>
                <a:latin typeface="+mn-lt"/>
                <a:ea typeface="+mn-ea"/>
                <a:cs typeface="+mn-cs"/>
              </a:defRPr>
            </a:lvl1pPr>
            <a:lvl2pPr marL="342900" indent="-171450" algn="l" defTabSz="685800" rtl="0" eaLnBrk="0" fontAlgn="base" hangingPunct="0">
              <a:lnSpc>
                <a:spcPct val="90000"/>
              </a:lnSpc>
              <a:spcBef>
                <a:spcPts val="150"/>
              </a:spcBef>
              <a:spcAft>
                <a:spcPts val="300"/>
              </a:spcAft>
              <a:buClrTx/>
              <a:buFont typeface="Wingdings" panose="05000000000000000000" pitchFamily="2" charset="2"/>
              <a:buChar char="§"/>
              <a:defRPr sz="1200" kern="1200">
                <a:solidFill>
                  <a:schemeClr val="tx1"/>
                </a:solidFill>
                <a:latin typeface="+mn-lt"/>
                <a:ea typeface="+mn-ea"/>
                <a:cs typeface="+mn-cs"/>
              </a:defRPr>
            </a:lvl2pPr>
            <a:lvl3pPr marL="514350" indent="-171450" algn="l" defTabSz="685800" rtl="0" eaLnBrk="0" fontAlgn="base" hangingPunct="0">
              <a:lnSpc>
                <a:spcPct val="85000"/>
              </a:lnSpc>
              <a:spcBef>
                <a:spcPts val="150"/>
              </a:spcBef>
              <a:spcAft>
                <a:spcPts val="300"/>
              </a:spcAft>
              <a:buClrTx/>
              <a:buFont typeface="Wingdings" panose="05000000000000000000" pitchFamily="2" charset="2"/>
              <a:buChar char="§"/>
              <a:defRPr sz="1200" kern="1200">
                <a:solidFill>
                  <a:schemeClr val="tx1"/>
                </a:solidFill>
                <a:latin typeface="+mn-lt"/>
                <a:ea typeface="+mn-ea"/>
                <a:cs typeface="+mn-cs"/>
              </a:defRPr>
            </a:lvl3pPr>
            <a:lvl4pPr marL="685800" indent="-171450" algn="l" defTabSz="685800" rtl="0" eaLnBrk="0" fontAlgn="base" hangingPunct="0">
              <a:lnSpc>
                <a:spcPct val="85000"/>
              </a:lnSpc>
              <a:spcBef>
                <a:spcPts val="150"/>
              </a:spcBef>
              <a:spcAft>
                <a:spcPts val="300"/>
              </a:spcAft>
              <a:buClrTx/>
              <a:buFont typeface="Wingdings" panose="05000000000000000000" pitchFamily="2" charset="2"/>
              <a:buChar char="§"/>
              <a:defRPr sz="1200" kern="1200">
                <a:solidFill>
                  <a:schemeClr val="tx1"/>
                </a:solidFill>
                <a:latin typeface="+mn-lt"/>
                <a:ea typeface="+mn-ea"/>
                <a:cs typeface="+mn-cs"/>
              </a:defRPr>
            </a:lvl4pPr>
            <a:lvl5pPr marL="814388" indent="-128588" algn="l" defTabSz="685800" rtl="0" eaLnBrk="0" fontAlgn="base" hangingPunct="0">
              <a:lnSpc>
                <a:spcPct val="85000"/>
              </a:lnSpc>
              <a:spcBef>
                <a:spcPts val="150"/>
              </a:spcBef>
              <a:spcAft>
                <a:spcPts val="300"/>
              </a:spcAft>
              <a:buClrTx/>
              <a:buFont typeface="Wingdings" panose="05000000000000000000" pitchFamily="2" charset="2"/>
              <a:buChar char="§"/>
              <a:defRPr lang="en-US" sz="1200" kern="1200">
                <a:solidFill>
                  <a:schemeClr val="tx1"/>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US" dirty="0"/>
              <a:t>Centralized management</a:t>
            </a:r>
          </a:p>
          <a:p>
            <a:r>
              <a:rPr lang="en-US" dirty="0"/>
              <a:t>Managed Private Cloud services</a:t>
            </a:r>
          </a:p>
          <a:p>
            <a:r>
              <a:rPr lang="en-US" dirty="0"/>
              <a:t>OpenStack, Ansible, Puppet, Chef</a:t>
            </a:r>
          </a:p>
        </p:txBody>
      </p:sp>
    </p:spTree>
    <p:extLst>
      <p:ext uri="{BB962C8B-B14F-4D97-AF65-F5344CB8AC3E}">
        <p14:creationId xmlns:p14="http://schemas.microsoft.com/office/powerpoint/2010/main" val="3905196124"/>
      </p:ext>
    </p:extLst>
  </p:cSld>
  <p:clrMapOvr>
    <a:masterClrMapping/>
  </p:clrMapOvr>
  <p:transition spd="slow">
    <p:circl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7" name="Title 1">
            <a:extLst>
              <a:ext uri="{FF2B5EF4-FFF2-40B4-BE49-F238E27FC236}">
                <a16:creationId xmlns:a16="http://schemas.microsoft.com/office/drawing/2014/main" id="{B384B107-A76B-443D-A771-9BBFE3F30E0A}"/>
              </a:ext>
            </a:extLst>
          </p:cNvPr>
          <p:cNvSpPr txBox="1">
            <a:spLocks/>
          </p:cNvSpPr>
          <p:nvPr/>
        </p:nvSpPr>
        <p:spPr>
          <a:xfrm>
            <a:off x="197274" y="198339"/>
            <a:ext cx="8097973" cy="644815"/>
          </a:xfrm>
          <a:prstGeom prst="rect">
            <a:avLst/>
          </a:prstGeom>
        </p:spPr>
        <p:txBody>
          <a:bodyP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r>
              <a:rPr lang="en-US" sz="2400" kern="0" dirty="0"/>
              <a:t>NetApp Named a Leader in IDC </a:t>
            </a:r>
            <a:r>
              <a:rPr lang="en-US" sz="2400" kern="0" dirty="0" err="1"/>
              <a:t>MarketScape</a:t>
            </a:r>
            <a:r>
              <a:rPr lang="en-US" sz="2400" kern="0" dirty="0"/>
              <a:t>: </a:t>
            </a:r>
            <a:br>
              <a:rPr lang="en-US" sz="2400" kern="0" dirty="0"/>
            </a:br>
            <a:r>
              <a:rPr lang="en-US" sz="2400" kern="0" dirty="0"/>
              <a:t>Worldwide Scale-out File-Based Storage 2019 Vendor Assessment</a:t>
            </a:r>
          </a:p>
        </p:txBody>
      </p:sp>
      <p:pic>
        <p:nvPicPr>
          <p:cNvPr id="8" name="Content Placeholder 7" descr="A close up of text on a white background&#10;&#10;Description automatically generated">
            <a:extLst>
              <a:ext uri="{FF2B5EF4-FFF2-40B4-BE49-F238E27FC236}">
                <a16:creationId xmlns:a16="http://schemas.microsoft.com/office/drawing/2014/main" id="{F919A267-55E9-45B9-9DB6-E9A3C98901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624" y="1412681"/>
            <a:ext cx="3344152" cy="3323761"/>
          </a:xfrm>
          <a:prstGeom prst="rect">
            <a:avLst/>
          </a:prstGeom>
        </p:spPr>
      </p:pic>
      <p:sp>
        <p:nvSpPr>
          <p:cNvPr id="10" name="Footer Placeholder 4">
            <a:extLst>
              <a:ext uri="{FF2B5EF4-FFF2-40B4-BE49-F238E27FC236}">
                <a16:creationId xmlns:a16="http://schemas.microsoft.com/office/drawing/2014/main" id="{E1FBDC43-F528-4439-B8BA-ED026D7815EE}"/>
              </a:ext>
            </a:extLst>
          </p:cNvPr>
          <p:cNvSpPr txBox="1">
            <a:spLocks/>
          </p:cNvSpPr>
          <p:nvPr/>
        </p:nvSpPr>
        <p:spPr>
          <a:xfrm>
            <a:off x="2171700" y="4796207"/>
            <a:ext cx="4541772" cy="171388"/>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56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28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00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7213" indent="1588"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defTabSz="685800" eaLnBrk="1" fontAlgn="auto" hangingPunct="1">
              <a:spcBef>
                <a:spcPts val="0"/>
              </a:spcBef>
              <a:spcAft>
                <a:spcPts val="0"/>
              </a:spcAft>
            </a:pPr>
            <a:r>
              <a:rPr lang="en-US" sz="1000" dirty="0">
                <a:solidFill>
                  <a:srgbClr val="A2A5A2">
                    <a:lumMod val="50000"/>
                  </a:srgbClr>
                </a:solidFill>
                <a:latin typeface="Arial"/>
              </a:rPr>
              <a:t>© 2020 NetApp, Inc. All rights reserved</a:t>
            </a:r>
            <a:r>
              <a:rPr lang="en-US" dirty="0">
                <a:solidFill>
                  <a:srgbClr val="A2A5A2">
                    <a:lumMod val="50000"/>
                  </a:srgbClr>
                </a:solidFill>
                <a:latin typeface="Arial"/>
              </a:rPr>
              <a:t>. </a:t>
            </a:r>
          </a:p>
        </p:txBody>
      </p:sp>
      <p:sp>
        <p:nvSpPr>
          <p:cNvPr id="11" name="TextBox 10">
            <a:extLst>
              <a:ext uri="{FF2B5EF4-FFF2-40B4-BE49-F238E27FC236}">
                <a16:creationId xmlns:a16="http://schemas.microsoft.com/office/drawing/2014/main" id="{FF98E00B-C622-4905-ACF0-BE1F9DF3410A}"/>
              </a:ext>
            </a:extLst>
          </p:cNvPr>
          <p:cNvSpPr txBox="1"/>
          <p:nvPr/>
        </p:nvSpPr>
        <p:spPr>
          <a:xfrm>
            <a:off x="1260654" y="4614101"/>
            <a:ext cx="2437630" cy="244682"/>
          </a:xfrm>
          <a:prstGeom prst="rect">
            <a:avLst/>
          </a:prstGeom>
        </p:spPr>
        <p:txBody>
          <a:bodyPr vert="horz" wrap="square" lIns="68580" tIns="34290" rIns="68580" bIns="34290" rtlCol="0" anchor="t">
            <a:spAutoFit/>
          </a:bodyPr>
          <a:lstStyle/>
          <a:p>
            <a:pPr defTabSz="685800" eaLnBrk="1" fontAlgn="auto" hangingPunct="1">
              <a:lnSpc>
                <a:spcPct val="95000"/>
              </a:lnSpc>
              <a:spcBef>
                <a:spcPts val="300"/>
              </a:spcBef>
              <a:spcAft>
                <a:spcPts val="150"/>
              </a:spcAft>
              <a:buClr>
                <a:srgbClr val="0067C5"/>
              </a:buClr>
            </a:pPr>
            <a:r>
              <a:rPr lang="en-US" sz="600" dirty="0">
                <a:solidFill>
                  <a:prstClr val="black"/>
                </a:solidFill>
                <a:latin typeface="Arial"/>
              </a:rPr>
              <a:t>IDC </a:t>
            </a:r>
            <a:r>
              <a:rPr lang="en-US" sz="600" dirty="0" err="1">
                <a:solidFill>
                  <a:prstClr val="black"/>
                </a:solidFill>
                <a:latin typeface="Arial"/>
              </a:rPr>
              <a:t>MarketScape</a:t>
            </a:r>
            <a:r>
              <a:rPr lang="en-US" sz="600" dirty="0">
                <a:solidFill>
                  <a:prstClr val="black"/>
                </a:solidFill>
                <a:latin typeface="Arial"/>
              </a:rPr>
              <a:t>: Worldwide Scale-out File-Based Storage 2019 Vendor Assessment, Doc # US45355019, December 2019</a:t>
            </a:r>
            <a:endParaRPr lang="en-US" sz="600" b="1" dirty="0">
              <a:solidFill>
                <a:prstClr val="black"/>
              </a:solidFill>
              <a:latin typeface="Arial"/>
            </a:endParaRPr>
          </a:p>
        </p:txBody>
      </p:sp>
      <p:sp>
        <p:nvSpPr>
          <p:cNvPr id="13" name="Shape 156">
            <a:extLst>
              <a:ext uri="{FF2B5EF4-FFF2-40B4-BE49-F238E27FC236}">
                <a16:creationId xmlns:a16="http://schemas.microsoft.com/office/drawing/2014/main" id="{09B19D6C-E0EF-4AB8-87E1-D96D73256908}"/>
              </a:ext>
            </a:extLst>
          </p:cNvPr>
          <p:cNvSpPr txBox="1">
            <a:spLocks/>
          </p:cNvSpPr>
          <p:nvPr/>
        </p:nvSpPr>
        <p:spPr>
          <a:xfrm>
            <a:off x="4171950" y="980461"/>
            <a:ext cx="4233131" cy="3416446"/>
          </a:xfrm>
          <a:prstGeom prst="rect">
            <a:avLst/>
          </a:prstGeom>
          <a:noFill/>
          <a:ln>
            <a:noFill/>
          </a:ln>
        </p:spPr>
        <p:txBody>
          <a:bodyPr vert="horz" wrap="square" lIns="91406" tIns="91406" rIns="91406" bIns="91406" rtlCol="0" anchor="t" anchorCtr="0">
            <a:noAutofit/>
          </a:bodyPr>
          <a:lstStyle>
            <a:lvl1pPr marL="235159" indent="-235159" algn="l" defTabSz="915216" rtl="0" eaLnBrk="1" latinLnBrk="0" hangingPunct="1">
              <a:lnSpc>
                <a:spcPct val="95000"/>
              </a:lnSpc>
              <a:spcBef>
                <a:spcPts val="1200"/>
              </a:spcBef>
              <a:spcAft>
                <a:spcPts val="400"/>
              </a:spcAft>
              <a:buClr>
                <a:schemeClr val="accent1"/>
              </a:buClr>
              <a:buFont typeface="Wingdings" panose="05000000000000000000" pitchFamily="2" charset="2"/>
              <a:buChar char="§"/>
              <a:defRPr sz="2200" kern="1200">
                <a:solidFill>
                  <a:schemeClr val="tx1"/>
                </a:solidFill>
                <a:latin typeface="+mn-lt"/>
                <a:ea typeface="+mn-ea"/>
                <a:cs typeface="+mn-cs"/>
              </a:defRPr>
            </a:lvl1pPr>
            <a:lvl2pPr marL="457608" indent="-228804"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Char char="§"/>
              <a:defRPr sz="1800" kern="1200">
                <a:solidFill>
                  <a:schemeClr val="tx1"/>
                </a:solidFill>
                <a:latin typeface="+mn-lt"/>
                <a:ea typeface="+mn-ea"/>
                <a:cs typeface="+mn-cs"/>
              </a:defRPr>
            </a:lvl2pPr>
            <a:lvl3pPr marL="686412"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600" kern="1200">
                <a:solidFill>
                  <a:schemeClr val="tx1"/>
                </a:solidFill>
                <a:latin typeface="+mn-lt"/>
                <a:ea typeface="+mn-ea"/>
                <a:cs typeface="+mn-cs"/>
              </a:defRPr>
            </a:lvl3pPr>
            <a:lvl4pPr marL="915216"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400" kern="1200">
                <a:solidFill>
                  <a:schemeClr val="tx1"/>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Char char="§"/>
              <a:tabLst/>
              <a:defRPr lang="en-US" sz="1200" kern="1200" dirty="0">
                <a:solidFill>
                  <a:schemeClr val="tx1"/>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176369" defTabSz="686412" fontAlgn="auto">
              <a:spcBef>
                <a:spcPts val="0"/>
              </a:spcBef>
              <a:spcAft>
                <a:spcPts val="0"/>
              </a:spcAft>
              <a:buClr>
                <a:prstClr val="black"/>
              </a:buClr>
              <a:buSzPct val="61111"/>
              <a:buNone/>
            </a:pPr>
            <a:r>
              <a:rPr lang="en-US" sz="1200" b="1" dirty="0">
                <a:solidFill>
                  <a:srgbClr val="0070C0"/>
                </a:solidFill>
                <a:latin typeface="Arial"/>
              </a:rPr>
              <a:t>IDC </a:t>
            </a:r>
            <a:r>
              <a:rPr lang="en-US" sz="1200" b="1" dirty="0" err="1">
                <a:solidFill>
                  <a:srgbClr val="0070C0"/>
                </a:solidFill>
                <a:latin typeface="Arial"/>
              </a:rPr>
              <a:t>MarketScape</a:t>
            </a:r>
            <a:r>
              <a:rPr lang="en-US" sz="1200" b="1" dirty="0">
                <a:solidFill>
                  <a:srgbClr val="0070C0"/>
                </a:solidFill>
                <a:latin typeface="Arial"/>
              </a:rPr>
              <a:t> report excerpt:</a:t>
            </a:r>
          </a:p>
          <a:p>
            <a:pPr marL="0" indent="-176369" defTabSz="686412" fontAlgn="auto">
              <a:spcBef>
                <a:spcPts val="0"/>
              </a:spcBef>
              <a:spcAft>
                <a:spcPts val="0"/>
              </a:spcAft>
              <a:buClr>
                <a:prstClr val="black"/>
              </a:buClr>
              <a:buSzPct val="61111"/>
              <a:buNone/>
            </a:pPr>
            <a:endParaRPr lang="en-US" sz="900" b="1" dirty="0">
              <a:solidFill>
                <a:srgbClr val="0070C0"/>
              </a:solidFill>
              <a:latin typeface="Arial"/>
            </a:endParaRPr>
          </a:p>
          <a:p>
            <a:pPr marL="0" indent="0" defTabSz="686412" fontAlgn="auto">
              <a:spcBef>
                <a:spcPts val="900"/>
              </a:spcBef>
              <a:spcAft>
                <a:spcPts val="300"/>
              </a:spcAft>
              <a:buClr>
                <a:srgbClr val="0067C5"/>
              </a:buClr>
              <a:buNone/>
            </a:pPr>
            <a:r>
              <a:rPr lang="en-US" sz="1350" b="1" dirty="0">
                <a:solidFill>
                  <a:prstClr val="black"/>
                </a:solidFill>
                <a:latin typeface="Arial"/>
              </a:rPr>
              <a:t>NetApp Strengths</a:t>
            </a:r>
          </a:p>
          <a:p>
            <a:pPr marL="0" indent="0" defTabSz="686412" fontAlgn="auto">
              <a:lnSpc>
                <a:spcPct val="100000"/>
              </a:lnSpc>
              <a:spcBef>
                <a:spcPts val="0"/>
              </a:spcBef>
              <a:spcAft>
                <a:spcPts val="0"/>
              </a:spcAft>
              <a:buClr>
                <a:srgbClr val="0067C5"/>
              </a:buClr>
              <a:buNone/>
            </a:pPr>
            <a:r>
              <a:rPr lang="en-US" sz="1050" dirty="0">
                <a:solidFill>
                  <a:prstClr val="black"/>
                </a:solidFill>
                <a:latin typeface="Arial"/>
              </a:rPr>
              <a:t>NetApp's FBS offering is a very well-established offering in the market with worldwide adoption across several workloads and use cases. NetApp has an extensive and loyal customer base that is well skilled in the use of ONTAP and may lead to adoption of ONTAP in the public cloud.</a:t>
            </a:r>
          </a:p>
          <a:p>
            <a:pPr marL="0" indent="0" defTabSz="686412" fontAlgn="auto">
              <a:lnSpc>
                <a:spcPct val="100000"/>
              </a:lnSpc>
              <a:spcBef>
                <a:spcPts val="0"/>
              </a:spcBef>
              <a:spcAft>
                <a:spcPts val="0"/>
              </a:spcAft>
              <a:buClr>
                <a:srgbClr val="0067C5"/>
              </a:buClr>
              <a:buNone/>
            </a:pPr>
            <a:endParaRPr lang="en-US" sz="1050" dirty="0">
              <a:solidFill>
                <a:prstClr val="black"/>
              </a:solidFill>
              <a:latin typeface="Arial"/>
            </a:endParaRPr>
          </a:p>
          <a:p>
            <a:pPr marL="0" indent="0" defTabSz="686412" fontAlgn="auto">
              <a:lnSpc>
                <a:spcPct val="100000"/>
              </a:lnSpc>
              <a:spcBef>
                <a:spcPts val="0"/>
              </a:spcBef>
              <a:spcAft>
                <a:spcPts val="0"/>
              </a:spcAft>
              <a:buClr>
                <a:srgbClr val="0067C5"/>
              </a:buClr>
              <a:buNone/>
            </a:pPr>
            <a:r>
              <a:rPr lang="en-US" sz="1350" b="1" dirty="0">
                <a:solidFill>
                  <a:prstClr val="black"/>
                </a:solidFill>
                <a:latin typeface="Arial"/>
              </a:rPr>
              <a:t>Consider NetApp When</a:t>
            </a:r>
          </a:p>
          <a:p>
            <a:pPr marL="0" indent="0" defTabSz="686412" fontAlgn="auto">
              <a:lnSpc>
                <a:spcPct val="100000"/>
              </a:lnSpc>
              <a:spcBef>
                <a:spcPts val="0"/>
              </a:spcBef>
              <a:spcAft>
                <a:spcPts val="0"/>
              </a:spcAft>
              <a:buClr>
                <a:srgbClr val="0067C5"/>
              </a:buClr>
              <a:buNone/>
            </a:pPr>
            <a:r>
              <a:rPr lang="en-US" sz="1050" dirty="0">
                <a:solidFill>
                  <a:prstClr val="black"/>
                </a:solidFill>
                <a:latin typeface="Arial"/>
              </a:rPr>
              <a:t>Customers in need of an FBS on-premises and hybrid cloud strategy should consider NetApp because of its expanded product portfolio, investment, and vision.</a:t>
            </a:r>
          </a:p>
          <a:p>
            <a:pPr marL="0" indent="0" defTabSz="686412" fontAlgn="auto">
              <a:lnSpc>
                <a:spcPct val="100000"/>
              </a:lnSpc>
              <a:spcBef>
                <a:spcPts val="0"/>
              </a:spcBef>
              <a:spcAft>
                <a:spcPts val="0"/>
              </a:spcAft>
              <a:buClr>
                <a:srgbClr val="0067C5"/>
              </a:buClr>
              <a:buNone/>
            </a:pPr>
            <a:endParaRPr lang="en-US" sz="1050" dirty="0">
              <a:solidFill>
                <a:prstClr val="black"/>
              </a:solidFill>
              <a:latin typeface="Arial"/>
            </a:endParaRPr>
          </a:p>
          <a:p>
            <a:pPr marL="0" indent="-176369" defTabSz="686412" fontAlgn="auto">
              <a:spcBef>
                <a:spcPts val="0"/>
              </a:spcBef>
              <a:spcAft>
                <a:spcPts val="0"/>
              </a:spcAft>
              <a:buClr>
                <a:prstClr val="black"/>
              </a:buClr>
              <a:buSzPct val="61111"/>
              <a:buNone/>
            </a:pPr>
            <a:r>
              <a:rPr lang="en-US" sz="1200" dirty="0">
                <a:solidFill>
                  <a:prstClr val="black"/>
                </a:solidFill>
                <a:latin typeface="Arial"/>
              </a:rPr>
              <a:t>The report is available from NetApp</a:t>
            </a:r>
            <a:r>
              <a:rPr lang="en-US" sz="1200" dirty="0">
                <a:solidFill>
                  <a:prstClr val="black"/>
                </a:solidFill>
                <a:latin typeface="Arial"/>
                <a:hlinkClick r:id="rId4"/>
              </a:rPr>
              <a:t> </a:t>
            </a:r>
            <a:r>
              <a:rPr lang="en-US" sz="1200" u="sng" dirty="0">
                <a:solidFill>
                  <a:prstClr val="black"/>
                </a:solidFill>
                <a:latin typeface="Arial"/>
                <a:hlinkClick r:id="rId4"/>
              </a:rPr>
              <a:t>here</a:t>
            </a:r>
            <a:r>
              <a:rPr lang="en-US" sz="1200" dirty="0">
                <a:solidFill>
                  <a:prstClr val="black"/>
                </a:solidFill>
                <a:latin typeface="Arial"/>
              </a:rPr>
              <a:t>. </a:t>
            </a:r>
          </a:p>
        </p:txBody>
      </p:sp>
      <p:sp>
        <p:nvSpPr>
          <p:cNvPr id="14" name="TextBox 13">
            <a:extLst>
              <a:ext uri="{FF2B5EF4-FFF2-40B4-BE49-F238E27FC236}">
                <a16:creationId xmlns:a16="http://schemas.microsoft.com/office/drawing/2014/main" id="{15BCD463-9EB2-43A7-9354-F14AC7C2E7D5}"/>
              </a:ext>
            </a:extLst>
          </p:cNvPr>
          <p:cNvSpPr txBox="1"/>
          <p:nvPr/>
        </p:nvSpPr>
        <p:spPr>
          <a:xfrm>
            <a:off x="3698284" y="4565054"/>
            <a:ext cx="5510132" cy="462306"/>
          </a:xfrm>
          <a:prstGeom prst="rect">
            <a:avLst/>
          </a:prstGeom>
        </p:spPr>
        <p:txBody>
          <a:bodyPr vert="horz" wrap="square" lIns="68580" tIns="34290" rIns="68580" bIns="34290" rtlCol="0" anchor="t">
            <a:spAutoFit/>
          </a:bodyPr>
          <a:lstStyle/>
          <a:p>
            <a:pPr defTabSz="685800" eaLnBrk="1" fontAlgn="auto" hangingPunct="1">
              <a:lnSpc>
                <a:spcPct val="95000"/>
              </a:lnSpc>
              <a:spcBef>
                <a:spcPts val="300"/>
              </a:spcBef>
              <a:spcAft>
                <a:spcPts val="150"/>
              </a:spcAft>
              <a:buClr>
                <a:srgbClr val="0067C5"/>
              </a:buClr>
            </a:pPr>
            <a:r>
              <a:rPr lang="en-US" sz="450" dirty="0">
                <a:solidFill>
                  <a:srgbClr val="A2A5A2"/>
                </a:solidFill>
                <a:latin typeface="Arial"/>
              </a:rPr>
              <a:t>IDC </a:t>
            </a:r>
            <a:r>
              <a:rPr lang="en-US" sz="450" dirty="0" err="1">
                <a:solidFill>
                  <a:srgbClr val="A2A5A2"/>
                </a:solidFill>
                <a:latin typeface="Arial"/>
              </a:rPr>
              <a:t>MarketScape</a:t>
            </a:r>
            <a:r>
              <a:rPr lang="en-US" sz="450" dirty="0">
                <a:solidFill>
                  <a:srgbClr val="A2A5A2"/>
                </a:solidFill>
                <a:latin typeface="Arial"/>
              </a:rPr>
              <a:t> vendor analysis model is designed to provide an overview of the competitive fitness of ICT suppliers in a given market. The research methodology utilizes a rigorous scoring methodology based on both qualitative and quantitative criteria that results in a single graphical illustration of each vendor’s position within a given market. The Capabilities score measures vendor product, go-to-market and business execution in the </a:t>
            </a:r>
            <a:r>
              <a:rPr lang="en-US" sz="450" dirty="0" err="1">
                <a:solidFill>
                  <a:srgbClr val="A2A5A2"/>
                </a:solidFill>
                <a:latin typeface="Arial"/>
              </a:rPr>
              <a:t>shortterm</a:t>
            </a:r>
            <a:r>
              <a:rPr lang="en-US" sz="450" dirty="0">
                <a:solidFill>
                  <a:srgbClr val="A2A5A2"/>
                </a:solidFill>
                <a:latin typeface="Arial"/>
              </a:rPr>
              <a:t>. The Strategy score measures alignment of vendor strategies with customer requirements in a 3-5-year timeframe. Vendor market share is represented by the size of the circles. Vendor year-over-year growth rate relative to the given market is indicated by a plus, neutral or minus next to the vendor name.</a:t>
            </a:r>
            <a:endParaRPr lang="en-US" sz="450" b="1" i="1" dirty="0">
              <a:solidFill>
                <a:srgbClr val="A2A5A2"/>
              </a:solidFill>
              <a:latin typeface="Arial"/>
            </a:endParaRPr>
          </a:p>
          <a:p>
            <a:pPr defTabSz="685800" eaLnBrk="1" fontAlgn="auto" hangingPunct="1">
              <a:lnSpc>
                <a:spcPct val="95000"/>
              </a:lnSpc>
              <a:spcBef>
                <a:spcPts val="300"/>
              </a:spcBef>
              <a:spcAft>
                <a:spcPts val="150"/>
              </a:spcAft>
              <a:buClr>
                <a:srgbClr val="0067C5"/>
              </a:buClr>
            </a:pPr>
            <a:endParaRPr lang="en-US" sz="450" dirty="0">
              <a:solidFill>
                <a:sysClr val="windowText" lastClr="000000"/>
              </a:solidFill>
              <a:latin typeface="Arial"/>
            </a:endParaRPr>
          </a:p>
        </p:txBody>
      </p:sp>
    </p:spTree>
    <p:extLst>
      <p:ext uri="{BB962C8B-B14F-4D97-AF65-F5344CB8AC3E}">
        <p14:creationId xmlns:p14="http://schemas.microsoft.com/office/powerpoint/2010/main" val="383354688"/>
      </p:ext>
    </p:extLst>
  </p:cSld>
  <p:clrMapOvr>
    <a:masterClrMapping/>
  </p:clrMapOvr>
  <p:transition spd="slow">
    <p:circl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Title 3">
            <a:extLst>
              <a:ext uri="{FF2B5EF4-FFF2-40B4-BE49-F238E27FC236}">
                <a16:creationId xmlns:a16="http://schemas.microsoft.com/office/drawing/2014/main" id="{9A07AC65-5D92-4D6C-AAD6-D5ED0A82DEF9}"/>
              </a:ext>
            </a:extLst>
          </p:cNvPr>
          <p:cNvSpPr>
            <a:spLocks noGrp="1" noChangeArrowheads="1"/>
          </p:cNvSpPr>
          <p:nvPr>
            <p:ph type="ctrTitle"/>
          </p:nvPr>
        </p:nvSpPr>
        <p:spPr>
          <a:xfrm>
            <a:off x="277813" y="258763"/>
            <a:ext cx="7521575" cy="438150"/>
          </a:xfrm>
        </p:spPr>
        <p:txBody>
          <a:bodyPr/>
          <a:lstStyle/>
          <a:p>
            <a:r>
              <a:rPr lang="en-US" altLang="en-US"/>
              <a:t>Industry Analysts Love FlexPod</a:t>
            </a:r>
          </a:p>
        </p:txBody>
      </p:sp>
      <p:sp>
        <p:nvSpPr>
          <p:cNvPr id="10" name="TextBox 9">
            <a:extLst>
              <a:ext uri="{FF2B5EF4-FFF2-40B4-BE49-F238E27FC236}">
                <a16:creationId xmlns:a16="http://schemas.microsoft.com/office/drawing/2014/main" id="{11D35677-CE0E-7C45-87E7-72F781909A0B}"/>
              </a:ext>
            </a:extLst>
          </p:cNvPr>
          <p:cNvSpPr txBox="1"/>
          <p:nvPr/>
        </p:nvSpPr>
        <p:spPr>
          <a:xfrm>
            <a:off x="436563" y="652463"/>
            <a:ext cx="7204075" cy="288925"/>
          </a:xfrm>
          <a:prstGeom prst="rect">
            <a:avLst/>
          </a:prstGeom>
        </p:spPr>
        <p:txBody>
          <a:bodyPr wrap="none" lIns="68580" tIns="34290" rIns="68580" bIns="34290">
            <a:spAutoFit/>
          </a:bodyPr>
          <a:lstStyle/>
          <a:p>
            <a:pPr defTabSz="685800" eaLnBrk="1" fontAlgn="auto" hangingPunct="1">
              <a:lnSpc>
                <a:spcPct val="95000"/>
              </a:lnSpc>
              <a:spcBef>
                <a:spcPts val="300"/>
              </a:spcBef>
              <a:spcAft>
                <a:spcPts val="150"/>
              </a:spcAft>
              <a:buClr>
                <a:schemeClr val="accent1"/>
              </a:buClr>
              <a:defRPr/>
            </a:pPr>
            <a:r>
              <a:rPr lang="en-US" sz="1500" dirty="0">
                <a:latin typeface="+mn-lt"/>
              </a:rPr>
              <a:t>Analyst sentiment as measured in published reports across major industry analysts</a:t>
            </a:r>
          </a:p>
        </p:txBody>
      </p:sp>
      <p:pic>
        <p:nvPicPr>
          <p:cNvPr id="178180" name="Picture 11">
            <a:extLst>
              <a:ext uri="{FF2B5EF4-FFF2-40B4-BE49-F238E27FC236}">
                <a16:creationId xmlns:a16="http://schemas.microsoft.com/office/drawing/2014/main" id="{59E8EE73-B22F-47E4-87C7-B1133EBF549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5700" y="1247775"/>
            <a:ext cx="3308350" cy="229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81" name="Picture 13">
            <a:extLst>
              <a:ext uri="{FF2B5EF4-FFF2-40B4-BE49-F238E27FC236}">
                <a16:creationId xmlns:a16="http://schemas.microsoft.com/office/drawing/2014/main" id="{B86E4563-61DD-4786-9C4F-B400EC23D202}"/>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738" y="1252538"/>
            <a:ext cx="3751262" cy="229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182" name="Text Placeholder 4">
            <a:extLst>
              <a:ext uri="{FF2B5EF4-FFF2-40B4-BE49-F238E27FC236}">
                <a16:creationId xmlns:a16="http://schemas.microsoft.com/office/drawing/2014/main" id="{D395D096-9EF3-4BAA-9420-0BC42D8D22FB}"/>
              </a:ext>
            </a:extLst>
          </p:cNvPr>
          <p:cNvSpPr>
            <a:spLocks noGrp="1" noChangeArrowheads="1"/>
          </p:cNvSpPr>
          <p:nvPr>
            <p:ph type="body" sz="quarter" idx="10"/>
          </p:nvPr>
        </p:nvSpPr>
        <p:spPr>
          <a:xfrm>
            <a:off x="500063" y="4213225"/>
            <a:ext cx="8566150" cy="879475"/>
          </a:xfrm>
        </p:spPr>
        <p:txBody>
          <a:bodyPr/>
          <a:lstStyle/>
          <a:p>
            <a:pPr marL="0" indent="0">
              <a:buFont typeface="Wingdings" panose="05000000000000000000" pitchFamily="2" charset="2"/>
              <a:buNone/>
            </a:pPr>
            <a:r>
              <a:rPr lang="en-US" altLang="en-US" sz="1200">
                <a:cs typeface="Arial" panose="020B0604020202020204" pitchFamily="34" charset="0"/>
              </a:rPr>
              <a:t>The Integrated Systems market covers solutions referred to as either converged infrastructure or integrated systems. Over the past year, this market averages about 30 reports per quarter with Gartner as the most significant firm followed by a tie between IDC and 451 Research. </a:t>
            </a:r>
            <a:endParaRPr lang="en-US" altLang="en-US" sz="1200"/>
          </a:p>
          <a:p>
            <a:pPr marL="0" indent="0">
              <a:buFont typeface="Wingdings" panose="05000000000000000000" pitchFamily="2" charset="2"/>
              <a:buNone/>
            </a:pPr>
            <a:endParaRPr lang="en-US" altLang="en-US" sz="1200"/>
          </a:p>
        </p:txBody>
      </p:sp>
    </p:spTree>
  </p:cSld>
  <p:clrMapOvr>
    <a:masterClrMapping/>
  </p:clrMapOvr>
  <p:transition spd="slow">
    <p:circl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Title 2">
            <a:extLst>
              <a:ext uri="{FF2B5EF4-FFF2-40B4-BE49-F238E27FC236}">
                <a16:creationId xmlns:a16="http://schemas.microsoft.com/office/drawing/2014/main" id="{F9D94B48-2FE4-4634-A522-446B757982C4}"/>
              </a:ext>
            </a:extLst>
          </p:cNvPr>
          <p:cNvSpPr>
            <a:spLocks noGrp="1" noChangeArrowheads="1"/>
          </p:cNvSpPr>
          <p:nvPr>
            <p:ph type="ctrTitle"/>
          </p:nvPr>
        </p:nvSpPr>
        <p:spPr>
          <a:xfrm>
            <a:off x="277813" y="258763"/>
            <a:ext cx="8137525" cy="438150"/>
          </a:xfrm>
        </p:spPr>
        <p:txBody>
          <a:bodyPr/>
          <a:lstStyle/>
          <a:p>
            <a:r>
              <a:rPr lang="en-US" altLang="en-US" sz="2400"/>
              <a:t>Why FlexPod is Number 1 with Customers</a:t>
            </a:r>
          </a:p>
        </p:txBody>
      </p:sp>
      <p:sp>
        <p:nvSpPr>
          <p:cNvPr id="12" name="Text Placeholder 11">
            <a:extLst>
              <a:ext uri="{FF2B5EF4-FFF2-40B4-BE49-F238E27FC236}">
                <a16:creationId xmlns:a16="http://schemas.microsoft.com/office/drawing/2014/main" id="{EFEFA4EC-D2D8-4790-BBD3-EF535E5CEFC9}"/>
              </a:ext>
            </a:extLst>
          </p:cNvPr>
          <p:cNvSpPr>
            <a:spLocks noGrp="1"/>
          </p:cNvSpPr>
          <p:nvPr>
            <p:ph type="body" sz="quarter" idx="10"/>
          </p:nvPr>
        </p:nvSpPr>
        <p:spPr>
          <a:xfrm>
            <a:off x="277813" y="979488"/>
            <a:ext cx="4506912" cy="490537"/>
          </a:xfrm>
        </p:spPr>
        <p:txBody>
          <a:bodyPr/>
          <a:lstStyle/>
          <a:p>
            <a:pPr marL="0" indent="0" eaLnBrk="1" hangingPunct="1">
              <a:spcBef>
                <a:spcPct val="0"/>
              </a:spcBef>
              <a:buClr>
                <a:srgbClr val="83AC3E"/>
              </a:buClr>
              <a:buFont typeface="Arial" charset="0"/>
              <a:buNone/>
              <a:defRPr/>
            </a:pPr>
            <a:endParaRPr lang="en-US" sz="1100" dirty="0">
              <a:solidFill>
                <a:schemeClr val="tx2">
                  <a:lumMod val="50000"/>
                  <a:lumOff val="50000"/>
                </a:schemeClr>
              </a:solidFill>
            </a:endParaRPr>
          </a:p>
          <a:p>
            <a:pPr marL="0" indent="0">
              <a:buFont typeface="Arial" charset="0"/>
              <a:buNone/>
              <a:defRPr/>
            </a:pPr>
            <a:endParaRPr lang="en-US" dirty="0">
              <a:solidFill>
                <a:schemeClr val="tx2">
                  <a:lumMod val="50000"/>
                  <a:lumOff val="50000"/>
                </a:schemeClr>
              </a:solidFill>
            </a:endParaRPr>
          </a:p>
        </p:txBody>
      </p:sp>
      <p:cxnSp>
        <p:nvCxnSpPr>
          <p:cNvPr id="180228" name="Straight Connector 15">
            <a:extLst>
              <a:ext uri="{FF2B5EF4-FFF2-40B4-BE49-F238E27FC236}">
                <a16:creationId xmlns:a16="http://schemas.microsoft.com/office/drawing/2014/main" id="{B9D28123-803C-423E-8703-DCDBEA5F662C}"/>
              </a:ext>
            </a:extLst>
          </p:cNvPr>
          <p:cNvCxnSpPr>
            <a:cxnSpLocks noChangeShapeType="1"/>
          </p:cNvCxnSpPr>
          <p:nvPr/>
        </p:nvCxnSpPr>
        <p:spPr bwMode="auto">
          <a:xfrm>
            <a:off x="542925" y="1792288"/>
            <a:ext cx="2379663"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80229" name="Text Placeholder 11">
            <a:extLst>
              <a:ext uri="{FF2B5EF4-FFF2-40B4-BE49-F238E27FC236}">
                <a16:creationId xmlns:a16="http://schemas.microsoft.com/office/drawing/2014/main" id="{E4A29841-BF3F-438F-BE81-3937DF67EA8F}"/>
              </a:ext>
            </a:extLst>
          </p:cNvPr>
          <p:cNvSpPr txBox="1">
            <a:spLocks/>
          </p:cNvSpPr>
          <p:nvPr/>
        </p:nvSpPr>
        <p:spPr bwMode="auto">
          <a:xfrm>
            <a:off x="6423025" y="1895475"/>
            <a:ext cx="1992313"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a:solidFill>
                  <a:srgbClr val="3C3939"/>
                </a:solidFill>
              </a:rPr>
              <a:t>FlexPod</a:t>
            </a:r>
            <a:r>
              <a:rPr lang="en-US" altLang="en-US" sz="1200" baseline="30000">
                <a:solidFill>
                  <a:srgbClr val="3C3939"/>
                </a:solidFill>
                <a:cs typeface="Arial" panose="020B0604020202020204" pitchFamily="34" charset="0"/>
              </a:rPr>
              <a:t>®</a:t>
            </a:r>
            <a:r>
              <a:rPr lang="en-US" altLang="en-US" sz="1200">
                <a:solidFill>
                  <a:srgbClr val="3C3939"/>
                </a:solidFill>
              </a:rPr>
              <a:t> is the only integrated infrastructure that simplifies edge to core to cloud and integrates with all major public clouds</a:t>
            </a:r>
          </a:p>
        </p:txBody>
      </p:sp>
      <p:cxnSp>
        <p:nvCxnSpPr>
          <p:cNvPr id="180230" name="Straight Connector 15">
            <a:extLst>
              <a:ext uri="{FF2B5EF4-FFF2-40B4-BE49-F238E27FC236}">
                <a16:creationId xmlns:a16="http://schemas.microsoft.com/office/drawing/2014/main" id="{9FF6E98B-2E4F-48B9-A040-6CABCA17E53A}"/>
              </a:ext>
            </a:extLst>
          </p:cNvPr>
          <p:cNvCxnSpPr>
            <a:cxnSpLocks noChangeShapeType="1"/>
          </p:cNvCxnSpPr>
          <p:nvPr/>
        </p:nvCxnSpPr>
        <p:spPr bwMode="auto">
          <a:xfrm>
            <a:off x="3382963" y="1792288"/>
            <a:ext cx="23780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cxnSp>
        <p:nvCxnSpPr>
          <p:cNvPr id="180231" name="Straight Connector 15">
            <a:extLst>
              <a:ext uri="{FF2B5EF4-FFF2-40B4-BE49-F238E27FC236}">
                <a16:creationId xmlns:a16="http://schemas.microsoft.com/office/drawing/2014/main" id="{090BBD3A-DB33-4622-B9AF-9BC756A4B1CB}"/>
              </a:ext>
            </a:extLst>
          </p:cNvPr>
          <p:cNvCxnSpPr>
            <a:cxnSpLocks noChangeShapeType="1"/>
          </p:cNvCxnSpPr>
          <p:nvPr/>
        </p:nvCxnSpPr>
        <p:spPr bwMode="auto">
          <a:xfrm>
            <a:off x="6221413" y="1792288"/>
            <a:ext cx="2379662"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80232" name="Text Placeholder 11">
            <a:extLst>
              <a:ext uri="{FF2B5EF4-FFF2-40B4-BE49-F238E27FC236}">
                <a16:creationId xmlns:a16="http://schemas.microsoft.com/office/drawing/2014/main" id="{BED5B2F1-30CB-485F-8DF3-83C78C83980C}"/>
              </a:ext>
            </a:extLst>
          </p:cNvPr>
          <p:cNvSpPr txBox="1">
            <a:spLocks/>
          </p:cNvSpPr>
          <p:nvPr/>
        </p:nvSpPr>
        <p:spPr bwMode="auto">
          <a:xfrm>
            <a:off x="3625850" y="1895475"/>
            <a:ext cx="2135188"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dirty="0">
                <a:solidFill>
                  <a:schemeClr val="tx2"/>
                </a:solidFill>
              </a:rPr>
              <a:t>#1 Rated Converged Infrastructure solution in customer reviews on IT Central Station </a:t>
            </a:r>
          </a:p>
        </p:txBody>
      </p:sp>
      <p:sp>
        <p:nvSpPr>
          <p:cNvPr id="180233" name="Text Placeholder 11">
            <a:extLst>
              <a:ext uri="{FF2B5EF4-FFF2-40B4-BE49-F238E27FC236}">
                <a16:creationId xmlns:a16="http://schemas.microsoft.com/office/drawing/2014/main" id="{494B881C-9AF8-42F5-9D9E-0E1A0083620C}"/>
              </a:ext>
            </a:extLst>
          </p:cNvPr>
          <p:cNvSpPr txBox="1">
            <a:spLocks/>
          </p:cNvSpPr>
          <p:nvPr/>
        </p:nvSpPr>
        <p:spPr bwMode="auto">
          <a:xfrm>
            <a:off x="728663" y="1871663"/>
            <a:ext cx="2379662" cy="116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dirty="0">
                <a:solidFill>
                  <a:srgbClr val="3C3939"/>
                </a:solidFill>
              </a:rPr>
              <a:t>History of rapid innovations including  AI, all flash CI, private cloud, secure multi-tenancy, NVMe, cloud tiering, scale out flash</a:t>
            </a:r>
            <a:endParaRPr lang="en-US" altLang="en-US" sz="1200" dirty="0">
              <a:solidFill>
                <a:srgbClr val="FF0000"/>
              </a:solidFill>
            </a:endParaRPr>
          </a:p>
        </p:txBody>
      </p:sp>
      <p:cxnSp>
        <p:nvCxnSpPr>
          <p:cNvPr id="180234" name="Straight Connector 15">
            <a:extLst>
              <a:ext uri="{FF2B5EF4-FFF2-40B4-BE49-F238E27FC236}">
                <a16:creationId xmlns:a16="http://schemas.microsoft.com/office/drawing/2014/main" id="{E470C1B8-1049-445C-BE55-643A311C3054}"/>
              </a:ext>
            </a:extLst>
          </p:cNvPr>
          <p:cNvCxnSpPr>
            <a:cxnSpLocks noChangeShapeType="1"/>
          </p:cNvCxnSpPr>
          <p:nvPr/>
        </p:nvCxnSpPr>
        <p:spPr bwMode="auto">
          <a:xfrm>
            <a:off x="542925" y="3594100"/>
            <a:ext cx="2379663"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80235" name="Text Placeholder 11">
            <a:extLst>
              <a:ext uri="{FF2B5EF4-FFF2-40B4-BE49-F238E27FC236}">
                <a16:creationId xmlns:a16="http://schemas.microsoft.com/office/drawing/2014/main" id="{400B8181-E565-429C-869C-4EEF931BCF97}"/>
              </a:ext>
            </a:extLst>
          </p:cNvPr>
          <p:cNvSpPr txBox="1">
            <a:spLocks/>
          </p:cNvSpPr>
          <p:nvPr/>
        </p:nvSpPr>
        <p:spPr bwMode="auto">
          <a:xfrm>
            <a:off x="728663" y="3692525"/>
            <a:ext cx="2193925"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a:solidFill>
                  <a:srgbClr val="3C3939"/>
                </a:solidFill>
              </a:rPr>
              <a:t>Scales to support the largest apps and validated with all major enterprise apps with over 170 validated designs. </a:t>
            </a:r>
          </a:p>
        </p:txBody>
      </p:sp>
      <p:cxnSp>
        <p:nvCxnSpPr>
          <p:cNvPr id="180236" name="Straight Connector 15">
            <a:extLst>
              <a:ext uri="{FF2B5EF4-FFF2-40B4-BE49-F238E27FC236}">
                <a16:creationId xmlns:a16="http://schemas.microsoft.com/office/drawing/2014/main" id="{CD788C10-72CD-48BE-8737-56E402491DAD}"/>
              </a:ext>
            </a:extLst>
          </p:cNvPr>
          <p:cNvCxnSpPr>
            <a:cxnSpLocks noChangeShapeType="1"/>
          </p:cNvCxnSpPr>
          <p:nvPr/>
        </p:nvCxnSpPr>
        <p:spPr bwMode="auto">
          <a:xfrm>
            <a:off x="3382963" y="3594100"/>
            <a:ext cx="23780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80237" name="Text Placeholder 11">
            <a:extLst>
              <a:ext uri="{FF2B5EF4-FFF2-40B4-BE49-F238E27FC236}">
                <a16:creationId xmlns:a16="http://schemas.microsoft.com/office/drawing/2014/main" id="{C73C120B-CF8B-45F0-9326-B73139194AB7}"/>
              </a:ext>
            </a:extLst>
          </p:cNvPr>
          <p:cNvSpPr txBox="1">
            <a:spLocks/>
          </p:cNvSpPr>
          <p:nvPr/>
        </p:nvSpPr>
        <p:spPr bwMode="auto">
          <a:xfrm>
            <a:off x="3576638" y="3692525"/>
            <a:ext cx="2193925"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a:solidFill>
                  <a:srgbClr val="3C3939"/>
                </a:solidFill>
              </a:rPr>
              <a:t>One call support for the entire stack</a:t>
            </a:r>
          </a:p>
        </p:txBody>
      </p:sp>
      <p:cxnSp>
        <p:nvCxnSpPr>
          <p:cNvPr id="180238" name="Straight Connector 15">
            <a:extLst>
              <a:ext uri="{FF2B5EF4-FFF2-40B4-BE49-F238E27FC236}">
                <a16:creationId xmlns:a16="http://schemas.microsoft.com/office/drawing/2014/main" id="{02387209-82B1-4882-A93B-8540D50CA833}"/>
              </a:ext>
            </a:extLst>
          </p:cNvPr>
          <p:cNvCxnSpPr>
            <a:cxnSpLocks noChangeShapeType="1"/>
          </p:cNvCxnSpPr>
          <p:nvPr/>
        </p:nvCxnSpPr>
        <p:spPr bwMode="auto">
          <a:xfrm>
            <a:off x="6194425" y="3594100"/>
            <a:ext cx="2379663"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80239" name="Text Placeholder 11">
            <a:extLst>
              <a:ext uri="{FF2B5EF4-FFF2-40B4-BE49-F238E27FC236}">
                <a16:creationId xmlns:a16="http://schemas.microsoft.com/office/drawing/2014/main" id="{C44C4945-A7F4-4242-9522-ADD042277E81}"/>
              </a:ext>
            </a:extLst>
          </p:cNvPr>
          <p:cNvSpPr txBox="1">
            <a:spLocks/>
          </p:cNvSpPr>
          <p:nvPr/>
        </p:nvSpPr>
        <p:spPr bwMode="auto">
          <a:xfrm>
            <a:off x="6423025" y="3692525"/>
            <a:ext cx="2151063"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n-US" sz="1200" dirty="0">
                <a:solidFill>
                  <a:srgbClr val="3C3939"/>
                </a:solidFill>
              </a:rPr>
              <a:t>9+ years strong and still the  fastest growing CI solution</a:t>
            </a:r>
          </a:p>
        </p:txBody>
      </p:sp>
      <p:sp>
        <p:nvSpPr>
          <p:cNvPr id="2" name="TextBox 1">
            <a:extLst>
              <a:ext uri="{FF2B5EF4-FFF2-40B4-BE49-F238E27FC236}">
                <a16:creationId xmlns:a16="http://schemas.microsoft.com/office/drawing/2014/main" id="{9B9C1E0B-E9E0-7F46-BA07-AB056644A220}"/>
              </a:ext>
            </a:extLst>
          </p:cNvPr>
          <p:cNvSpPr txBox="1"/>
          <p:nvPr/>
        </p:nvSpPr>
        <p:spPr>
          <a:xfrm>
            <a:off x="6243638" y="2974975"/>
            <a:ext cx="2278062" cy="358775"/>
          </a:xfrm>
          <a:prstGeom prst="rect">
            <a:avLst/>
          </a:prstGeom>
        </p:spPr>
        <p:txBody>
          <a:bodyPr/>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Success and Maturity </a:t>
            </a:r>
          </a:p>
        </p:txBody>
      </p:sp>
      <p:sp>
        <p:nvSpPr>
          <p:cNvPr id="3" name="TextBox 2">
            <a:extLst>
              <a:ext uri="{FF2B5EF4-FFF2-40B4-BE49-F238E27FC236}">
                <a16:creationId xmlns:a16="http://schemas.microsoft.com/office/drawing/2014/main" id="{45A67186-5BCB-3842-A574-F0A35DC488D4}"/>
              </a:ext>
            </a:extLst>
          </p:cNvPr>
          <p:cNvSpPr txBox="1"/>
          <p:nvPr/>
        </p:nvSpPr>
        <p:spPr>
          <a:xfrm>
            <a:off x="6194425" y="1189038"/>
            <a:ext cx="1922463" cy="280987"/>
          </a:xfrm>
          <a:prstGeom prst="rect">
            <a:avLst/>
          </a:prstGeom>
        </p:spPr>
        <p:txBody>
          <a:bodyPr wrap="none"/>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Cloud </a:t>
            </a:r>
            <a:br>
              <a:rPr lang="en-US" b="1" dirty="0">
                <a:solidFill>
                  <a:schemeClr val="accent1"/>
                </a:solidFill>
                <a:latin typeface="+mn-lt"/>
              </a:rPr>
            </a:br>
            <a:r>
              <a:rPr lang="en-US" b="1" dirty="0">
                <a:solidFill>
                  <a:schemeClr val="accent1"/>
                </a:solidFill>
                <a:latin typeface="+mn-lt"/>
              </a:rPr>
              <a:t>Connectivity</a:t>
            </a:r>
          </a:p>
        </p:txBody>
      </p:sp>
      <p:sp>
        <p:nvSpPr>
          <p:cNvPr id="25" name="TextBox 24">
            <a:extLst>
              <a:ext uri="{FF2B5EF4-FFF2-40B4-BE49-F238E27FC236}">
                <a16:creationId xmlns:a16="http://schemas.microsoft.com/office/drawing/2014/main" id="{AD829C3B-3A70-BA4E-88FF-0628E0A37256}"/>
              </a:ext>
            </a:extLst>
          </p:cNvPr>
          <p:cNvSpPr txBox="1"/>
          <p:nvPr/>
        </p:nvSpPr>
        <p:spPr>
          <a:xfrm>
            <a:off x="542925" y="2924175"/>
            <a:ext cx="2406650" cy="669925"/>
          </a:xfrm>
          <a:prstGeom prst="rect">
            <a:avLst/>
          </a:prstGeom>
        </p:spPr>
        <p:txBody>
          <a:bodyPr wrap="none"/>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Breadth and Scale </a:t>
            </a:r>
            <a:br>
              <a:rPr lang="en-US" b="1" dirty="0">
                <a:solidFill>
                  <a:schemeClr val="accent1"/>
                </a:solidFill>
                <a:latin typeface="+mn-lt"/>
              </a:rPr>
            </a:br>
            <a:r>
              <a:rPr lang="en-US" b="1" dirty="0">
                <a:solidFill>
                  <a:schemeClr val="accent1"/>
                </a:solidFill>
                <a:latin typeface="+mn-lt"/>
              </a:rPr>
              <a:t>of Applications </a:t>
            </a:r>
          </a:p>
        </p:txBody>
      </p:sp>
      <p:sp>
        <p:nvSpPr>
          <p:cNvPr id="26" name="TextBox 25">
            <a:extLst>
              <a:ext uri="{FF2B5EF4-FFF2-40B4-BE49-F238E27FC236}">
                <a16:creationId xmlns:a16="http://schemas.microsoft.com/office/drawing/2014/main" id="{A7F1A9F2-FA4C-B44B-96DF-D6BC5DECA100}"/>
              </a:ext>
            </a:extLst>
          </p:cNvPr>
          <p:cNvSpPr txBox="1"/>
          <p:nvPr/>
        </p:nvSpPr>
        <p:spPr>
          <a:xfrm>
            <a:off x="3394075" y="2944813"/>
            <a:ext cx="1922463" cy="280987"/>
          </a:xfrm>
          <a:prstGeom prst="rect">
            <a:avLst/>
          </a:prstGeom>
        </p:spPr>
        <p:txBody>
          <a:bodyPr wrap="none"/>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Unified </a:t>
            </a:r>
            <a:br>
              <a:rPr lang="en-US" b="1" dirty="0">
                <a:solidFill>
                  <a:schemeClr val="accent1"/>
                </a:solidFill>
                <a:latin typeface="+mn-lt"/>
              </a:rPr>
            </a:br>
            <a:r>
              <a:rPr lang="en-US" b="1" dirty="0">
                <a:solidFill>
                  <a:schemeClr val="accent1"/>
                </a:solidFill>
                <a:latin typeface="+mn-lt"/>
              </a:rPr>
              <a:t>Support</a:t>
            </a:r>
          </a:p>
        </p:txBody>
      </p:sp>
      <p:sp>
        <p:nvSpPr>
          <p:cNvPr id="27" name="TextBox 26">
            <a:extLst>
              <a:ext uri="{FF2B5EF4-FFF2-40B4-BE49-F238E27FC236}">
                <a16:creationId xmlns:a16="http://schemas.microsoft.com/office/drawing/2014/main" id="{0AE4325D-91C0-EA45-8F49-1D21B77C31C5}"/>
              </a:ext>
            </a:extLst>
          </p:cNvPr>
          <p:cNvSpPr txBox="1"/>
          <p:nvPr/>
        </p:nvSpPr>
        <p:spPr>
          <a:xfrm>
            <a:off x="552450" y="1176338"/>
            <a:ext cx="1922463" cy="280987"/>
          </a:xfrm>
          <a:prstGeom prst="rect">
            <a:avLst/>
          </a:prstGeom>
        </p:spPr>
        <p:txBody>
          <a:bodyPr wrap="none"/>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Rapid </a:t>
            </a:r>
            <a:br>
              <a:rPr lang="en-US" b="1" dirty="0">
                <a:solidFill>
                  <a:schemeClr val="accent1"/>
                </a:solidFill>
                <a:latin typeface="+mn-lt"/>
              </a:rPr>
            </a:br>
            <a:r>
              <a:rPr lang="en-US" b="1" dirty="0">
                <a:solidFill>
                  <a:schemeClr val="accent1"/>
                </a:solidFill>
                <a:latin typeface="+mn-lt"/>
              </a:rPr>
              <a:t>Innovations</a:t>
            </a:r>
          </a:p>
        </p:txBody>
      </p:sp>
      <p:sp>
        <p:nvSpPr>
          <p:cNvPr id="28" name="TextBox 27">
            <a:extLst>
              <a:ext uri="{FF2B5EF4-FFF2-40B4-BE49-F238E27FC236}">
                <a16:creationId xmlns:a16="http://schemas.microsoft.com/office/drawing/2014/main" id="{174FD2E8-DAF4-224C-BD30-C7894A08778B}"/>
              </a:ext>
            </a:extLst>
          </p:cNvPr>
          <p:cNvSpPr txBox="1"/>
          <p:nvPr/>
        </p:nvSpPr>
        <p:spPr>
          <a:xfrm>
            <a:off x="3382963" y="1182688"/>
            <a:ext cx="1922462" cy="280987"/>
          </a:xfrm>
          <a:prstGeom prst="rect">
            <a:avLst/>
          </a:prstGeom>
        </p:spPr>
        <p:txBody>
          <a:bodyPr wrap="none"/>
          <a:lstStyle/>
          <a:p>
            <a:pPr eaLnBrk="1" fontAlgn="auto" hangingPunct="1">
              <a:lnSpc>
                <a:spcPct val="95000"/>
              </a:lnSpc>
              <a:spcBef>
                <a:spcPts val="400"/>
              </a:spcBef>
              <a:spcAft>
                <a:spcPts val="200"/>
              </a:spcAft>
              <a:buClr>
                <a:schemeClr val="accent1"/>
              </a:buClr>
              <a:defRPr/>
            </a:pPr>
            <a:r>
              <a:rPr lang="en-US" b="1" dirty="0">
                <a:solidFill>
                  <a:schemeClr val="accent1"/>
                </a:solidFill>
                <a:latin typeface="+mn-lt"/>
              </a:rPr>
              <a:t>Customer </a:t>
            </a:r>
            <a:br>
              <a:rPr lang="en-US" b="1" dirty="0">
                <a:solidFill>
                  <a:schemeClr val="accent1"/>
                </a:solidFill>
                <a:latin typeface="+mn-lt"/>
              </a:rPr>
            </a:br>
            <a:r>
              <a:rPr lang="en-US" b="1" dirty="0">
                <a:solidFill>
                  <a:schemeClr val="accent1"/>
                </a:solidFill>
                <a:latin typeface="+mn-lt"/>
              </a:rPr>
              <a:t>Experience</a:t>
            </a:r>
          </a:p>
        </p:txBody>
      </p:sp>
    </p:spTree>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2"/>
          <p:cNvSpPr>
            <a:spLocks noGrp="1" noChangeArrowheads="1"/>
          </p:cNvSpPr>
          <p:nvPr>
            <p:ph type="ctrTitle"/>
          </p:nvPr>
        </p:nvSpPr>
        <p:spPr>
          <a:xfrm>
            <a:off x="277812" y="258763"/>
            <a:ext cx="8753065" cy="438150"/>
          </a:xfrm>
        </p:spPr>
        <p:txBody>
          <a:bodyPr/>
          <a:lstStyle/>
          <a:p>
            <a:r>
              <a:rPr lang="en-US" altLang="en-US" dirty="0"/>
              <a:t>Customer case study: </a:t>
            </a:r>
            <a:r>
              <a:rPr lang="en-US" altLang="en-US" sz="2000" dirty="0"/>
              <a:t>neteffect technologies</a:t>
            </a:r>
          </a:p>
        </p:txBody>
      </p:sp>
      <p:sp>
        <p:nvSpPr>
          <p:cNvPr id="12" name="Text Placeholder 11">
            <a:extLst>
              <a:ext uri="{FF2B5EF4-FFF2-40B4-BE49-F238E27FC236}">
                <a16:creationId xmlns:a16="http://schemas.microsoft.com/office/drawing/2014/main" id="{10613FE0-EFD4-4A53-95EC-057DEC9BEA7B}"/>
              </a:ext>
            </a:extLst>
          </p:cNvPr>
          <p:cNvSpPr>
            <a:spLocks noGrp="1"/>
          </p:cNvSpPr>
          <p:nvPr>
            <p:ph type="body" sz="quarter" idx="10"/>
          </p:nvPr>
        </p:nvSpPr>
        <p:spPr>
          <a:xfrm>
            <a:off x="277813" y="801688"/>
            <a:ext cx="4506912" cy="490537"/>
          </a:xfrm>
        </p:spPr>
        <p:txBody>
          <a:bodyPr/>
          <a:lstStyle/>
          <a:p>
            <a:pPr marL="0" indent="0" eaLnBrk="1" hangingPunct="1">
              <a:spcBef>
                <a:spcPct val="0"/>
              </a:spcBef>
              <a:buClr>
                <a:srgbClr val="83AC3E"/>
              </a:buClr>
              <a:buFont typeface="Arial" charset="0"/>
              <a:buNone/>
              <a:defRPr/>
            </a:pPr>
            <a:endParaRPr lang="en-US" sz="1100" kern="1200" dirty="0">
              <a:solidFill>
                <a:schemeClr val="tx2">
                  <a:lumMod val="50000"/>
                  <a:lumOff val="50000"/>
                </a:schemeClr>
              </a:solidFill>
            </a:endParaRPr>
          </a:p>
          <a:p>
            <a:pPr marL="0" indent="0">
              <a:buFont typeface="Arial" charset="0"/>
              <a:buNone/>
              <a:defRPr/>
            </a:pPr>
            <a:endParaRPr lang="en-US" dirty="0">
              <a:solidFill>
                <a:schemeClr val="tx2">
                  <a:lumMod val="50000"/>
                  <a:lumOff val="50000"/>
                </a:schemeClr>
              </a:solidFill>
            </a:endParaRPr>
          </a:p>
        </p:txBody>
      </p:sp>
      <p:sp>
        <p:nvSpPr>
          <p:cNvPr id="50" name="Text Placeholder 11">
            <a:extLst>
              <a:ext uri="{FF2B5EF4-FFF2-40B4-BE49-F238E27FC236}">
                <a16:creationId xmlns:a16="http://schemas.microsoft.com/office/drawing/2014/main" id="{B845D0B3-3CDF-45CE-9112-8E044FD2317A}"/>
              </a:ext>
            </a:extLst>
          </p:cNvPr>
          <p:cNvSpPr txBox="1">
            <a:spLocks/>
          </p:cNvSpPr>
          <p:nvPr/>
        </p:nvSpPr>
        <p:spPr bwMode="auto">
          <a:xfrm>
            <a:off x="277813" y="712126"/>
            <a:ext cx="6014922" cy="393700"/>
          </a:xfrm>
          <a:prstGeom prst="rect">
            <a:avLst/>
          </a:prstGeom>
          <a:noFill/>
          <a:ln w="9525">
            <a:noFill/>
            <a:miter lim="800000"/>
            <a:headEnd/>
            <a:tailEnd/>
          </a:ln>
        </p:spPr>
        <p:txBody>
          <a:bodyPr lIns="0" tIns="0" rIns="0" bIns="0"/>
          <a:lstStyle>
            <a:lvl1pPr marL="298397" indent="-298397" algn="l" rtl="0" eaLnBrk="0" fontAlgn="base" hangingPunct="0">
              <a:spcBef>
                <a:spcPts val="676"/>
              </a:spcBef>
              <a:spcAft>
                <a:spcPct val="0"/>
              </a:spcAft>
              <a:buClrTx/>
              <a:buFont typeface="Arial"/>
              <a:buChar char="•"/>
              <a:defRPr sz="1500">
                <a:solidFill>
                  <a:srgbClr val="000000"/>
                </a:solidFill>
                <a:latin typeface="+mn-lt"/>
                <a:ea typeface="+mn-ea"/>
                <a:cs typeface="+mn-cs"/>
              </a:defRPr>
            </a:lvl1pPr>
            <a:lvl2pPr marL="636476" indent="-336488" algn="l" rtl="0" eaLnBrk="0" fontAlgn="base" hangingPunct="0">
              <a:spcBef>
                <a:spcPts val="624"/>
              </a:spcBef>
              <a:spcAft>
                <a:spcPct val="0"/>
              </a:spcAft>
              <a:buClrTx/>
              <a:buFont typeface="Lucida Grande"/>
              <a:buChar char="-"/>
              <a:defRPr sz="1200">
                <a:solidFill>
                  <a:srgbClr val="000000"/>
                </a:solidFill>
                <a:latin typeface="+mn-lt"/>
              </a:defRPr>
            </a:lvl2pPr>
            <a:lvl3pPr marL="926939" indent="-288876" algn="l" rtl="0" eaLnBrk="0" fontAlgn="base" hangingPunct="0">
              <a:spcBef>
                <a:spcPts val="576"/>
              </a:spcBef>
              <a:spcAft>
                <a:spcPct val="0"/>
              </a:spcAft>
              <a:buClrTx/>
              <a:buFont typeface="Arial"/>
              <a:buChar char="•"/>
              <a:defRPr sz="1200">
                <a:solidFill>
                  <a:srgbClr val="000000"/>
                </a:solidFill>
                <a:latin typeface="+mn-lt"/>
              </a:defRPr>
            </a:lvl3pPr>
            <a:lvl4pPr marL="1236446" indent="-307922" algn="l" rtl="0" eaLnBrk="0" fontAlgn="base" hangingPunct="0">
              <a:spcBef>
                <a:spcPts val="480"/>
              </a:spcBef>
              <a:spcAft>
                <a:spcPct val="0"/>
              </a:spcAft>
              <a:buClrTx/>
              <a:buFont typeface="Lucida Grande"/>
              <a:buChar char="-"/>
              <a:defRPr sz="1200">
                <a:solidFill>
                  <a:srgbClr val="000000"/>
                </a:solidFill>
                <a:latin typeface="+mn-lt"/>
              </a:defRPr>
            </a:lvl4pPr>
            <a:lvl5pPr marL="1504688" indent="-266657" algn="l" rtl="0" eaLnBrk="0" fontAlgn="base" hangingPunct="0">
              <a:spcBef>
                <a:spcPts val="480"/>
              </a:spcBef>
              <a:spcAft>
                <a:spcPct val="0"/>
              </a:spcAft>
              <a:buClrTx/>
              <a:buFont typeface="Arial"/>
              <a:buChar char="•"/>
              <a:defRPr sz="12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indent="0" eaLnBrk="1" hangingPunct="1">
              <a:spcBef>
                <a:spcPct val="0"/>
              </a:spcBef>
              <a:buNone/>
              <a:defRPr/>
            </a:pPr>
            <a:r>
              <a:rPr lang="en-US" sz="2000" b="1" dirty="0">
                <a:solidFill>
                  <a:schemeClr val="tx1"/>
                </a:solidFill>
              </a:rPr>
              <a:t>FlexPod performance: 10x faster applications</a:t>
            </a:r>
          </a:p>
        </p:txBody>
      </p:sp>
      <p:cxnSp>
        <p:nvCxnSpPr>
          <p:cNvPr id="78853" name="Straight Connector 15"/>
          <p:cNvCxnSpPr>
            <a:cxnSpLocks noChangeShapeType="1"/>
          </p:cNvCxnSpPr>
          <p:nvPr/>
        </p:nvCxnSpPr>
        <p:spPr bwMode="auto">
          <a:xfrm>
            <a:off x="277813" y="1736203"/>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78854" name="Text Placeholder 11"/>
          <p:cNvSpPr txBox="1">
            <a:spLocks/>
          </p:cNvSpPr>
          <p:nvPr/>
        </p:nvSpPr>
        <p:spPr bwMode="auto">
          <a:xfrm>
            <a:off x="277813" y="1396478"/>
            <a:ext cx="42227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Background </a:t>
            </a:r>
          </a:p>
          <a:p>
            <a:pPr eaLnBrk="1" hangingPunct="1">
              <a:spcBef>
                <a:spcPct val="0"/>
              </a:spcBef>
              <a:buClrTx/>
              <a:buFont typeface="Arial" charset="0"/>
              <a:buNone/>
            </a:pPr>
            <a:endParaRPr lang="en-US" altLang="en-US" sz="1500" dirty="0">
              <a:solidFill>
                <a:srgbClr val="409BCC"/>
              </a:solidFill>
            </a:endParaRPr>
          </a:p>
          <a:p>
            <a:pPr eaLnBrk="1" hangingPunct="1">
              <a:spcBef>
                <a:spcPct val="0"/>
              </a:spcBef>
              <a:buClrTx/>
              <a:buNone/>
            </a:pPr>
            <a:r>
              <a:rPr lang="en-US" altLang="en-US" sz="1100" dirty="0">
                <a:solidFill>
                  <a:srgbClr val="3C3939"/>
                </a:solidFill>
              </a:rPr>
              <a:t>For more than 25 years, neteffect technologies has gotten ahead by standing out. The company sets itself apart from its competition by turning the traditional approach to managed services on its head. </a:t>
            </a:r>
          </a:p>
        </p:txBody>
      </p:sp>
      <p:cxnSp>
        <p:nvCxnSpPr>
          <p:cNvPr id="78855" name="Straight Connector 15"/>
          <p:cNvCxnSpPr>
            <a:cxnSpLocks noChangeShapeType="1"/>
          </p:cNvCxnSpPr>
          <p:nvPr/>
        </p:nvCxnSpPr>
        <p:spPr bwMode="auto">
          <a:xfrm>
            <a:off x="276226" y="3325432"/>
            <a:ext cx="25177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78856" name="Text Placeholder 11"/>
          <p:cNvSpPr txBox="1">
            <a:spLocks/>
          </p:cNvSpPr>
          <p:nvPr/>
        </p:nvSpPr>
        <p:spPr bwMode="auto">
          <a:xfrm>
            <a:off x="276226" y="2985707"/>
            <a:ext cx="4224337" cy="160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Problem</a:t>
            </a:r>
          </a:p>
          <a:p>
            <a:pPr eaLnBrk="1" hangingPunct="1">
              <a:spcBef>
                <a:spcPct val="0"/>
              </a:spcBef>
              <a:buClrTx/>
              <a:buFont typeface="Arial" charset="0"/>
              <a:buNone/>
            </a:pPr>
            <a:endParaRPr lang="en-US" altLang="en-US" sz="1500" dirty="0">
              <a:solidFill>
                <a:srgbClr val="409BCC"/>
              </a:solidFill>
            </a:endParaRPr>
          </a:p>
          <a:p>
            <a:pPr eaLnBrk="1" hangingPunct="1">
              <a:spcBef>
                <a:spcPct val="0"/>
              </a:spcBef>
              <a:buClrTx/>
              <a:buNone/>
            </a:pPr>
            <a:r>
              <a:rPr lang="en-US" altLang="en-US" sz="1100" dirty="0">
                <a:solidFill>
                  <a:srgbClr val="3C3939"/>
                </a:solidFill>
              </a:rPr>
              <a:t>As neteffect grew, it needed an IT solution that could scale both performance and capacity for its internal applications and its external netCare cloud offering.</a:t>
            </a:r>
          </a:p>
        </p:txBody>
      </p:sp>
      <p:sp>
        <p:nvSpPr>
          <p:cNvPr id="78858" name="Text Placeholder 11"/>
          <p:cNvSpPr txBox="1">
            <a:spLocks/>
          </p:cNvSpPr>
          <p:nvPr/>
        </p:nvSpPr>
        <p:spPr bwMode="auto">
          <a:xfrm>
            <a:off x="4673658" y="1396478"/>
            <a:ext cx="4223261"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Business Benefits</a:t>
            </a:r>
          </a:p>
          <a:p>
            <a:pPr eaLnBrk="1" hangingPunct="1">
              <a:spcBef>
                <a:spcPct val="0"/>
              </a:spcBef>
              <a:buClrTx/>
              <a:buFont typeface="Arial" charset="0"/>
              <a:buNone/>
            </a:pPr>
            <a:endParaRPr lang="en-US" altLang="en-US" sz="1500" dirty="0">
              <a:solidFill>
                <a:srgbClr val="409BCC"/>
              </a:solidFill>
            </a:endParaRPr>
          </a:p>
          <a:p>
            <a:pPr eaLnBrk="1" hangingPunct="1">
              <a:spcBef>
                <a:spcPct val="0"/>
              </a:spcBef>
              <a:buClrTx/>
              <a:buNone/>
            </a:pPr>
            <a:r>
              <a:rPr lang="en-US" altLang="en-US" sz="1100" dirty="0">
                <a:solidFill>
                  <a:srgbClr val="3C3939"/>
                </a:solidFill>
              </a:rPr>
              <a:t>With FlexPod</a:t>
            </a:r>
            <a:r>
              <a:rPr lang="en-US" altLang="en-US" sz="1100" baseline="30000" dirty="0">
                <a:solidFill>
                  <a:schemeClr val="tx1"/>
                </a:solidFill>
                <a:latin typeface="Arial"/>
                <a:cs typeface="Arial"/>
              </a:rPr>
              <a:t>®</a:t>
            </a:r>
            <a:r>
              <a:rPr lang="en-US" altLang="en-US" sz="1100" dirty="0">
                <a:solidFill>
                  <a:srgbClr val="3C3939"/>
                </a:solidFill>
              </a:rPr>
              <a:t> with AFF, internal applications now run up to 10 times faster than they did before, boosting productivity and efficiency. Maintenance windows have shrunk from hours to minutes, so it takes fewer resources to migrate virtual machines and spin up new systems.</a:t>
            </a:r>
          </a:p>
        </p:txBody>
      </p:sp>
      <p:cxnSp>
        <p:nvCxnSpPr>
          <p:cNvPr id="54" name="Straight Connector 15"/>
          <p:cNvCxnSpPr>
            <a:cxnSpLocks noChangeShapeType="1"/>
          </p:cNvCxnSpPr>
          <p:nvPr/>
        </p:nvCxnSpPr>
        <p:spPr bwMode="auto">
          <a:xfrm>
            <a:off x="4673658" y="1736203"/>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55" name="Rectangle 54">
            <a:extLst>
              <a:ext uri="{FF2B5EF4-FFF2-40B4-BE49-F238E27FC236}">
                <a16:creationId xmlns:a16="http://schemas.microsoft.com/office/drawing/2014/main" id="{156E5CAF-6D6D-4D0B-ACFF-E1550791D961}"/>
              </a:ext>
            </a:extLst>
          </p:cNvPr>
          <p:cNvSpPr/>
          <p:nvPr/>
        </p:nvSpPr>
        <p:spPr bwMode="gray">
          <a:xfrm>
            <a:off x="4673658" y="2970872"/>
            <a:ext cx="4470342" cy="373062"/>
          </a:xfrm>
          <a:prstGeom prst="rect">
            <a:avLst/>
          </a:prstGeom>
          <a:solidFill>
            <a:srgbClr val="0B568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2" tIns="34295" rIns="68582" bIns="34295" anchor="ctr"/>
          <a:lstStyle/>
          <a:p>
            <a:pPr defTabSz="685806" eaLnBrk="1" hangingPunct="1">
              <a:buClr>
                <a:srgbClr val="84BD00"/>
              </a:buClr>
              <a:defRPr/>
            </a:pPr>
            <a:endParaRPr lang="en-US" sz="1100" dirty="0">
              <a:solidFill>
                <a:srgbClr val="000000"/>
              </a:solidFill>
            </a:endParaRPr>
          </a:p>
        </p:txBody>
      </p:sp>
      <p:sp>
        <p:nvSpPr>
          <p:cNvPr id="56" name="Rectangle 55">
            <a:extLst>
              <a:ext uri="{FF2B5EF4-FFF2-40B4-BE49-F238E27FC236}">
                <a16:creationId xmlns:a16="http://schemas.microsoft.com/office/drawing/2014/main" id="{E4A5B14B-BE91-4AD4-93F5-F43E5DF583AA}"/>
              </a:ext>
            </a:extLst>
          </p:cNvPr>
          <p:cNvSpPr/>
          <p:nvPr/>
        </p:nvSpPr>
        <p:spPr bwMode="gray">
          <a:xfrm>
            <a:off x="4673658" y="3343933"/>
            <a:ext cx="4470342" cy="1327817"/>
          </a:xfrm>
          <a:prstGeom prst="rect">
            <a:avLst/>
          </a:prstGeom>
          <a:solidFill>
            <a:srgbClr val="116AA0"/>
          </a:solidFill>
          <a:ln>
            <a:noFill/>
          </a:ln>
          <a:effectLst/>
        </p:spPr>
        <p:style>
          <a:lnRef idx="3">
            <a:schemeClr val="lt1"/>
          </a:lnRef>
          <a:fillRef idx="1">
            <a:schemeClr val="accent1"/>
          </a:fillRef>
          <a:effectRef idx="1">
            <a:schemeClr val="accent1"/>
          </a:effectRef>
          <a:fontRef idx="minor">
            <a:schemeClr val="lt1"/>
          </a:fontRef>
        </p:style>
        <p:txBody>
          <a:bodyPr lIns="68582" tIns="34295" rIns="68582" bIns="34295" anchor="ctr"/>
          <a:lstStyle/>
          <a:p>
            <a:pPr defTabSz="685806" eaLnBrk="1" hangingPunct="1">
              <a:buClr>
                <a:srgbClr val="84BD00"/>
              </a:buClr>
              <a:defRPr/>
            </a:pPr>
            <a:endParaRPr lang="en-US" sz="1100" dirty="0">
              <a:solidFill>
                <a:srgbClr val="FFFFFF"/>
              </a:solidFill>
            </a:endParaRPr>
          </a:p>
        </p:txBody>
      </p:sp>
      <p:sp>
        <p:nvSpPr>
          <p:cNvPr id="57" name="TextBox 6"/>
          <p:cNvSpPr txBox="1">
            <a:spLocks noChangeArrowheads="1"/>
          </p:cNvSpPr>
          <p:nvPr/>
        </p:nvSpPr>
        <p:spPr bwMode="auto">
          <a:xfrm>
            <a:off x="4784725" y="3007357"/>
            <a:ext cx="1662113" cy="300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eaLnBrk="1" hangingPunct="1"/>
            <a:r>
              <a:rPr lang="en-US" altLang="en-US" sz="1500" b="1" dirty="0">
                <a:solidFill>
                  <a:schemeClr val="bg1"/>
                </a:solidFill>
              </a:rPr>
              <a:t>Solution</a:t>
            </a:r>
          </a:p>
        </p:txBody>
      </p:sp>
      <p:sp>
        <p:nvSpPr>
          <p:cNvPr id="58" name="TextBox 7"/>
          <p:cNvSpPr txBox="1">
            <a:spLocks noChangeArrowheads="1"/>
          </p:cNvSpPr>
          <p:nvPr/>
        </p:nvSpPr>
        <p:spPr bwMode="auto">
          <a:xfrm>
            <a:off x="4784725" y="3510621"/>
            <a:ext cx="4112193" cy="53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eaLnBrk="1" hangingPunct="1"/>
            <a:r>
              <a:rPr lang="en-US" altLang="en-US" sz="1000" dirty="0">
                <a:solidFill>
                  <a:srgbClr val="FFFFFF"/>
                </a:solidFill>
              </a:rPr>
              <a:t>neteffect technologies implemented FlexPod</a:t>
            </a:r>
            <a:r>
              <a:rPr lang="en-US" altLang="en-US" sz="1000" baseline="30000" dirty="0">
                <a:solidFill>
                  <a:srgbClr val="FFFFFF"/>
                </a:solidFill>
              </a:rPr>
              <a:t>®</a:t>
            </a:r>
            <a:r>
              <a:rPr lang="en-US" altLang="en-US" sz="1000" dirty="0">
                <a:solidFill>
                  <a:srgbClr val="FFFFFF"/>
                </a:solidFill>
              </a:rPr>
              <a:t> Datacenter with All Flash FAS to boost performance for internal applications and expand its netCare cloud service.</a:t>
            </a:r>
          </a:p>
        </p:txBody>
      </p:sp>
    </p:spTree>
    <p:extLst>
      <p:ext uri="{BB962C8B-B14F-4D97-AF65-F5344CB8AC3E}">
        <p14:creationId xmlns:p14="http://schemas.microsoft.com/office/powerpoint/2010/main" val="424004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2E3CDE2-C2EB-447B-8A86-BD537EA48C74}"/>
              </a:ext>
            </a:extLst>
          </p:cNvPr>
          <p:cNvSpPr txBox="1">
            <a:spLocks/>
          </p:cNvSpPr>
          <p:nvPr/>
        </p:nvSpPr>
        <p:spPr bwMode="auto">
          <a:xfrm>
            <a:off x="4743613" y="1105685"/>
            <a:ext cx="4165541" cy="183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a:solidFill>
                  <a:srgbClr val="409BCC"/>
                </a:solidFill>
              </a:rPr>
              <a:t>Business Benefits</a:t>
            </a:r>
          </a:p>
          <a:p>
            <a:pPr defTabSz="914378" eaLnBrk="1" hangingPunct="1">
              <a:spcBef>
                <a:spcPct val="0"/>
              </a:spcBef>
              <a:buClrTx/>
              <a:buNone/>
              <a:defRPr/>
            </a:pPr>
            <a:endParaRPr lang="en-US" altLang="en-US" sz="1500">
              <a:solidFill>
                <a:srgbClr val="409BCC"/>
              </a:solidFill>
            </a:endParaRPr>
          </a:p>
          <a:p>
            <a:pPr marL="171446" indent="-171446" defTabSz="914378" eaLnBrk="1" hangingPunct="1">
              <a:spcBef>
                <a:spcPct val="0"/>
              </a:spcBef>
              <a:buClrTx/>
              <a:defRPr/>
            </a:pPr>
            <a:r>
              <a:rPr lang="en-US" sz="1100">
                <a:solidFill>
                  <a:srgbClr val="3C3939"/>
                </a:solidFill>
              </a:rPr>
              <a:t>Unlocks the power of data to accelerate investment innovation, minimize trading complexity, and keep pace with digital market opportunities</a:t>
            </a:r>
          </a:p>
          <a:p>
            <a:pPr marL="171446" indent="-171446" defTabSz="914378" eaLnBrk="1" hangingPunct="1">
              <a:spcBef>
                <a:spcPct val="0"/>
              </a:spcBef>
              <a:buClrTx/>
              <a:defRPr/>
            </a:pPr>
            <a:r>
              <a:rPr lang="en-US" sz="1100">
                <a:solidFill>
                  <a:srgbClr val="3C3939"/>
                </a:solidFill>
              </a:rPr>
              <a:t>Supports current and future workloads and simplifies infrastructure management</a:t>
            </a:r>
          </a:p>
          <a:p>
            <a:pPr marL="170974" indent="-170974" defTabSz="914378" eaLnBrk="1" hangingPunct="1">
              <a:spcBef>
                <a:spcPct val="0"/>
              </a:spcBef>
              <a:buClrTx/>
              <a:defRPr/>
            </a:pPr>
            <a:r>
              <a:rPr lang="en-US" sz="1088">
                <a:solidFill>
                  <a:srgbClr val="3C3939"/>
                </a:solidFill>
                <a:latin typeface="Arial"/>
                <a:cs typeface="Arial"/>
              </a:rPr>
              <a:t>Enables the exchange to handle the massive data throughput on the stock exchange efficiently, stably, and extremely quickly</a:t>
            </a:r>
          </a:p>
          <a:p>
            <a:pPr marL="170974" indent="-170974" defTabSz="914378" eaLnBrk="1" hangingPunct="1">
              <a:spcBef>
                <a:spcPct val="0"/>
              </a:spcBef>
              <a:buClrTx/>
              <a:defRPr/>
            </a:pPr>
            <a:r>
              <a:rPr lang="en-US" sz="1088">
                <a:solidFill>
                  <a:srgbClr val="3C3939"/>
                </a:solidFill>
                <a:latin typeface="Arial"/>
                <a:cs typeface="Arial"/>
              </a:rPr>
              <a:t>Saves money by using NetApp FAS for workloads that don’t demand all-flash performance</a:t>
            </a:r>
          </a:p>
          <a:p>
            <a:pPr marL="170974" indent="-170974" defTabSz="914378" eaLnBrk="1" hangingPunct="1">
              <a:spcBef>
                <a:spcPct val="0"/>
              </a:spcBef>
              <a:buClrTx/>
              <a:defRPr/>
            </a:pPr>
            <a:r>
              <a:rPr lang="en-US" sz="1088">
                <a:solidFill>
                  <a:srgbClr val="3C3939"/>
                </a:solidFill>
                <a:latin typeface="Arial"/>
                <a:cs typeface="Arial"/>
              </a:rPr>
              <a:t>Allows the exchange to focus on innovation for the future</a:t>
            </a:r>
            <a:endParaRPr lang="en-US" altLang="en-US" sz="1088">
              <a:solidFill>
                <a:srgbClr val="3C3939"/>
              </a:solidFill>
              <a:latin typeface="Arial"/>
              <a:cs typeface="Arial"/>
            </a:endParaRPr>
          </a:p>
        </p:txBody>
      </p:sp>
      <p:sp>
        <p:nvSpPr>
          <p:cNvPr id="5" name="Text Placeholder 11">
            <a:extLst>
              <a:ext uri="{FF2B5EF4-FFF2-40B4-BE49-F238E27FC236}">
                <a16:creationId xmlns:a16="http://schemas.microsoft.com/office/drawing/2014/main" id="{0D8BE6F1-8604-4350-AC6D-554A94E6A821}"/>
              </a:ext>
            </a:extLst>
          </p:cNvPr>
          <p:cNvSpPr txBox="1">
            <a:spLocks/>
          </p:cNvSpPr>
          <p:nvPr/>
        </p:nvSpPr>
        <p:spPr bwMode="auto">
          <a:xfrm>
            <a:off x="230187" y="1121096"/>
            <a:ext cx="4222750" cy="140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dirty="0">
                <a:solidFill>
                  <a:srgbClr val="409BCC"/>
                </a:solidFill>
              </a:rPr>
              <a:t>Background </a:t>
            </a:r>
          </a:p>
          <a:p>
            <a:pPr defTabSz="914378" eaLnBrk="1" hangingPunct="1">
              <a:spcBef>
                <a:spcPct val="0"/>
              </a:spcBef>
              <a:buClrTx/>
              <a:buNone/>
              <a:defRPr/>
            </a:pPr>
            <a:endParaRPr lang="en-US" altLang="en-US" sz="1500" dirty="0">
              <a:solidFill>
                <a:srgbClr val="409BCC"/>
              </a:solidFill>
            </a:endParaRPr>
          </a:p>
          <a:p>
            <a:pPr defTabSz="914378" eaLnBrk="1" hangingPunct="1">
              <a:spcBef>
                <a:spcPct val="0"/>
              </a:spcBef>
              <a:buClrTx/>
              <a:buNone/>
              <a:defRPr/>
            </a:pPr>
            <a:r>
              <a:rPr lang="en-US" sz="1100" dirty="0">
                <a:solidFill>
                  <a:srgbClr val="3C3939"/>
                </a:solidFill>
              </a:rPr>
              <a:t>German stock exchange </a:t>
            </a:r>
            <a:r>
              <a:rPr lang="en-US" sz="1100" dirty="0" err="1">
                <a:solidFill>
                  <a:srgbClr val="3C3939"/>
                </a:solidFill>
              </a:rPr>
              <a:t>Börse</a:t>
            </a:r>
            <a:r>
              <a:rPr lang="en-US" sz="1100" dirty="0">
                <a:solidFill>
                  <a:srgbClr val="3C3939"/>
                </a:solidFill>
              </a:rPr>
              <a:t> Stuttgart manages thousands of financial transactions per hour. Retail investors rely on this exchange for super-low-latency trading in more than 1.8 million financial products. They can also trade cryptocurrencies using the BISON app, which is powered by </a:t>
            </a:r>
            <a:r>
              <a:rPr lang="en-US" sz="1100" dirty="0" err="1">
                <a:solidFill>
                  <a:srgbClr val="3C3939"/>
                </a:solidFill>
              </a:rPr>
              <a:t>Börse</a:t>
            </a:r>
            <a:r>
              <a:rPr lang="en-US" sz="1100" dirty="0">
                <a:solidFill>
                  <a:srgbClr val="3C3939"/>
                </a:solidFill>
              </a:rPr>
              <a:t> Stuttgart Group.</a:t>
            </a:r>
            <a:endParaRPr lang="en-US" altLang="en-US" sz="1100" dirty="0">
              <a:solidFill>
                <a:srgbClr val="3C3939"/>
              </a:solidFill>
            </a:endParaRPr>
          </a:p>
        </p:txBody>
      </p:sp>
      <p:sp>
        <p:nvSpPr>
          <p:cNvPr id="6" name="Title 2">
            <a:extLst>
              <a:ext uri="{FF2B5EF4-FFF2-40B4-BE49-F238E27FC236}">
                <a16:creationId xmlns:a16="http://schemas.microsoft.com/office/drawing/2014/main" id="{48121F8B-38D0-49CF-8CCC-48B433E82B04}"/>
              </a:ext>
            </a:extLst>
          </p:cNvPr>
          <p:cNvSpPr txBox="1">
            <a:spLocks noChangeArrowheads="1"/>
          </p:cNvSpPr>
          <p:nvPr/>
        </p:nvSpPr>
        <p:spPr bwMode="auto">
          <a:xfrm>
            <a:off x="228601" y="199496"/>
            <a:ext cx="8534399" cy="5357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06" algn="l" rtl="0" fontAlgn="base">
              <a:spcBef>
                <a:spcPct val="0"/>
              </a:spcBef>
              <a:spcAft>
                <a:spcPct val="0"/>
              </a:spcAft>
              <a:defRPr sz="3000" b="1">
                <a:solidFill>
                  <a:schemeClr val="tx1"/>
                </a:solidFill>
                <a:latin typeface="Arial" charset="0"/>
              </a:defRPr>
            </a:lvl6pPr>
            <a:lvl7pPr marL="914220" algn="l" rtl="0" fontAlgn="base">
              <a:spcBef>
                <a:spcPct val="0"/>
              </a:spcBef>
              <a:spcAft>
                <a:spcPct val="0"/>
              </a:spcAft>
              <a:defRPr sz="3000" b="1">
                <a:solidFill>
                  <a:schemeClr val="tx1"/>
                </a:solidFill>
                <a:latin typeface="Arial" charset="0"/>
              </a:defRPr>
            </a:lvl7pPr>
            <a:lvl8pPr marL="1371328" algn="l" rtl="0" fontAlgn="base">
              <a:spcBef>
                <a:spcPct val="0"/>
              </a:spcBef>
              <a:spcAft>
                <a:spcPct val="0"/>
              </a:spcAft>
              <a:defRPr sz="3000" b="1">
                <a:solidFill>
                  <a:schemeClr val="tx1"/>
                </a:solidFill>
                <a:latin typeface="Arial" charset="0"/>
              </a:defRPr>
            </a:lvl8pPr>
            <a:lvl9pPr marL="1828439" algn="l" rtl="0" fontAlgn="base">
              <a:spcBef>
                <a:spcPct val="0"/>
              </a:spcBef>
              <a:spcAft>
                <a:spcPct val="0"/>
              </a:spcAft>
              <a:defRPr sz="3000" b="1">
                <a:solidFill>
                  <a:schemeClr val="tx1"/>
                </a:solidFill>
                <a:latin typeface="Arial" charset="0"/>
              </a:defRPr>
            </a:lvl9pPr>
          </a:lstStyle>
          <a:p>
            <a:r>
              <a:rPr lang="en-US" altLang="en-US" kern="0"/>
              <a:t>Customer case study: </a:t>
            </a:r>
            <a:r>
              <a:rPr lang="en-US" kern="0"/>
              <a:t>Börse Stuttgart</a:t>
            </a:r>
            <a:endParaRPr lang="en-US" altLang="en-US" kern="0"/>
          </a:p>
        </p:txBody>
      </p:sp>
      <p:sp>
        <p:nvSpPr>
          <p:cNvPr id="7" name="Text Placeholder 11">
            <a:extLst>
              <a:ext uri="{FF2B5EF4-FFF2-40B4-BE49-F238E27FC236}">
                <a16:creationId xmlns:a16="http://schemas.microsoft.com/office/drawing/2014/main" id="{7DD1F9F4-3319-4195-AAC1-CA8109378B43}"/>
              </a:ext>
            </a:extLst>
          </p:cNvPr>
          <p:cNvSpPr txBox="1">
            <a:spLocks/>
          </p:cNvSpPr>
          <p:nvPr/>
        </p:nvSpPr>
        <p:spPr>
          <a:xfrm>
            <a:off x="199739" y="622581"/>
            <a:ext cx="8609754" cy="301756"/>
          </a:xfrm>
          <a:prstGeom prst="rect">
            <a:avLst/>
          </a:prstGeom>
        </p:spPr>
        <p:txBody>
          <a:bodyPr/>
          <a:lstStyle>
            <a:lvl1pPr marL="206952" indent="-206952"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22" indent="-245042" algn="l" rtl="0" eaLnBrk="0" fontAlgn="base" hangingPunct="0">
              <a:spcBef>
                <a:spcPts val="624"/>
              </a:spcBef>
              <a:spcAft>
                <a:spcPct val="0"/>
              </a:spcAft>
              <a:buClrTx/>
              <a:buFont typeface="Arial"/>
              <a:buChar char="•"/>
              <a:defRPr sz="1600">
                <a:solidFill>
                  <a:srgbClr val="000000"/>
                </a:solidFill>
                <a:latin typeface="+mn-lt"/>
              </a:defRPr>
            </a:lvl2pPr>
            <a:lvl3pPr marL="835478" indent="-197431" algn="l" rtl="0" eaLnBrk="0" fontAlgn="base" hangingPunct="0">
              <a:spcBef>
                <a:spcPts val="576"/>
              </a:spcBef>
              <a:spcAft>
                <a:spcPct val="0"/>
              </a:spcAft>
              <a:buClrTx/>
              <a:buFont typeface="Arial"/>
              <a:buChar char="•"/>
              <a:defRPr sz="1600">
                <a:solidFill>
                  <a:srgbClr val="000000"/>
                </a:solidFill>
                <a:latin typeface="+mn-lt"/>
              </a:defRPr>
            </a:lvl3pPr>
            <a:lvl4pPr marL="1144977" indent="-216476" algn="l" rtl="0" eaLnBrk="0" fontAlgn="base" hangingPunct="0">
              <a:spcBef>
                <a:spcPts val="480"/>
              </a:spcBef>
              <a:spcAft>
                <a:spcPct val="0"/>
              </a:spcAft>
              <a:buClrTx/>
              <a:buFont typeface="Arial"/>
              <a:buChar char="•"/>
              <a:defRPr sz="1600">
                <a:solidFill>
                  <a:srgbClr val="000000"/>
                </a:solidFill>
                <a:latin typeface="+mn-lt"/>
              </a:defRPr>
            </a:lvl4pPr>
            <a:lvl5pPr marL="1413213" indent="-175213" algn="l" rtl="0" eaLnBrk="0" fontAlgn="base" hangingPunct="0">
              <a:spcBef>
                <a:spcPts val="480"/>
              </a:spcBef>
              <a:spcAft>
                <a:spcPct val="0"/>
              </a:spcAft>
              <a:buClrTx/>
              <a:buFont typeface="Arial"/>
              <a:buChar char="•"/>
              <a:defRPr sz="1600">
                <a:solidFill>
                  <a:srgbClr val="000000"/>
                </a:solidFill>
                <a:latin typeface="+mn-lt"/>
              </a:defRPr>
            </a:lvl5pPr>
            <a:lvl6pPr marL="1961758" indent="-266651" algn="l" rtl="0" fontAlgn="base">
              <a:spcBef>
                <a:spcPct val="20000"/>
              </a:spcBef>
              <a:spcAft>
                <a:spcPct val="0"/>
              </a:spcAft>
              <a:buFont typeface="Wingdings 2" pitchFamily="18" charset="2"/>
              <a:buChar char="¡"/>
              <a:defRPr sz="2000">
                <a:solidFill>
                  <a:schemeClr val="tx1"/>
                </a:solidFill>
                <a:latin typeface="+mn-lt"/>
              </a:defRPr>
            </a:lvl6pPr>
            <a:lvl7pPr marL="2418869" indent="-266651" algn="l" rtl="0" fontAlgn="base">
              <a:spcBef>
                <a:spcPct val="20000"/>
              </a:spcBef>
              <a:spcAft>
                <a:spcPct val="0"/>
              </a:spcAft>
              <a:buFont typeface="Wingdings 2" pitchFamily="18" charset="2"/>
              <a:buChar char="¡"/>
              <a:defRPr sz="2000">
                <a:solidFill>
                  <a:schemeClr val="tx1"/>
                </a:solidFill>
                <a:latin typeface="+mn-lt"/>
              </a:defRPr>
            </a:lvl7pPr>
            <a:lvl8pPr marL="2875974" indent="-266651" algn="l" rtl="0" fontAlgn="base">
              <a:spcBef>
                <a:spcPct val="20000"/>
              </a:spcBef>
              <a:spcAft>
                <a:spcPct val="0"/>
              </a:spcAft>
              <a:buFont typeface="Wingdings 2" pitchFamily="18" charset="2"/>
              <a:buChar char="¡"/>
              <a:defRPr sz="2000">
                <a:solidFill>
                  <a:schemeClr val="tx1"/>
                </a:solidFill>
                <a:latin typeface="+mn-lt"/>
              </a:defRPr>
            </a:lvl8pPr>
            <a:lvl9pPr marL="3333086" indent="-266651" algn="l" rtl="0" fontAlgn="base">
              <a:spcBef>
                <a:spcPct val="20000"/>
              </a:spcBef>
              <a:spcAft>
                <a:spcPct val="0"/>
              </a:spcAft>
              <a:buFont typeface="Wingdings 2" pitchFamily="18" charset="2"/>
              <a:buChar char="¡"/>
              <a:defRPr sz="2000">
                <a:solidFill>
                  <a:schemeClr val="tx1"/>
                </a:solidFill>
                <a:latin typeface="+mn-lt"/>
              </a:defRPr>
            </a:lvl9pPr>
          </a:lstStyle>
          <a:p>
            <a:pPr marL="0" indent="0">
              <a:buNone/>
            </a:pPr>
            <a:r>
              <a:rPr lang="en-US" b="1" kern="0" dirty="0">
                <a:solidFill>
                  <a:schemeClr val="tx2"/>
                </a:solidFill>
              </a:rPr>
              <a:t>FlexPod for Private Cloud: focus on innovations</a:t>
            </a:r>
          </a:p>
        </p:txBody>
      </p:sp>
      <p:cxnSp>
        <p:nvCxnSpPr>
          <p:cNvPr id="8" name="Straight Connector 15">
            <a:extLst>
              <a:ext uri="{FF2B5EF4-FFF2-40B4-BE49-F238E27FC236}">
                <a16:creationId xmlns:a16="http://schemas.microsoft.com/office/drawing/2014/main" id="{B7A2AD36-CDEB-4944-940C-F0D2C2ED6A34}"/>
              </a:ext>
            </a:extLst>
          </p:cNvPr>
          <p:cNvCxnSpPr>
            <a:cxnSpLocks noChangeShapeType="1"/>
          </p:cNvCxnSpPr>
          <p:nvPr/>
        </p:nvCxnSpPr>
        <p:spPr bwMode="auto">
          <a:xfrm>
            <a:off x="230187" y="1437699"/>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cxnSp>
        <p:nvCxnSpPr>
          <p:cNvPr id="9" name="Straight Connector 15">
            <a:extLst>
              <a:ext uri="{FF2B5EF4-FFF2-40B4-BE49-F238E27FC236}">
                <a16:creationId xmlns:a16="http://schemas.microsoft.com/office/drawing/2014/main" id="{F3404C87-5897-41A5-A10B-447E4DEF8240}"/>
              </a:ext>
            </a:extLst>
          </p:cNvPr>
          <p:cNvCxnSpPr>
            <a:cxnSpLocks noChangeShapeType="1"/>
          </p:cNvCxnSpPr>
          <p:nvPr/>
        </p:nvCxnSpPr>
        <p:spPr bwMode="auto">
          <a:xfrm>
            <a:off x="228601" y="3325432"/>
            <a:ext cx="25177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0" name="Text Placeholder 11">
            <a:extLst>
              <a:ext uri="{FF2B5EF4-FFF2-40B4-BE49-F238E27FC236}">
                <a16:creationId xmlns:a16="http://schemas.microsoft.com/office/drawing/2014/main" id="{90668287-F4F2-4663-A664-67DD6B947442}"/>
              </a:ext>
            </a:extLst>
          </p:cNvPr>
          <p:cNvSpPr txBox="1">
            <a:spLocks/>
          </p:cNvSpPr>
          <p:nvPr/>
        </p:nvSpPr>
        <p:spPr bwMode="auto">
          <a:xfrm>
            <a:off x="228601" y="2985708"/>
            <a:ext cx="4224337" cy="160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a:solidFill>
                  <a:srgbClr val="409BCC"/>
                </a:solidFill>
              </a:rPr>
              <a:t>Problem</a:t>
            </a:r>
          </a:p>
          <a:p>
            <a:pPr defTabSz="914378" eaLnBrk="1" hangingPunct="1">
              <a:spcBef>
                <a:spcPct val="0"/>
              </a:spcBef>
              <a:buClrTx/>
              <a:buNone/>
              <a:defRPr/>
            </a:pPr>
            <a:endParaRPr lang="en-US" altLang="en-US" sz="1500">
              <a:solidFill>
                <a:srgbClr val="409BCC"/>
              </a:solidFill>
            </a:endParaRPr>
          </a:p>
          <a:p>
            <a:pPr defTabSz="914378" eaLnBrk="1" hangingPunct="1">
              <a:spcBef>
                <a:spcPct val="0"/>
              </a:spcBef>
              <a:buClrTx/>
              <a:buNone/>
              <a:defRPr/>
            </a:pPr>
            <a:r>
              <a:rPr lang="en-US" sz="1100">
                <a:solidFill>
                  <a:srgbClr val="3C3939"/>
                </a:solidFill>
              </a:rPr>
              <a:t>Increasing trade volumes and inherent marketplace volatility, which can trigger unforeseen spikes in capacity requirements, requires modern technology for the exchange’s infrastructure to enhance its ability to scale.</a:t>
            </a:r>
            <a:endParaRPr lang="en-US" altLang="en-US" sz="1100">
              <a:solidFill>
                <a:srgbClr val="3C3939"/>
              </a:solidFill>
            </a:endParaRPr>
          </a:p>
        </p:txBody>
      </p:sp>
      <p:cxnSp>
        <p:nvCxnSpPr>
          <p:cNvPr id="11" name="Straight Connector 15">
            <a:extLst>
              <a:ext uri="{FF2B5EF4-FFF2-40B4-BE49-F238E27FC236}">
                <a16:creationId xmlns:a16="http://schemas.microsoft.com/office/drawing/2014/main" id="{7C8D66B6-052F-4D28-ABAD-72D78CE8BA11}"/>
              </a:ext>
            </a:extLst>
          </p:cNvPr>
          <p:cNvCxnSpPr>
            <a:cxnSpLocks noChangeShapeType="1"/>
          </p:cNvCxnSpPr>
          <p:nvPr/>
        </p:nvCxnSpPr>
        <p:spPr bwMode="auto">
          <a:xfrm>
            <a:off x="4673658" y="1437699"/>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4" name="Rectangle 13">
            <a:extLst>
              <a:ext uri="{FF2B5EF4-FFF2-40B4-BE49-F238E27FC236}">
                <a16:creationId xmlns:a16="http://schemas.microsoft.com/office/drawing/2014/main" id="{B2EF4554-ACE1-45DC-9006-5586DCA98049}"/>
              </a:ext>
            </a:extLst>
          </p:cNvPr>
          <p:cNvSpPr/>
          <p:nvPr/>
        </p:nvSpPr>
        <p:spPr bwMode="gray">
          <a:xfrm>
            <a:off x="4673658" y="3683340"/>
            <a:ext cx="4470342" cy="991240"/>
          </a:xfrm>
          <a:prstGeom prst="rect">
            <a:avLst/>
          </a:prstGeom>
          <a:solidFill>
            <a:srgbClr val="116AA0"/>
          </a:solidFill>
          <a:ln>
            <a:noFill/>
          </a:ln>
          <a:effectLst/>
        </p:spPr>
        <p:style>
          <a:lnRef idx="3">
            <a:schemeClr val="lt1"/>
          </a:lnRef>
          <a:fillRef idx="1">
            <a:schemeClr val="accent1"/>
          </a:fillRef>
          <a:effectRef idx="1">
            <a:schemeClr val="accent1"/>
          </a:effectRef>
          <a:fontRef idx="minor">
            <a:schemeClr val="lt1"/>
          </a:fontRef>
        </p:style>
        <p:txBody>
          <a:bodyPr lIns="68582" tIns="34295" rIns="68582" bIns="34295" anchor="ctr"/>
          <a:lstStyle/>
          <a:p>
            <a:pPr defTabSz="685789" eaLnBrk="1" hangingPunct="1">
              <a:buClr>
                <a:srgbClr val="84BD00"/>
              </a:buClr>
              <a:defRPr/>
            </a:pPr>
            <a:endParaRPr lang="en-US" sz="1100">
              <a:solidFill>
                <a:srgbClr val="FFFFFF"/>
              </a:solidFill>
              <a:latin typeface="Arial"/>
            </a:endParaRPr>
          </a:p>
        </p:txBody>
      </p:sp>
      <p:sp>
        <p:nvSpPr>
          <p:cNvPr id="15" name="Rectangle 14">
            <a:extLst>
              <a:ext uri="{FF2B5EF4-FFF2-40B4-BE49-F238E27FC236}">
                <a16:creationId xmlns:a16="http://schemas.microsoft.com/office/drawing/2014/main" id="{F950B805-ABD9-4D48-B6F4-9533772DC16F}"/>
              </a:ext>
            </a:extLst>
          </p:cNvPr>
          <p:cNvSpPr/>
          <p:nvPr/>
        </p:nvSpPr>
        <p:spPr bwMode="gray">
          <a:xfrm>
            <a:off x="4673658" y="3346762"/>
            <a:ext cx="4470342" cy="373062"/>
          </a:xfrm>
          <a:prstGeom prst="rect">
            <a:avLst/>
          </a:prstGeom>
          <a:solidFill>
            <a:srgbClr val="0B568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2" tIns="34295" rIns="68582" bIns="34295" anchor="ctr"/>
          <a:lstStyle/>
          <a:p>
            <a:pPr defTabSz="685789" eaLnBrk="1" hangingPunct="1">
              <a:buClr>
                <a:srgbClr val="84BD00"/>
              </a:buClr>
              <a:defRPr/>
            </a:pPr>
            <a:endParaRPr lang="en-US" sz="1100">
              <a:solidFill>
                <a:srgbClr val="000000"/>
              </a:solidFill>
              <a:latin typeface="Arial"/>
            </a:endParaRPr>
          </a:p>
        </p:txBody>
      </p:sp>
      <p:sp>
        <p:nvSpPr>
          <p:cNvPr id="16" name="TextBox 6">
            <a:extLst>
              <a:ext uri="{FF2B5EF4-FFF2-40B4-BE49-F238E27FC236}">
                <a16:creationId xmlns:a16="http://schemas.microsoft.com/office/drawing/2014/main" id="{30EBF03C-15B6-4D25-BBE7-E7D51FA2209F}"/>
              </a:ext>
            </a:extLst>
          </p:cNvPr>
          <p:cNvSpPr txBox="1">
            <a:spLocks noChangeArrowheads="1"/>
          </p:cNvSpPr>
          <p:nvPr/>
        </p:nvSpPr>
        <p:spPr bwMode="auto">
          <a:xfrm>
            <a:off x="4784726" y="3383247"/>
            <a:ext cx="1662113" cy="300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defTabSz="342892" eaLnBrk="1" hangingPunct="1">
              <a:defRPr/>
            </a:pPr>
            <a:r>
              <a:rPr lang="en-US" altLang="en-US" sz="1500" b="1">
                <a:solidFill>
                  <a:srgbClr val="FFFFFF"/>
                </a:solidFill>
              </a:rPr>
              <a:t>Solution</a:t>
            </a:r>
          </a:p>
        </p:txBody>
      </p:sp>
      <p:sp>
        <p:nvSpPr>
          <p:cNvPr id="17" name="TextBox 7">
            <a:extLst>
              <a:ext uri="{FF2B5EF4-FFF2-40B4-BE49-F238E27FC236}">
                <a16:creationId xmlns:a16="http://schemas.microsoft.com/office/drawing/2014/main" id="{F8860E1E-55C7-4CF5-A2BB-003E84166473}"/>
              </a:ext>
            </a:extLst>
          </p:cNvPr>
          <p:cNvSpPr txBox="1">
            <a:spLocks noChangeArrowheads="1"/>
          </p:cNvSpPr>
          <p:nvPr/>
        </p:nvSpPr>
        <p:spPr bwMode="auto">
          <a:xfrm>
            <a:off x="4784725" y="3709137"/>
            <a:ext cx="4264025" cy="877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defTabSz="342892" eaLnBrk="1" hangingPunct="1">
              <a:defRPr/>
            </a:pPr>
            <a:r>
              <a:rPr lang="en-US" altLang="en-US" sz="1050" dirty="0">
                <a:solidFill>
                  <a:srgbClr val="FFFFFF"/>
                </a:solidFill>
              </a:rPr>
              <a:t>The FlexPod® converged infrastructure platform forms the centerpiece of </a:t>
            </a:r>
            <a:r>
              <a:rPr lang="en-US" altLang="en-US" sz="1050" dirty="0" err="1">
                <a:solidFill>
                  <a:srgbClr val="FFFFFF"/>
                </a:solidFill>
              </a:rPr>
              <a:t>Börse</a:t>
            </a:r>
            <a:r>
              <a:rPr lang="en-US" altLang="en-US" sz="1050" dirty="0">
                <a:solidFill>
                  <a:srgbClr val="FFFFFF"/>
                </a:solidFill>
              </a:rPr>
              <a:t> Stuttgart’s private cloud to keep the exchange’s dynamic environment running smoothly by supporting all areas of the exchange, from virtual desktops on the trading floor to virtualized applications that generate billions of calculations per day.</a:t>
            </a:r>
          </a:p>
        </p:txBody>
      </p:sp>
    </p:spTree>
    <p:extLst>
      <p:ext uri="{BB962C8B-B14F-4D97-AF65-F5344CB8AC3E}">
        <p14:creationId xmlns:p14="http://schemas.microsoft.com/office/powerpoint/2010/main" val="480017766"/>
      </p:ext>
    </p:extLst>
  </p:cSld>
  <p:clrMapOvr>
    <a:masterClrMapping/>
  </p:clrMapOvr>
  <p:transition spd="slow">
    <p:circl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2E3CDE2-C2EB-447B-8A86-BD537EA48C74}"/>
              </a:ext>
            </a:extLst>
          </p:cNvPr>
          <p:cNvSpPr txBox="1">
            <a:spLocks/>
          </p:cNvSpPr>
          <p:nvPr/>
        </p:nvSpPr>
        <p:spPr bwMode="auto">
          <a:xfrm>
            <a:off x="4743613" y="1105685"/>
            <a:ext cx="4165541" cy="183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dirty="0">
                <a:solidFill>
                  <a:srgbClr val="409BCC"/>
                </a:solidFill>
              </a:rPr>
              <a:t>Business Benefits</a:t>
            </a:r>
          </a:p>
          <a:p>
            <a:pPr defTabSz="914378" eaLnBrk="1" hangingPunct="1">
              <a:spcBef>
                <a:spcPct val="0"/>
              </a:spcBef>
              <a:buClrTx/>
              <a:buNone/>
              <a:defRPr/>
            </a:pPr>
            <a:endParaRPr lang="en-US" altLang="en-US" sz="1500" dirty="0">
              <a:solidFill>
                <a:srgbClr val="409BCC"/>
              </a:solidFill>
            </a:endParaRPr>
          </a:p>
          <a:p>
            <a:pPr marL="170974" indent="-170974" defTabSz="914378" eaLnBrk="1" hangingPunct="1">
              <a:spcBef>
                <a:spcPct val="0"/>
              </a:spcBef>
              <a:buClrTx/>
              <a:defRPr/>
            </a:pPr>
            <a:r>
              <a:rPr lang="en-US" sz="1088" dirty="0">
                <a:solidFill>
                  <a:srgbClr val="3C3939"/>
                </a:solidFill>
                <a:latin typeface="Arial"/>
                <a:cs typeface="Arial"/>
              </a:rPr>
              <a:t>Allows the exchange to focus on innovation for the future</a:t>
            </a:r>
          </a:p>
          <a:p>
            <a:pPr marL="170974" indent="-170974" defTabSz="914378" eaLnBrk="1" hangingPunct="1">
              <a:spcBef>
                <a:spcPct val="0"/>
              </a:spcBef>
              <a:buClrTx/>
              <a:defRPr/>
            </a:pPr>
            <a:r>
              <a:rPr lang="en-US" sz="1100" dirty="0"/>
              <a:t>Easy to deploy hosts and do maintenance </a:t>
            </a:r>
          </a:p>
          <a:p>
            <a:pPr marL="170974" indent="-170974" defTabSz="914378" eaLnBrk="1" hangingPunct="1">
              <a:spcBef>
                <a:spcPct val="0"/>
              </a:spcBef>
              <a:buClrTx/>
              <a:defRPr/>
            </a:pPr>
            <a:r>
              <a:rPr lang="en-US" sz="1100" dirty="0"/>
              <a:t>Transformed our performance and efficiency, so we can focus on end-user services</a:t>
            </a:r>
          </a:p>
          <a:p>
            <a:pPr marL="170974" indent="-170974" defTabSz="914378" eaLnBrk="1" hangingPunct="1">
              <a:spcBef>
                <a:spcPct val="0"/>
              </a:spcBef>
              <a:buClrTx/>
              <a:defRPr/>
            </a:pPr>
            <a:r>
              <a:rPr lang="en-US" sz="1100" dirty="0"/>
              <a:t>Realize performance and availability improvements, while delivering a 75% reduction in data center footprint</a:t>
            </a:r>
          </a:p>
          <a:p>
            <a:pPr marL="170974" indent="-170974" defTabSz="914378" eaLnBrk="1" hangingPunct="1">
              <a:spcBef>
                <a:spcPct val="0"/>
              </a:spcBef>
              <a:buClrTx/>
              <a:defRPr/>
            </a:pPr>
            <a:r>
              <a:rPr lang="en-US" sz="1100" dirty="0"/>
              <a:t>Non-disruptively deploy, shift, and swap infrastructure and upgrade the network fabric</a:t>
            </a:r>
          </a:p>
          <a:p>
            <a:pPr marL="170974" indent="-170974" defTabSz="914378" eaLnBrk="1" hangingPunct="1">
              <a:spcBef>
                <a:spcPct val="0"/>
              </a:spcBef>
              <a:buClrTx/>
              <a:defRPr/>
            </a:pPr>
            <a:endParaRPr lang="en-US" sz="1100" dirty="0"/>
          </a:p>
          <a:p>
            <a:pPr marL="170974" indent="-170974" defTabSz="914378" eaLnBrk="1" hangingPunct="1">
              <a:spcBef>
                <a:spcPct val="0"/>
              </a:spcBef>
              <a:buClrTx/>
              <a:defRPr/>
            </a:pPr>
            <a:endParaRPr lang="en-US" sz="1100" dirty="0"/>
          </a:p>
          <a:p>
            <a:pPr marL="170974" indent="-170974" defTabSz="914378" eaLnBrk="1" hangingPunct="1">
              <a:spcBef>
                <a:spcPct val="0"/>
              </a:spcBef>
              <a:buClrTx/>
              <a:defRPr/>
            </a:pPr>
            <a:endParaRPr lang="en-US" altLang="en-US" sz="1088" dirty="0">
              <a:solidFill>
                <a:srgbClr val="3C3939"/>
              </a:solidFill>
              <a:latin typeface="Arial"/>
              <a:cs typeface="Arial"/>
            </a:endParaRPr>
          </a:p>
        </p:txBody>
      </p:sp>
      <p:sp>
        <p:nvSpPr>
          <p:cNvPr id="5" name="Text Placeholder 11">
            <a:extLst>
              <a:ext uri="{FF2B5EF4-FFF2-40B4-BE49-F238E27FC236}">
                <a16:creationId xmlns:a16="http://schemas.microsoft.com/office/drawing/2014/main" id="{0D8BE6F1-8604-4350-AC6D-554A94E6A821}"/>
              </a:ext>
            </a:extLst>
          </p:cNvPr>
          <p:cNvSpPr txBox="1">
            <a:spLocks/>
          </p:cNvSpPr>
          <p:nvPr/>
        </p:nvSpPr>
        <p:spPr bwMode="auto">
          <a:xfrm>
            <a:off x="230187" y="1140974"/>
            <a:ext cx="4222750" cy="140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dirty="0">
                <a:solidFill>
                  <a:srgbClr val="409BCC"/>
                </a:solidFill>
              </a:rPr>
              <a:t>Background </a:t>
            </a:r>
          </a:p>
          <a:p>
            <a:pPr defTabSz="914378" eaLnBrk="1" hangingPunct="1">
              <a:spcBef>
                <a:spcPct val="0"/>
              </a:spcBef>
              <a:buClrTx/>
              <a:buNone/>
              <a:defRPr/>
            </a:pPr>
            <a:endParaRPr lang="en-US" altLang="en-US" sz="1500" dirty="0">
              <a:solidFill>
                <a:srgbClr val="409BCC"/>
              </a:solidFill>
            </a:endParaRPr>
          </a:p>
          <a:p>
            <a:pPr defTabSz="914378" eaLnBrk="1" hangingPunct="1">
              <a:spcBef>
                <a:spcPct val="0"/>
              </a:spcBef>
              <a:buClrTx/>
              <a:buNone/>
              <a:defRPr/>
            </a:pPr>
            <a:r>
              <a:rPr lang="en-US" altLang="en-US" sz="1100" dirty="0">
                <a:solidFill>
                  <a:srgbClr val="3C3939"/>
                </a:solidFill>
                <a:latin typeface="Arial"/>
                <a:cs typeface="Arial"/>
              </a:rPr>
              <a:t>Tasmanian electricity transmission and distribution company TasNetworks needed to transition diverse applications into a single platform, following the merger of two separate electricity supply organizations in 2014.</a:t>
            </a:r>
          </a:p>
        </p:txBody>
      </p:sp>
      <p:sp>
        <p:nvSpPr>
          <p:cNvPr id="6" name="Title 2">
            <a:extLst>
              <a:ext uri="{FF2B5EF4-FFF2-40B4-BE49-F238E27FC236}">
                <a16:creationId xmlns:a16="http://schemas.microsoft.com/office/drawing/2014/main" id="{48121F8B-38D0-49CF-8CCC-48B433E82B04}"/>
              </a:ext>
            </a:extLst>
          </p:cNvPr>
          <p:cNvSpPr txBox="1">
            <a:spLocks noChangeArrowheads="1"/>
          </p:cNvSpPr>
          <p:nvPr/>
        </p:nvSpPr>
        <p:spPr bwMode="auto">
          <a:xfrm>
            <a:off x="228601" y="110045"/>
            <a:ext cx="8534399" cy="5357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06" algn="l" rtl="0" fontAlgn="base">
              <a:spcBef>
                <a:spcPct val="0"/>
              </a:spcBef>
              <a:spcAft>
                <a:spcPct val="0"/>
              </a:spcAft>
              <a:defRPr sz="3000" b="1">
                <a:solidFill>
                  <a:schemeClr val="tx1"/>
                </a:solidFill>
                <a:latin typeface="Arial" charset="0"/>
              </a:defRPr>
            </a:lvl6pPr>
            <a:lvl7pPr marL="914220" algn="l" rtl="0" fontAlgn="base">
              <a:spcBef>
                <a:spcPct val="0"/>
              </a:spcBef>
              <a:spcAft>
                <a:spcPct val="0"/>
              </a:spcAft>
              <a:defRPr sz="3000" b="1">
                <a:solidFill>
                  <a:schemeClr val="tx1"/>
                </a:solidFill>
                <a:latin typeface="Arial" charset="0"/>
              </a:defRPr>
            </a:lvl7pPr>
            <a:lvl8pPr marL="1371328" algn="l" rtl="0" fontAlgn="base">
              <a:spcBef>
                <a:spcPct val="0"/>
              </a:spcBef>
              <a:spcAft>
                <a:spcPct val="0"/>
              </a:spcAft>
              <a:defRPr sz="3000" b="1">
                <a:solidFill>
                  <a:schemeClr val="tx1"/>
                </a:solidFill>
                <a:latin typeface="Arial" charset="0"/>
              </a:defRPr>
            </a:lvl8pPr>
            <a:lvl9pPr marL="1828439" algn="l" rtl="0" fontAlgn="base">
              <a:spcBef>
                <a:spcPct val="0"/>
              </a:spcBef>
              <a:spcAft>
                <a:spcPct val="0"/>
              </a:spcAft>
              <a:defRPr sz="3000" b="1">
                <a:solidFill>
                  <a:schemeClr val="tx1"/>
                </a:solidFill>
                <a:latin typeface="Arial" charset="0"/>
              </a:defRPr>
            </a:lvl9pPr>
          </a:lstStyle>
          <a:p>
            <a:r>
              <a:rPr lang="en-US" altLang="en-US" kern="0" dirty="0"/>
              <a:t>Customer case study: TAS Networks</a:t>
            </a:r>
          </a:p>
        </p:txBody>
      </p:sp>
      <p:sp>
        <p:nvSpPr>
          <p:cNvPr id="7" name="Text Placeholder 11">
            <a:extLst>
              <a:ext uri="{FF2B5EF4-FFF2-40B4-BE49-F238E27FC236}">
                <a16:creationId xmlns:a16="http://schemas.microsoft.com/office/drawing/2014/main" id="{7DD1F9F4-3319-4195-AAC1-CA8109378B43}"/>
              </a:ext>
            </a:extLst>
          </p:cNvPr>
          <p:cNvSpPr txBox="1">
            <a:spLocks/>
          </p:cNvSpPr>
          <p:nvPr/>
        </p:nvSpPr>
        <p:spPr>
          <a:xfrm>
            <a:off x="199739" y="513252"/>
            <a:ext cx="8609754" cy="301756"/>
          </a:xfrm>
          <a:prstGeom prst="rect">
            <a:avLst/>
          </a:prstGeom>
        </p:spPr>
        <p:txBody>
          <a:bodyPr/>
          <a:lstStyle>
            <a:lvl1pPr marL="206952" indent="-206952" algn="l" rtl="0" eaLnBrk="0" fontAlgn="base" hangingPunct="0">
              <a:spcBef>
                <a:spcPts val="676"/>
              </a:spcBef>
              <a:spcAft>
                <a:spcPct val="0"/>
              </a:spcAft>
              <a:buClrTx/>
              <a:buFont typeface="Arial"/>
              <a:buChar char="•"/>
              <a:defRPr sz="1800">
                <a:solidFill>
                  <a:srgbClr val="000000"/>
                </a:solidFill>
                <a:latin typeface="+mn-lt"/>
                <a:ea typeface="+mn-ea"/>
                <a:cs typeface="+mn-cs"/>
              </a:defRPr>
            </a:lvl1pPr>
            <a:lvl2pPr marL="545022" indent="-245042" algn="l" rtl="0" eaLnBrk="0" fontAlgn="base" hangingPunct="0">
              <a:spcBef>
                <a:spcPts val="624"/>
              </a:spcBef>
              <a:spcAft>
                <a:spcPct val="0"/>
              </a:spcAft>
              <a:buClrTx/>
              <a:buFont typeface="Arial"/>
              <a:buChar char="•"/>
              <a:defRPr sz="1600">
                <a:solidFill>
                  <a:srgbClr val="000000"/>
                </a:solidFill>
                <a:latin typeface="+mn-lt"/>
              </a:defRPr>
            </a:lvl2pPr>
            <a:lvl3pPr marL="835478" indent="-197431" algn="l" rtl="0" eaLnBrk="0" fontAlgn="base" hangingPunct="0">
              <a:spcBef>
                <a:spcPts val="576"/>
              </a:spcBef>
              <a:spcAft>
                <a:spcPct val="0"/>
              </a:spcAft>
              <a:buClrTx/>
              <a:buFont typeface="Arial"/>
              <a:buChar char="•"/>
              <a:defRPr sz="1600">
                <a:solidFill>
                  <a:srgbClr val="000000"/>
                </a:solidFill>
                <a:latin typeface="+mn-lt"/>
              </a:defRPr>
            </a:lvl3pPr>
            <a:lvl4pPr marL="1144977" indent="-216476" algn="l" rtl="0" eaLnBrk="0" fontAlgn="base" hangingPunct="0">
              <a:spcBef>
                <a:spcPts val="480"/>
              </a:spcBef>
              <a:spcAft>
                <a:spcPct val="0"/>
              </a:spcAft>
              <a:buClrTx/>
              <a:buFont typeface="Arial"/>
              <a:buChar char="•"/>
              <a:defRPr sz="1600">
                <a:solidFill>
                  <a:srgbClr val="000000"/>
                </a:solidFill>
                <a:latin typeface="+mn-lt"/>
              </a:defRPr>
            </a:lvl4pPr>
            <a:lvl5pPr marL="1413213" indent="-175213" algn="l" rtl="0" eaLnBrk="0" fontAlgn="base" hangingPunct="0">
              <a:spcBef>
                <a:spcPts val="480"/>
              </a:spcBef>
              <a:spcAft>
                <a:spcPct val="0"/>
              </a:spcAft>
              <a:buClrTx/>
              <a:buFont typeface="Arial"/>
              <a:buChar char="•"/>
              <a:defRPr sz="1600">
                <a:solidFill>
                  <a:srgbClr val="000000"/>
                </a:solidFill>
                <a:latin typeface="+mn-lt"/>
              </a:defRPr>
            </a:lvl5pPr>
            <a:lvl6pPr marL="1961758" indent="-266651" algn="l" rtl="0" fontAlgn="base">
              <a:spcBef>
                <a:spcPct val="20000"/>
              </a:spcBef>
              <a:spcAft>
                <a:spcPct val="0"/>
              </a:spcAft>
              <a:buFont typeface="Wingdings 2" pitchFamily="18" charset="2"/>
              <a:buChar char="¡"/>
              <a:defRPr sz="2000">
                <a:solidFill>
                  <a:schemeClr val="tx1"/>
                </a:solidFill>
                <a:latin typeface="+mn-lt"/>
              </a:defRPr>
            </a:lvl6pPr>
            <a:lvl7pPr marL="2418869" indent="-266651" algn="l" rtl="0" fontAlgn="base">
              <a:spcBef>
                <a:spcPct val="20000"/>
              </a:spcBef>
              <a:spcAft>
                <a:spcPct val="0"/>
              </a:spcAft>
              <a:buFont typeface="Wingdings 2" pitchFamily="18" charset="2"/>
              <a:buChar char="¡"/>
              <a:defRPr sz="2000">
                <a:solidFill>
                  <a:schemeClr val="tx1"/>
                </a:solidFill>
                <a:latin typeface="+mn-lt"/>
              </a:defRPr>
            </a:lvl7pPr>
            <a:lvl8pPr marL="2875974" indent="-266651" algn="l" rtl="0" fontAlgn="base">
              <a:spcBef>
                <a:spcPct val="20000"/>
              </a:spcBef>
              <a:spcAft>
                <a:spcPct val="0"/>
              </a:spcAft>
              <a:buFont typeface="Wingdings 2" pitchFamily="18" charset="2"/>
              <a:buChar char="¡"/>
              <a:defRPr sz="2000">
                <a:solidFill>
                  <a:schemeClr val="tx1"/>
                </a:solidFill>
                <a:latin typeface="+mn-lt"/>
              </a:defRPr>
            </a:lvl8pPr>
            <a:lvl9pPr marL="3333086" indent="-266651" algn="l" rtl="0" fontAlgn="base">
              <a:spcBef>
                <a:spcPct val="20000"/>
              </a:spcBef>
              <a:spcAft>
                <a:spcPct val="0"/>
              </a:spcAft>
              <a:buFont typeface="Wingdings 2" pitchFamily="18" charset="2"/>
              <a:buChar char="¡"/>
              <a:defRPr sz="2000">
                <a:solidFill>
                  <a:schemeClr val="tx1"/>
                </a:solidFill>
                <a:latin typeface="+mn-lt"/>
              </a:defRPr>
            </a:lvl9pPr>
          </a:lstStyle>
          <a:p>
            <a:pPr marL="0" indent="0">
              <a:buNone/>
            </a:pPr>
            <a:r>
              <a:rPr lang="en-US" b="1" kern="0" dirty="0">
                <a:solidFill>
                  <a:schemeClr val="tx2"/>
                </a:solidFill>
              </a:rPr>
              <a:t>FlexPod running SAP HANA helps </a:t>
            </a:r>
            <a:r>
              <a:rPr lang="en-US" b="1" kern="0" dirty="0" err="1">
                <a:solidFill>
                  <a:schemeClr val="tx2"/>
                </a:solidFill>
              </a:rPr>
              <a:t>TasNetworks</a:t>
            </a:r>
            <a:r>
              <a:rPr lang="en-US" b="1" kern="0" dirty="0">
                <a:solidFill>
                  <a:schemeClr val="tx2"/>
                </a:solidFill>
              </a:rPr>
              <a:t> deliver unparalleled performance</a:t>
            </a:r>
          </a:p>
        </p:txBody>
      </p:sp>
      <p:cxnSp>
        <p:nvCxnSpPr>
          <p:cNvPr id="8" name="Straight Connector 15">
            <a:extLst>
              <a:ext uri="{FF2B5EF4-FFF2-40B4-BE49-F238E27FC236}">
                <a16:creationId xmlns:a16="http://schemas.microsoft.com/office/drawing/2014/main" id="{B7A2AD36-CDEB-4944-940C-F0D2C2ED6A34}"/>
              </a:ext>
            </a:extLst>
          </p:cNvPr>
          <p:cNvCxnSpPr>
            <a:cxnSpLocks noChangeShapeType="1"/>
          </p:cNvCxnSpPr>
          <p:nvPr/>
        </p:nvCxnSpPr>
        <p:spPr bwMode="auto">
          <a:xfrm>
            <a:off x="230187" y="1417821"/>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cxnSp>
        <p:nvCxnSpPr>
          <p:cNvPr id="9" name="Straight Connector 15">
            <a:extLst>
              <a:ext uri="{FF2B5EF4-FFF2-40B4-BE49-F238E27FC236}">
                <a16:creationId xmlns:a16="http://schemas.microsoft.com/office/drawing/2014/main" id="{F3404C87-5897-41A5-A10B-447E4DEF8240}"/>
              </a:ext>
            </a:extLst>
          </p:cNvPr>
          <p:cNvCxnSpPr>
            <a:cxnSpLocks noChangeShapeType="1"/>
          </p:cNvCxnSpPr>
          <p:nvPr/>
        </p:nvCxnSpPr>
        <p:spPr bwMode="auto">
          <a:xfrm>
            <a:off x="228601" y="3325432"/>
            <a:ext cx="25177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0" name="Text Placeholder 11">
            <a:extLst>
              <a:ext uri="{FF2B5EF4-FFF2-40B4-BE49-F238E27FC236}">
                <a16:creationId xmlns:a16="http://schemas.microsoft.com/office/drawing/2014/main" id="{90668287-F4F2-4663-A664-67DD6B947442}"/>
              </a:ext>
            </a:extLst>
          </p:cNvPr>
          <p:cNvSpPr txBox="1">
            <a:spLocks/>
          </p:cNvSpPr>
          <p:nvPr/>
        </p:nvSpPr>
        <p:spPr bwMode="auto">
          <a:xfrm>
            <a:off x="228601" y="2985708"/>
            <a:ext cx="4224337" cy="160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defTabSz="914378" eaLnBrk="1" hangingPunct="1">
              <a:spcBef>
                <a:spcPct val="0"/>
              </a:spcBef>
              <a:buClrTx/>
              <a:buNone/>
              <a:defRPr/>
            </a:pPr>
            <a:r>
              <a:rPr lang="en-US" altLang="en-US" sz="1500" b="1" dirty="0">
                <a:solidFill>
                  <a:srgbClr val="409BCC"/>
                </a:solidFill>
              </a:rPr>
              <a:t>Problem</a:t>
            </a:r>
          </a:p>
          <a:p>
            <a:pPr defTabSz="914378" eaLnBrk="1" hangingPunct="1">
              <a:spcBef>
                <a:spcPct val="0"/>
              </a:spcBef>
              <a:buClrTx/>
              <a:buNone/>
              <a:defRPr/>
            </a:pPr>
            <a:endParaRPr lang="en-US" altLang="en-US" sz="1500" dirty="0">
              <a:solidFill>
                <a:srgbClr val="409BCC"/>
              </a:solidFill>
            </a:endParaRPr>
          </a:p>
          <a:p>
            <a:pPr defTabSz="914378" eaLnBrk="1" hangingPunct="1">
              <a:spcBef>
                <a:spcPct val="0"/>
              </a:spcBef>
              <a:buClrTx/>
              <a:buNone/>
              <a:defRPr/>
            </a:pPr>
            <a:r>
              <a:rPr lang="en-US" sz="1100" dirty="0">
                <a:latin typeface="Arial"/>
                <a:cs typeface="Arial"/>
              </a:rPr>
              <a:t>When the Tasmanian government created TasNetworks in 2014, it merged two separate electricity supply networks. This merger presented the challenge of integrating numerous legacy platforms from each company, including payroll, HR, and operational technology</a:t>
            </a:r>
            <a:endParaRPr lang="en-US" altLang="en-US" sz="1100" dirty="0">
              <a:solidFill>
                <a:srgbClr val="3C3939"/>
              </a:solidFill>
              <a:latin typeface="Arial"/>
              <a:cs typeface="Arial"/>
            </a:endParaRPr>
          </a:p>
        </p:txBody>
      </p:sp>
      <p:cxnSp>
        <p:nvCxnSpPr>
          <p:cNvPr id="11" name="Straight Connector 15">
            <a:extLst>
              <a:ext uri="{FF2B5EF4-FFF2-40B4-BE49-F238E27FC236}">
                <a16:creationId xmlns:a16="http://schemas.microsoft.com/office/drawing/2014/main" id="{7C8D66B6-052F-4D28-ABAD-72D78CE8BA11}"/>
              </a:ext>
            </a:extLst>
          </p:cNvPr>
          <p:cNvCxnSpPr>
            <a:cxnSpLocks noChangeShapeType="1"/>
          </p:cNvCxnSpPr>
          <p:nvPr/>
        </p:nvCxnSpPr>
        <p:spPr bwMode="auto">
          <a:xfrm>
            <a:off x="4673658" y="1437699"/>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14" name="Rectangle 13">
            <a:extLst>
              <a:ext uri="{FF2B5EF4-FFF2-40B4-BE49-F238E27FC236}">
                <a16:creationId xmlns:a16="http://schemas.microsoft.com/office/drawing/2014/main" id="{B2EF4554-ACE1-45DC-9006-5586DCA98049}"/>
              </a:ext>
            </a:extLst>
          </p:cNvPr>
          <p:cNvSpPr/>
          <p:nvPr/>
        </p:nvSpPr>
        <p:spPr bwMode="gray">
          <a:xfrm>
            <a:off x="4673658" y="3623706"/>
            <a:ext cx="4470342" cy="1460160"/>
          </a:xfrm>
          <a:prstGeom prst="rect">
            <a:avLst/>
          </a:prstGeom>
          <a:solidFill>
            <a:srgbClr val="116AA0"/>
          </a:solidFill>
          <a:ln>
            <a:noFill/>
          </a:ln>
          <a:effectLst/>
        </p:spPr>
        <p:style>
          <a:lnRef idx="3">
            <a:schemeClr val="lt1"/>
          </a:lnRef>
          <a:fillRef idx="1">
            <a:schemeClr val="accent1"/>
          </a:fillRef>
          <a:effectRef idx="1">
            <a:schemeClr val="accent1"/>
          </a:effectRef>
          <a:fontRef idx="minor">
            <a:schemeClr val="lt1"/>
          </a:fontRef>
        </p:style>
        <p:txBody>
          <a:bodyPr lIns="68582" tIns="34295" rIns="68582" bIns="34295" anchor="ctr"/>
          <a:lstStyle/>
          <a:p>
            <a:pPr defTabSz="685789" eaLnBrk="1" hangingPunct="1">
              <a:buClr>
                <a:srgbClr val="84BD00"/>
              </a:buClr>
              <a:defRPr/>
            </a:pPr>
            <a:endParaRPr lang="en-US" sz="1100">
              <a:solidFill>
                <a:srgbClr val="FFFFFF"/>
              </a:solidFill>
              <a:latin typeface="Arial"/>
            </a:endParaRPr>
          </a:p>
        </p:txBody>
      </p:sp>
      <p:sp>
        <p:nvSpPr>
          <p:cNvPr id="15" name="Rectangle 14">
            <a:extLst>
              <a:ext uri="{FF2B5EF4-FFF2-40B4-BE49-F238E27FC236}">
                <a16:creationId xmlns:a16="http://schemas.microsoft.com/office/drawing/2014/main" id="{F950B805-ABD9-4D48-B6F4-9533772DC16F}"/>
              </a:ext>
            </a:extLst>
          </p:cNvPr>
          <p:cNvSpPr/>
          <p:nvPr/>
        </p:nvSpPr>
        <p:spPr bwMode="gray">
          <a:xfrm>
            <a:off x="4673658" y="3287128"/>
            <a:ext cx="4470342" cy="373062"/>
          </a:xfrm>
          <a:prstGeom prst="rect">
            <a:avLst/>
          </a:prstGeom>
          <a:solidFill>
            <a:srgbClr val="0B568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2" tIns="34295" rIns="68582" bIns="34295" anchor="ctr"/>
          <a:lstStyle/>
          <a:p>
            <a:pPr defTabSz="685789" eaLnBrk="1" hangingPunct="1">
              <a:buClr>
                <a:srgbClr val="84BD00"/>
              </a:buClr>
              <a:defRPr/>
            </a:pPr>
            <a:endParaRPr lang="en-US" sz="1100">
              <a:solidFill>
                <a:srgbClr val="000000"/>
              </a:solidFill>
              <a:latin typeface="Arial"/>
            </a:endParaRPr>
          </a:p>
        </p:txBody>
      </p:sp>
      <p:sp>
        <p:nvSpPr>
          <p:cNvPr id="16" name="TextBox 6">
            <a:extLst>
              <a:ext uri="{FF2B5EF4-FFF2-40B4-BE49-F238E27FC236}">
                <a16:creationId xmlns:a16="http://schemas.microsoft.com/office/drawing/2014/main" id="{30EBF03C-15B6-4D25-BBE7-E7D51FA2209F}"/>
              </a:ext>
            </a:extLst>
          </p:cNvPr>
          <p:cNvSpPr txBox="1">
            <a:spLocks noChangeArrowheads="1"/>
          </p:cNvSpPr>
          <p:nvPr/>
        </p:nvSpPr>
        <p:spPr bwMode="auto">
          <a:xfrm>
            <a:off x="4784726" y="3323613"/>
            <a:ext cx="1662113" cy="300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defTabSz="342892" eaLnBrk="1" hangingPunct="1">
              <a:defRPr/>
            </a:pPr>
            <a:r>
              <a:rPr lang="en-US" altLang="en-US" sz="1500" b="1">
                <a:solidFill>
                  <a:srgbClr val="FFFFFF"/>
                </a:solidFill>
              </a:rPr>
              <a:t>Solution</a:t>
            </a:r>
          </a:p>
        </p:txBody>
      </p:sp>
      <p:sp>
        <p:nvSpPr>
          <p:cNvPr id="17" name="TextBox 7">
            <a:extLst>
              <a:ext uri="{FF2B5EF4-FFF2-40B4-BE49-F238E27FC236}">
                <a16:creationId xmlns:a16="http://schemas.microsoft.com/office/drawing/2014/main" id="{F8860E1E-55C7-4CF5-A2BB-003E84166473}"/>
              </a:ext>
            </a:extLst>
          </p:cNvPr>
          <p:cNvSpPr txBox="1">
            <a:spLocks noChangeArrowheads="1"/>
          </p:cNvSpPr>
          <p:nvPr/>
        </p:nvSpPr>
        <p:spPr bwMode="auto">
          <a:xfrm>
            <a:off x="4673659" y="3660190"/>
            <a:ext cx="4470342" cy="1351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2" tIns="34295" rIns="68582" bIns="34295" anchor="t">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defTabSz="342892" eaLnBrk="1" hangingPunct="1">
              <a:defRPr/>
            </a:pPr>
            <a:r>
              <a:rPr lang="en-US" altLang="en-US" sz="1050" dirty="0">
                <a:solidFill>
                  <a:srgbClr val="FFFFFF"/>
                </a:solidFill>
                <a:latin typeface="Arial"/>
                <a:cs typeface="Arial"/>
              </a:rPr>
              <a:t>To create the powerful platform they needed, TasNetworks selected FlexPod from NetApp and Cisco, which includes NetApp all-flash</a:t>
            </a:r>
          </a:p>
          <a:p>
            <a:pPr defTabSz="342892" eaLnBrk="1" hangingPunct="1">
              <a:defRPr/>
            </a:pPr>
            <a:r>
              <a:rPr lang="en-US" altLang="en-US" sz="1050" dirty="0">
                <a:solidFill>
                  <a:srgbClr val="FFFFFF"/>
                </a:solidFill>
              </a:rPr>
              <a:t>storage arrays, Cisco networking, and the Cisco Unified Computing</a:t>
            </a:r>
          </a:p>
          <a:p>
            <a:pPr defTabSz="342892" eaLnBrk="1" hangingPunct="1">
              <a:defRPr/>
            </a:pPr>
            <a:r>
              <a:rPr lang="en-US" altLang="en-US" sz="1050" dirty="0">
                <a:solidFill>
                  <a:srgbClr val="FFFFFF"/>
                </a:solidFill>
                <a:latin typeface="Arial"/>
                <a:cs typeface="Arial"/>
              </a:rPr>
              <a:t>System in a single deployment. They integrated this deployment by using Commvault Complete™ Backup &amp; Recovery. By setting up a 100% virtualized environment, TasNetworks can scale services by augmenting the appropriate compute, storage, or network capacity within a single pod.</a:t>
            </a:r>
          </a:p>
        </p:txBody>
      </p:sp>
    </p:spTree>
    <p:extLst>
      <p:ext uri="{BB962C8B-B14F-4D97-AF65-F5344CB8AC3E}">
        <p14:creationId xmlns:p14="http://schemas.microsoft.com/office/powerpoint/2010/main" val="4090266732"/>
      </p:ext>
    </p:extLst>
  </p:cSld>
  <p:clrMapOvr>
    <a:masterClrMapping/>
  </p:clrMapOvr>
  <p:transition spd="slow">
    <p:circl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2"/>
          <p:cNvSpPr>
            <a:spLocks noGrp="1" noChangeArrowheads="1"/>
          </p:cNvSpPr>
          <p:nvPr>
            <p:ph type="ctrTitle"/>
          </p:nvPr>
        </p:nvSpPr>
        <p:spPr>
          <a:xfrm>
            <a:off x="49213" y="182563"/>
            <a:ext cx="7580312" cy="438150"/>
          </a:xfrm>
        </p:spPr>
        <p:txBody>
          <a:bodyPr/>
          <a:lstStyle/>
          <a:p>
            <a:r>
              <a:rPr lang="en-US" altLang="en-US" dirty="0"/>
              <a:t>Customer case study: </a:t>
            </a:r>
            <a:r>
              <a:rPr lang="en-US" altLang="en-US" sz="2000" dirty="0"/>
              <a:t>Baylor College of Medicine</a:t>
            </a:r>
          </a:p>
        </p:txBody>
      </p:sp>
      <p:sp>
        <p:nvSpPr>
          <p:cNvPr id="12" name="Text Placeholder 11">
            <a:extLst>
              <a:ext uri="{FF2B5EF4-FFF2-40B4-BE49-F238E27FC236}">
                <a16:creationId xmlns:a16="http://schemas.microsoft.com/office/drawing/2014/main" id="{10613FE0-EFD4-4A53-95EC-057DEC9BEA7B}"/>
              </a:ext>
            </a:extLst>
          </p:cNvPr>
          <p:cNvSpPr>
            <a:spLocks noGrp="1"/>
          </p:cNvSpPr>
          <p:nvPr>
            <p:ph type="body" sz="quarter" idx="10"/>
          </p:nvPr>
        </p:nvSpPr>
        <p:spPr>
          <a:xfrm>
            <a:off x="277813" y="801688"/>
            <a:ext cx="4506912" cy="490537"/>
          </a:xfrm>
        </p:spPr>
        <p:txBody>
          <a:bodyPr/>
          <a:lstStyle/>
          <a:p>
            <a:pPr marL="0" indent="0" eaLnBrk="1" hangingPunct="1">
              <a:spcBef>
                <a:spcPct val="0"/>
              </a:spcBef>
              <a:buClr>
                <a:srgbClr val="83AC3E"/>
              </a:buClr>
              <a:buFont typeface="Arial" charset="0"/>
              <a:buNone/>
              <a:defRPr/>
            </a:pPr>
            <a:endParaRPr lang="en-US" sz="1100" kern="1200" dirty="0">
              <a:solidFill>
                <a:schemeClr val="tx2">
                  <a:lumMod val="50000"/>
                  <a:lumOff val="50000"/>
                </a:schemeClr>
              </a:solidFill>
            </a:endParaRPr>
          </a:p>
          <a:p>
            <a:pPr marL="0" indent="0">
              <a:buFont typeface="Arial" charset="0"/>
              <a:buNone/>
              <a:defRPr/>
            </a:pPr>
            <a:endParaRPr lang="en-US" dirty="0">
              <a:solidFill>
                <a:schemeClr val="tx2">
                  <a:lumMod val="50000"/>
                  <a:lumOff val="50000"/>
                </a:schemeClr>
              </a:solidFill>
            </a:endParaRPr>
          </a:p>
        </p:txBody>
      </p:sp>
      <p:cxnSp>
        <p:nvCxnSpPr>
          <p:cNvPr id="78853" name="Straight Connector 15"/>
          <p:cNvCxnSpPr>
            <a:cxnSpLocks noChangeShapeType="1"/>
          </p:cNvCxnSpPr>
          <p:nvPr/>
        </p:nvCxnSpPr>
        <p:spPr bwMode="auto">
          <a:xfrm>
            <a:off x="277813" y="1736203"/>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78854" name="Text Placeholder 11"/>
          <p:cNvSpPr txBox="1">
            <a:spLocks/>
          </p:cNvSpPr>
          <p:nvPr/>
        </p:nvSpPr>
        <p:spPr bwMode="auto">
          <a:xfrm>
            <a:off x="277813" y="1396478"/>
            <a:ext cx="4222750" cy="140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Background </a:t>
            </a:r>
          </a:p>
          <a:p>
            <a:pPr eaLnBrk="1" hangingPunct="1">
              <a:spcBef>
                <a:spcPct val="0"/>
              </a:spcBef>
              <a:buClrTx/>
              <a:buFont typeface="Arial" charset="0"/>
              <a:buNone/>
            </a:pPr>
            <a:endParaRPr lang="en-US" altLang="en-US" sz="1500" dirty="0">
              <a:solidFill>
                <a:srgbClr val="409BCC"/>
              </a:solidFill>
            </a:endParaRPr>
          </a:p>
          <a:p>
            <a:pPr eaLnBrk="1" hangingPunct="1">
              <a:spcBef>
                <a:spcPct val="0"/>
              </a:spcBef>
              <a:buClrTx/>
              <a:buNone/>
            </a:pPr>
            <a:r>
              <a:rPr lang="en-US" altLang="en-US" sz="1100" dirty="0">
                <a:solidFill>
                  <a:srgbClr val="3C3939"/>
                </a:solidFill>
              </a:rPr>
              <a:t>Baylor College of Medicine (Baylor) is helping to solve the most critical health problems of our time. Located in Houston’s Texas </a:t>
            </a:r>
          </a:p>
          <a:p>
            <a:pPr eaLnBrk="1" hangingPunct="1">
              <a:spcBef>
                <a:spcPct val="0"/>
              </a:spcBef>
              <a:buClrTx/>
              <a:buNone/>
            </a:pPr>
            <a:r>
              <a:rPr lang="en-US" altLang="en-US" sz="1100" dirty="0">
                <a:solidFill>
                  <a:srgbClr val="3C3939"/>
                </a:solidFill>
              </a:rPr>
              <a:t>Medical Center, the world’s largest medical complex, the researchers at Baylor tackle the complex questions of cancer, pediatric AIDS, aging, and much more.</a:t>
            </a:r>
          </a:p>
        </p:txBody>
      </p:sp>
      <p:cxnSp>
        <p:nvCxnSpPr>
          <p:cNvPr id="78855" name="Straight Connector 15"/>
          <p:cNvCxnSpPr>
            <a:cxnSpLocks noChangeShapeType="1"/>
          </p:cNvCxnSpPr>
          <p:nvPr/>
        </p:nvCxnSpPr>
        <p:spPr bwMode="auto">
          <a:xfrm>
            <a:off x="276226" y="3325432"/>
            <a:ext cx="2517775"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78856" name="Text Placeholder 11"/>
          <p:cNvSpPr txBox="1">
            <a:spLocks/>
          </p:cNvSpPr>
          <p:nvPr/>
        </p:nvSpPr>
        <p:spPr bwMode="auto">
          <a:xfrm>
            <a:off x="276226" y="2985707"/>
            <a:ext cx="4224337" cy="160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Problem</a:t>
            </a:r>
          </a:p>
          <a:p>
            <a:pPr eaLnBrk="1" hangingPunct="1">
              <a:spcBef>
                <a:spcPct val="0"/>
              </a:spcBef>
              <a:buClrTx/>
              <a:buFont typeface="Arial" charset="0"/>
              <a:buNone/>
            </a:pPr>
            <a:endParaRPr lang="en-US" altLang="en-US" sz="1500" dirty="0">
              <a:solidFill>
                <a:srgbClr val="409BCC"/>
              </a:solidFill>
            </a:endParaRPr>
          </a:p>
          <a:p>
            <a:pPr eaLnBrk="1" hangingPunct="1">
              <a:spcBef>
                <a:spcPct val="0"/>
              </a:spcBef>
              <a:buClrTx/>
              <a:buNone/>
            </a:pPr>
            <a:r>
              <a:rPr lang="en-US" altLang="en-US" sz="1100" dirty="0">
                <a:solidFill>
                  <a:srgbClr val="3C3939"/>
                </a:solidFill>
              </a:rPr>
              <a:t>Enhance medical research with on-demand self-service IT.</a:t>
            </a:r>
          </a:p>
          <a:p>
            <a:pPr eaLnBrk="1" hangingPunct="1">
              <a:spcBef>
                <a:spcPct val="0"/>
              </a:spcBef>
              <a:buClrTx/>
              <a:buNone/>
            </a:pPr>
            <a:endParaRPr lang="en-US" altLang="en-US" sz="1100" dirty="0">
              <a:solidFill>
                <a:srgbClr val="3C3939"/>
              </a:solidFill>
            </a:endParaRPr>
          </a:p>
          <a:p>
            <a:pPr eaLnBrk="1" hangingPunct="1">
              <a:spcBef>
                <a:spcPct val="0"/>
              </a:spcBef>
              <a:buClrTx/>
              <a:buNone/>
            </a:pPr>
            <a:r>
              <a:rPr lang="en-US" altLang="en-US" sz="1100" dirty="0">
                <a:solidFill>
                  <a:srgbClr val="3C3939"/>
                </a:solidFill>
              </a:rPr>
              <a:t>To conduct even more groundbreaking research and publish results faster, Baylor must enable its faculty and students to concentrate on their research without distractions.</a:t>
            </a:r>
          </a:p>
        </p:txBody>
      </p:sp>
      <p:sp>
        <p:nvSpPr>
          <p:cNvPr id="78858" name="Text Placeholder 11"/>
          <p:cNvSpPr txBox="1">
            <a:spLocks/>
          </p:cNvSpPr>
          <p:nvPr/>
        </p:nvSpPr>
        <p:spPr bwMode="auto">
          <a:xfrm>
            <a:off x="4673659" y="1396477"/>
            <a:ext cx="3860742" cy="183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75"/>
              </a:spcBef>
              <a:buClr>
                <a:srgbClr val="83AC3E"/>
              </a:buClr>
              <a:buFont typeface="Arial" charset="0"/>
              <a:buChar char="•"/>
              <a:defRPr>
                <a:solidFill>
                  <a:srgbClr val="000000"/>
                </a:solidFill>
                <a:latin typeface="Arial" charset="0"/>
              </a:defRPr>
            </a:lvl1pPr>
            <a:lvl2pPr marL="635000" indent="-334963">
              <a:spcBef>
                <a:spcPts val="625"/>
              </a:spcBef>
              <a:buClr>
                <a:schemeClr val="tx1"/>
              </a:buClr>
              <a:buFont typeface="Lucida Grande" charset="0"/>
              <a:buChar char="-"/>
              <a:defRPr sz="1600">
                <a:solidFill>
                  <a:srgbClr val="000000"/>
                </a:solidFill>
                <a:latin typeface="Arial" charset="0"/>
              </a:defRPr>
            </a:lvl2pPr>
            <a:lvl3pPr marL="925513" indent="-287338">
              <a:spcBef>
                <a:spcPts val="575"/>
              </a:spcBef>
              <a:buClr>
                <a:srgbClr val="83AC3E"/>
              </a:buClr>
              <a:buFont typeface="Arial" charset="0"/>
              <a:buChar char="•"/>
              <a:defRPr sz="1600">
                <a:solidFill>
                  <a:srgbClr val="000000"/>
                </a:solidFill>
                <a:latin typeface="Arial" charset="0"/>
              </a:defRPr>
            </a:lvl3pPr>
            <a:lvl4pPr marL="1235075" indent="-306388">
              <a:spcBef>
                <a:spcPts val="475"/>
              </a:spcBef>
              <a:buClr>
                <a:schemeClr val="tx1"/>
              </a:buClr>
              <a:buFont typeface="Lucida Grande" charset="0"/>
              <a:buChar char="-"/>
              <a:defRPr sz="1600">
                <a:solidFill>
                  <a:srgbClr val="000000"/>
                </a:solidFill>
                <a:latin typeface="Arial" charset="0"/>
              </a:defRPr>
            </a:lvl4pPr>
            <a:lvl5pPr marL="1503363" indent="-265113">
              <a:spcBef>
                <a:spcPts val="475"/>
              </a:spcBef>
              <a:buClr>
                <a:srgbClr val="83AC3E"/>
              </a:buClr>
              <a:buFont typeface="Arial" charset="0"/>
              <a:buChar char="•"/>
              <a:defRPr sz="1600">
                <a:solidFill>
                  <a:srgbClr val="000000"/>
                </a:solidFill>
                <a:latin typeface="Arial" charset="0"/>
              </a:defRPr>
            </a:lvl5pPr>
            <a:lvl6pPr marL="19605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6pPr>
            <a:lvl7pPr marL="24177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7pPr>
            <a:lvl8pPr marL="28749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8pPr>
            <a:lvl9pPr marL="3332163" indent="-265113" eaLnBrk="0" fontAlgn="base" hangingPunct="0">
              <a:spcBef>
                <a:spcPts val="475"/>
              </a:spcBef>
              <a:spcAft>
                <a:spcPct val="0"/>
              </a:spcAft>
              <a:buClr>
                <a:srgbClr val="83AC3E"/>
              </a:buClr>
              <a:buFont typeface="Arial" charset="0"/>
              <a:buChar char="•"/>
              <a:defRPr sz="1600">
                <a:solidFill>
                  <a:srgbClr val="000000"/>
                </a:solidFill>
                <a:latin typeface="Arial" charset="0"/>
              </a:defRPr>
            </a:lvl9pPr>
          </a:lstStyle>
          <a:p>
            <a:pPr eaLnBrk="1" hangingPunct="1">
              <a:spcBef>
                <a:spcPct val="0"/>
              </a:spcBef>
              <a:buClrTx/>
              <a:buNone/>
            </a:pPr>
            <a:r>
              <a:rPr lang="en-US" altLang="en-US" sz="1500" b="1" dirty="0">
                <a:solidFill>
                  <a:srgbClr val="409BCC"/>
                </a:solidFill>
              </a:rPr>
              <a:t>Business Benefits</a:t>
            </a:r>
          </a:p>
          <a:p>
            <a:pPr eaLnBrk="1" hangingPunct="1">
              <a:spcBef>
                <a:spcPct val="0"/>
              </a:spcBef>
              <a:buClrTx/>
              <a:buFont typeface="Arial" charset="0"/>
              <a:buNone/>
            </a:pPr>
            <a:endParaRPr lang="en-US" altLang="en-US" sz="1500" dirty="0">
              <a:solidFill>
                <a:srgbClr val="409BCC"/>
              </a:solidFill>
            </a:endParaRPr>
          </a:p>
          <a:p>
            <a:pPr marL="171450" indent="-171450" eaLnBrk="1" hangingPunct="1">
              <a:spcBef>
                <a:spcPct val="0"/>
              </a:spcBef>
              <a:buClrTx/>
            </a:pPr>
            <a:r>
              <a:rPr lang="en-US" altLang="en-US" sz="1100" dirty="0">
                <a:solidFill>
                  <a:srgbClr val="3C3939"/>
                </a:solidFill>
              </a:rPr>
              <a:t>Contributes to better education and more timely discoveries as researchers move from idea to experiment in minutes </a:t>
            </a:r>
          </a:p>
          <a:p>
            <a:pPr marL="171450" indent="-171450" eaLnBrk="1" hangingPunct="1">
              <a:spcBef>
                <a:spcPct val="0"/>
              </a:spcBef>
              <a:buClrTx/>
            </a:pPr>
            <a:r>
              <a:rPr lang="en-US" altLang="en-US" sz="1100" dirty="0">
                <a:solidFill>
                  <a:srgbClr val="3C3939"/>
                </a:solidFill>
              </a:rPr>
              <a:t>Accelerates grant funding cycle with service catalogs for fast, accurate costing</a:t>
            </a:r>
          </a:p>
          <a:p>
            <a:pPr marL="171450" indent="-171450" eaLnBrk="1" hangingPunct="1">
              <a:spcBef>
                <a:spcPct val="0"/>
              </a:spcBef>
              <a:buClrTx/>
            </a:pPr>
            <a:r>
              <a:rPr lang="en-US" altLang="en-US" sz="1100" dirty="0">
                <a:solidFill>
                  <a:srgbClr val="3C3939"/>
                </a:solidFill>
              </a:rPr>
              <a:t>Allows researchers to focus on health sciences, not IT </a:t>
            </a:r>
          </a:p>
          <a:p>
            <a:pPr marL="171450" indent="-171450" eaLnBrk="1" hangingPunct="1">
              <a:spcBef>
                <a:spcPct val="0"/>
              </a:spcBef>
              <a:buClrTx/>
            </a:pPr>
            <a:r>
              <a:rPr lang="en-US" altLang="en-US" sz="1100" dirty="0">
                <a:solidFill>
                  <a:srgbClr val="3C3939"/>
                </a:solidFill>
              </a:rPr>
              <a:t>Saves $1.5 million in hardware costs</a:t>
            </a:r>
          </a:p>
        </p:txBody>
      </p:sp>
      <p:cxnSp>
        <p:nvCxnSpPr>
          <p:cNvPr id="54" name="Straight Connector 15"/>
          <p:cNvCxnSpPr>
            <a:cxnSpLocks noChangeShapeType="1"/>
          </p:cNvCxnSpPr>
          <p:nvPr/>
        </p:nvCxnSpPr>
        <p:spPr bwMode="auto">
          <a:xfrm>
            <a:off x="4673658" y="1736203"/>
            <a:ext cx="2516188" cy="0"/>
          </a:xfrm>
          <a:prstGeom prst="line">
            <a:avLst/>
          </a:prstGeom>
          <a:noFill/>
          <a:ln w="9525">
            <a:solidFill>
              <a:srgbClr val="3C3939"/>
            </a:solidFill>
            <a:round/>
            <a:headEnd/>
            <a:tailEnd/>
          </a:ln>
          <a:extLst>
            <a:ext uri="{909E8E84-426E-40DD-AFC4-6F175D3DCCD1}">
              <a14:hiddenFill xmlns:a14="http://schemas.microsoft.com/office/drawing/2010/main">
                <a:noFill/>
              </a14:hiddenFill>
            </a:ext>
          </a:extLst>
        </p:spPr>
      </p:cxnSp>
      <p:sp>
        <p:nvSpPr>
          <p:cNvPr id="55" name="Rectangle 54">
            <a:extLst>
              <a:ext uri="{FF2B5EF4-FFF2-40B4-BE49-F238E27FC236}">
                <a16:creationId xmlns:a16="http://schemas.microsoft.com/office/drawing/2014/main" id="{156E5CAF-6D6D-4D0B-ACFF-E1550791D961}"/>
              </a:ext>
            </a:extLst>
          </p:cNvPr>
          <p:cNvSpPr/>
          <p:nvPr/>
        </p:nvSpPr>
        <p:spPr bwMode="gray">
          <a:xfrm>
            <a:off x="4673658" y="2973701"/>
            <a:ext cx="4470342" cy="373062"/>
          </a:xfrm>
          <a:prstGeom prst="rect">
            <a:avLst/>
          </a:prstGeom>
          <a:solidFill>
            <a:srgbClr val="0B568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2" tIns="34295" rIns="68582" bIns="34295" anchor="ctr"/>
          <a:lstStyle/>
          <a:p>
            <a:pPr defTabSz="685806" eaLnBrk="1" hangingPunct="1">
              <a:buClr>
                <a:srgbClr val="84BD00"/>
              </a:buClr>
              <a:defRPr/>
            </a:pPr>
            <a:endParaRPr lang="en-US" sz="1100" dirty="0">
              <a:solidFill>
                <a:srgbClr val="000000"/>
              </a:solidFill>
            </a:endParaRPr>
          </a:p>
        </p:txBody>
      </p:sp>
      <p:sp>
        <p:nvSpPr>
          <p:cNvPr id="56" name="Rectangle 55">
            <a:extLst>
              <a:ext uri="{FF2B5EF4-FFF2-40B4-BE49-F238E27FC236}">
                <a16:creationId xmlns:a16="http://schemas.microsoft.com/office/drawing/2014/main" id="{E4A5B14B-BE91-4AD4-93F5-F43E5DF583AA}"/>
              </a:ext>
            </a:extLst>
          </p:cNvPr>
          <p:cNvSpPr/>
          <p:nvPr/>
        </p:nvSpPr>
        <p:spPr bwMode="gray">
          <a:xfrm>
            <a:off x="4673658" y="3346762"/>
            <a:ext cx="4470342" cy="1327817"/>
          </a:xfrm>
          <a:prstGeom prst="rect">
            <a:avLst/>
          </a:prstGeom>
          <a:solidFill>
            <a:srgbClr val="116AA0"/>
          </a:solidFill>
          <a:ln>
            <a:noFill/>
          </a:ln>
          <a:effectLst/>
        </p:spPr>
        <p:style>
          <a:lnRef idx="3">
            <a:schemeClr val="lt1"/>
          </a:lnRef>
          <a:fillRef idx="1">
            <a:schemeClr val="accent1"/>
          </a:fillRef>
          <a:effectRef idx="1">
            <a:schemeClr val="accent1"/>
          </a:effectRef>
          <a:fontRef idx="minor">
            <a:schemeClr val="lt1"/>
          </a:fontRef>
        </p:style>
        <p:txBody>
          <a:bodyPr lIns="68582" tIns="34295" rIns="68582" bIns="34295" anchor="ctr"/>
          <a:lstStyle/>
          <a:p>
            <a:pPr defTabSz="685806" eaLnBrk="1" hangingPunct="1">
              <a:buClr>
                <a:srgbClr val="84BD00"/>
              </a:buClr>
              <a:defRPr/>
            </a:pPr>
            <a:endParaRPr lang="en-US" sz="1100" dirty="0">
              <a:solidFill>
                <a:srgbClr val="FFFFFF"/>
              </a:solidFill>
            </a:endParaRPr>
          </a:p>
        </p:txBody>
      </p:sp>
      <p:sp>
        <p:nvSpPr>
          <p:cNvPr id="57" name="TextBox 6"/>
          <p:cNvSpPr txBox="1">
            <a:spLocks noChangeArrowheads="1"/>
          </p:cNvSpPr>
          <p:nvPr/>
        </p:nvSpPr>
        <p:spPr bwMode="auto">
          <a:xfrm>
            <a:off x="4784725" y="3010186"/>
            <a:ext cx="1662113" cy="300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eaLnBrk="1" hangingPunct="1"/>
            <a:r>
              <a:rPr lang="en-US" altLang="en-US" sz="1500" b="1" dirty="0">
                <a:solidFill>
                  <a:schemeClr val="bg1"/>
                </a:solidFill>
              </a:rPr>
              <a:t>Solution</a:t>
            </a:r>
          </a:p>
        </p:txBody>
      </p:sp>
      <p:sp>
        <p:nvSpPr>
          <p:cNvPr id="58" name="TextBox 7"/>
          <p:cNvSpPr txBox="1">
            <a:spLocks noChangeArrowheads="1"/>
          </p:cNvSpPr>
          <p:nvPr/>
        </p:nvSpPr>
        <p:spPr bwMode="auto">
          <a:xfrm>
            <a:off x="4784725" y="3513450"/>
            <a:ext cx="4112193" cy="377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2" tIns="34295" rIns="68582" bIns="34295">
            <a:spAutoFit/>
          </a:bodyPr>
          <a:lstStyle>
            <a:lvl1pPr defTabSz="342900">
              <a:defRPr sz="2000">
                <a:solidFill>
                  <a:schemeClr val="tx1"/>
                </a:solidFill>
                <a:latin typeface="Arial" charset="0"/>
              </a:defRPr>
            </a:lvl1pPr>
            <a:lvl2pPr marL="742950" indent="-285750" defTabSz="342900">
              <a:defRPr sz="2000">
                <a:solidFill>
                  <a:schemeClr val="tx1"/>
                </a:solidFill>
                <a:latin typeface="Arial" charset="0"/>
              </a:defRPr>
            </a:lvl2pPr>
            <a:lvl3pPr marL="1143000" indent="-228600" defTabSz="342900">
              <a:defRPr sz="2000">
                <a:solidFill>
                  <a:schemeClr val="tx1"/>
                </a:solidFill>
                <a:latin typeface="Arial" charset="0"/>
              </a:defRPr>
            </a:lvl3pPr>
            <a:lvl4pPr marL="1600200" indent="-228600" defTabSz="342900">
              <a:defRPr sz="2000">
                <a:solidFill>
                  <a:schemeClr val="tx1"/>
                </a:solidFill>
                <a:latin typeface="Arial" charset="0"/>
              </a:defRPr>
            </a:lvl4pPr>
            <a:lvl5pPr marL="2057400" indent="-228600" defTabSz="342900">
              <a:defRPr sz="2000">
                <a:solidFill>
                  <a:schemeClr val="tx1"/>
                </a:solidFill>
                <a:latin typeface="Arial" charset="0"/>
              </a:defRPr>
            </a:lvl5pPr>
            <a:lvl6pPr marL="2514600" indent="-228600" defTabSz="342900" eaLnBrk="0" fontAlgn="base" hangingPunct="0">
              <a:spcBef>
                <a:spcPct val="0"/>
              </a:spcBef>
              <a:spcAft>
                <a:spcPct val="0"/>
              </a:spcAft>
              <a:defRPr sz="2000">
                <a:solidFill>
                  <a:schemeClr val="tx1"/>
                </a:solidFill>
                <a:latin typeface="Arial" charset="0"/>
              </a:defRPr>
            </a:lvl6pPr>
            <a:lvl7pPr marL="2971800" indent="-228600" defTabSz="342900" eaLnBrk="0" fontAlgn="base" hangingPunct="0">
              <a:spcBef>
                <a:spcPct val="0"/>
              </a:spcBef>
              <a:spcAft>
                <a:spcPct val="0"/>
              </a:spcAft>
              <a:defRPr sz="2000">
                <a:solidFill>
                  <a:schemeClr val="tx1"/>
                </a:solidFill>
                <a:latin typeface="Arial" charset="0"/>
              </a:defRPr>
            </a:lvl7pPr>
            <a:lvl8pPr marL="3429000" indent="-228600" defTabSz="342900" eaLnBrk="0" fontAlgn="base" hangingPunct="0">
              <a:spcBef>
                <a:spcPct val="0"/>
              </a:spcBef>
              <a:spcAft>
                <a:spcPct val="0"/>
              </a:spcAft>
              <a:defRPr sz="2000">
                <a:solidFill>
                  <a:schemeClr val="tx1"/>
                </a:solidFill>
                <a:latin typeface="Arial" charset="0"/>
              </a:defRPr>
            </a:lvl8pPr>
            <a:lvl9pPr marL="3886200" indent="-228600" defTabSz="342900" eaLnBrk="0" fontAlgn="base" hangingPunct="0">
              <a:spcBef>
                <a:spcPct val="0"/>
              </a:spcBef>
              <a:spcAft>
                <a:spcPct val="0"/>
              </a:spcAft>
              <a:defRPr sz="2000">
                <a:solidFill>
                  <a:schemeClr val="tx1"/>
                </a:solidFill>
                <a:latin typeface="Arial" charset="0"/>
              </a:defRPr>
            </a:lvl9pPr>
          </a:lstStyle>
          <a:p>
            <a:pPr eaLnBrk="1" hangingPunct="1"/>
            <a:r>
              <a:rPr lang="en-US" altLang="en-US" sz="1000" dirty="0">
                <a:solidFill>
                  <a:srgbClr val="FFFFFF"/>
                </a:solidFill>
              </a:rPr>
              <a:t>Offer researchers easy-to-use infrastructure as a service by building a private cloud, “Discovery Cloud,” over the FlexPod</a:t>
            </a:r>
            <a:r>
              <a:rPr lang="en-US" altLang="en-US" sz="1000" baseline="30000" dirty="0">
                <a:solidFill>
                  <a:srgbClr val="FFFFFF"/>
                </a:solidFill>
              </a:rPr>
              <a:t>®</a:t>
            </a:r>
            <a:r>
              <a:rPr lang="en-US" altLang="en-US" sz="1000" dirty="0">
                <a:solidFill>
                  <a:srgbClr val="FFFFFF"/>
                </a:solidFill>
              </a:rPr>
              <a:t> platform.</a:t>
            </a:r>
          </a:p>
        </p:txBody>
      </p:sp>
      <p:sp>
        <p:nvSpPr>
          <p:cNvPr id="15" name="Text Placeholder 11">
            <a:extLst>
              <a:ext uri="{FF2B5EF4-FFF2-40B4-BE49-F238E27FC236}">
                <a16:creationId xmlns:a16="http://schemas.microsoft.com/office/drawing/2014/main" id="{B845D0B3-3CDF-45CE-9112-8E044FD2317A}"/>
              </a:ext>
            </a:extLst>
          </p:cNvPr>
          <p:cNvSpPr txBox="1">
            <a:spLocks/>
          </p:cNvSpPr>
          <p:nvPr/>
        </p:nvSpPr>
        <p:spPr bwMode="auto">
          <a:xfrm>
            <a:off x="277813" y="712126"/>
            <a:ext cx="6532890" cy="393700"/>
          </a:xfrm>
          <a:prstGeom prst="rect">
            <a:avLst/>
          </a:prstGeom>
          <a:noFill/>
          <a:ln w="9525">
            <a:noFill/>
            <a:miter lim="800000"/>
            <a:headEnd/>
            <a:tailEnd/>
          </a:ln>
        </p:spPr>
        <p:txBody>
          <a:bodyPr lIns="0" tIns="0" rIns="0" bIns="0"/>
          <a:lstStyle>
            <a:lvl1pPr marL="298397" indent="-298397" algn="l" rtl="0" eaLnBrk="0" fontAlgn="base" hangingPunct="0">
              <a:spcBef>
                <a:spcPts val="676"/>
              </a:spcBef>
              <a:spcAft>
                <a:spcPct val="0"/>
              </a:spcAft>
              <a:buClrTx/>
              <a:buFont typeface="Arial"/>
              <a:buChar char="•"/>
              <a:defRPr sz="1500">
                <a:solidFill>
                  <a:srgbClr val="000000"/>
                </a:solidFill>
                <a:latin typeface="+mn-lt"/>
                <a:ea typeface="+mn-ea"/>
                <a:cs typeface="+mn-cs"/>
              </a:defRPr>
            </a:lvl1pPr>
            <a:lvl2pPr marL="636476" indent="-336488" algn="l" rtl="0" eaLnBrk="0" fontAlgn="base" hangingPunct="0">
              <a:spcBef>
                <a:spcPts val="624"/>
              </a:spcBef>
              <a:spcAft>
                <a:spcPct val="0"/>
              </a:spcAft>
              <a:buClrTx/>
              <a:buFont typeface="Lucida Grande"/>
              <a:buChar char="-"/>
              <a:defRPr sz="1200">
                <a:solidFill>
                  <a:srgbClr val="000000"/>
                </a:solidFill>
                <a:latin typeface="+mn-lt"/>
              </a:defRPr>
            </a:lvl2pPr>
            <a:lvl3pPr marL="926939" indent="-288876" algn="l" rtl="0" eaLnBrk="0" fontAlgn="base" hangingPunct="0">
              <a:spcBef>
                <a:spcPts val="576"/>
              </a:spcBef>
              <a:spcAft>
                <a:spcPct val="0"/>
              </a:spcAft>
              <a:buClrTx/>
              <a:buFont typeface="Arial"/>
              <a:buChar char="•"/>
              <a:defRPr sz="1200">
                <a:solidFill>
                  <a:srgbClr val="000000"/>
                </a:solidFill>
                <a:latin typeface="+mn-lt"/>
              </a:defRPr>
            </a:lvl3pPr>
            <a:lvl4pPr marL="1236446" indent="-307922" algn="l" rtl="0" eaLnBrk="0" fontAlgn="base" hangingPunct="0">
              <a:spcBef>
                <a:spcPts val="480"/>
              </a:spcBef>
              <a:spcAft>
                <a:spcPct val="0"/>
              </a:spcAft>
              <a:buClrTx/>
              <a:buFont typeface="Lucida Grande"/>
              <a:buChar char="-"/>
              <a:defRPr sz="1200">
                <a:solidFill>
                  <a:srgbClr val="000000"/>
                </a:solidFill>
                <a:latin typeface="+mn-lt"/>
              </a:defRPr>
            </a:lvl4pPr>
            <a:lvl5pPr marL="1504688" indent="-266657" algn="l" rtl="0" eaLnBrk="0" fontAlgn="base" hangingPunct="0">
              <a:spcBef>
                <a:spcPts val="480"/>
              </a:spcBef>
              <a:spcAft>
                <a:spcPct val="0"/>
              </a:spcAft>
              <a:buClrTx/>
              <a:buFont typeface="Arial"/>
              <a:buChar char="•"/>
              <a:defRPr sz="12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indent="0" eaLnBrk="1" hangingPunct="1">
              <a:spcBef>
                <a:spcPct val="0"/>
              </a:spcBef>
              <a:buNone/>
              <a:defRPr/>
            </a:pPr>
            <a:r>
              <a:rPr lang="en-US" sz="2000" b="1" dirty="0">
                <a:solidFill>
                  <a:schemeClr val="tx1"/>
                </a:solidFill>
              </a:rPr>
              <a:t>FlexPod value: $1.5 million hardware cost savings</a:t>
            </a:r>
          </a:p>
        </p:txBody>
      </p:sp>
    </p:spTree>
    <p:extLst>
      <p:ext uri="{BB962C8B-B14F-4D97-AF65-F5344CB8AC3E}">
        <p14:creationId xmlns:p14="http://schemas.microsoft.com/office/powerpoint/2010/main" val="97079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E7096E-4BD4-FF48-8F28-208BA7C8B6C3}"/>
              </a:ext>
            </a:extLst>
          </p:cNvPr>
          <p:cNvSpPr>
            <a:spLocks noGrp="1"/>
          </p:cNvSpPr>
          <p:nvPr>
            <p:ph type="ctrTitle"/>
          </p:nvPr>
        </p:nvSpPr>
        <p:spPr/>
        <p:txBody>
          <a:bodyPr/>
          <a:lstStyle/>
          <a:p>
            <a:r>
              <a:rPr lang="en-US" sz="4400"/>
              <a:t>Why </a:t>
            </a:r>
            <a:r>
              <a:rPr lang="en-US" sz="4400" err="1"/>
              <a:t>FlexPod</a:t>
            </a:r>
            <a:r>
              <a:rPr lang="en-US" sz="4400"/>
              <a:t> for Partners</a:t>
            </a:r>
            <a:br>
              <a:rPr lang="en-US" sz="4400"/>
            </a:br>
            <a:r>
              <a:rPr lang="en-US" sz="2800"/>
              <a:t>Optimized to grow long-term revenue</a:t>
            </a:r>
            <a:endParaRPr lang="en-US" sz="4400"/>
          </a:p>
        </p:txBody>
      </p:sp>
    </p:spTree>
    <p:extLst>
      <p:ext uri="{BB962C8B-B14F-4D97-AF65-F5344CB8AC3E}">
        <p14:creationId xmlns:p14="http://schemas.microsoft.com/office/powerpoint/2010/main" val="8660870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Title 8">
            <a:extLst>
              <a:ext uri="{FF2B5EF4-FFF2-40B4-BE49-F238E27FC236}">
                <a16:creationId xmlns:a16="http://schemas.microsoft.com/office/drawing/2014/main" id="{D0B41D01-D323-4888-8B2E-7D1D05FA819C}"/>
              </a:ext>
            </a:extLst>
          </p:cNvPr>
          <p:cNvSpPr>
            <a:spLocks noGrp="1" noChangeArrowheads="1"/>
          </p:cNvSpPr>
          <p:nvPr>
            <p:ph type="title"/>
          </p:nvPr>
        </p:nvSpPr>
        <p:spPr/>
        <p:txBody>
          <a:bodyPr/>
          <a:lstStyle/>
          <a:p>
            <a:r>
              <a:rPr lang="en-US" altLang="en-US"/>
              <a:t>Why FlexPod is #1 with Partners</a:t>
            </a:r>
          </a:p>
        </p:txBody>
      </p:sp>
      <p:sp>
        <p:nvSpPr>
          <p:cNvPr id="185347" name="Text Placeholder 11">
            <a:extLst>
              <a:ext uri="{FF2B5EF4-FFF2-40B4-BE49-F238E27FC236}">
                <a16:creationId xmlns:a16="http://schemas.microsoft.com/office/drawing/2014/main" id="{A8A2589A-DABD-4C22-80EE-3723A2D1C5EB}"/>
              </a:ext>
            </a:extLst>
          </p:cNvPr>
          <p:cNvSpPr>
            <a:spLocks noGrp="1" noChangeArrowheads="1"/>
          </p:cNvSpPr>
          <p:nvPr>
            <p:ph type="body" idx="11"/>
          </p:nvPr>
        </p:nvSpPr>
        <p:spPr/>
        <p:txBody>
          <a:bodyPr/>
          <a:lstStyle/>
          <a:p>
            <a:pPr marL="0" indent="0">
              <a:buNone/>
            </a:pPr>
            <a:r>
              <a:rPr lang="en-US" altLang="en-US"/>
              <a:t>Successful partner profile matches FlexPod partners</a:t>
            </a:r>
          </a:p>
        </p:txBody>
      </p:sp>
      <p:sp>
        <p:nvSpPr>
          <p:cNvPr id="89" name="Rectangle 39">
            <a:extLst>
              <a:ext uri="{FF2B5EF4-FFF2-40B4-BE49-F238E27FC236}">
                <a16:creationId xmlns:a16="http://schemas.microsoft.com/office/drawing/2014/main" id="{D0D164BF-DC7C-4685-BF1F-BF332F7F895A}"/>
              </a:ext>
            </a:extLst>
          </p:cNvPr>
          <p:cNvSpPr/>
          <p:nvPr/>
        </p:nvSpPr>
        <p:spPr bwMode="gray">
          <a:xfrm>
            <a:off x="1261292" y="1693993"/>
            <a:ext cx="3106910" cy="210922"/>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0" marR="0" lvl="0" indent="0" algn="l" defTabSz="914400" rtl="0" eaLnBrk="0" fontAlgn="base" latinLnBrk="0" hangingPunct="0">
              <a:lnSpc>
                <a:spcPct val="95000"/>
              </a:lnSpc>
              <a:spcBef>
                <a:spcPct val="0"/>
              </a:spcBef>
              <a:spcAft>
                <a:spcPct val="0"/>
              </a:spcAft>
              <a:buClr>
                <a:srgbClr val="84BD00"/>
              </a:buClr>
              <a:buSzTx/>
              <a:buFont typeface="Wingdings" pitchFamily="2" charset="2"/>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Focus on Services </a:t>
            </a:r>
          </a:p>
        </p:txBody>
      </p:sp>
      <p:sp>
        <p:nvSpPr>
          <p:cNvPr id="37" name="TextBox 36">
            <a:extLst>
              <a:ext uri="{FF2B5EF4-FFF2-40B4-BE49-F238E27FC236}">
                <a16:creationId xmlns:a16="http://schemas.microsoft.com/office/drawing/2014/main" id="{6981950C-FCBD-4988-BD52-F171F79E16C7}"/>
              </a:ext>
            </a:extLst>
          </p:cNvPr>
          <p:cNvSpPr txBox="1"/>
          <p:nvPr/>
        </p:nvSpPr>
        <p:spPr>
          <a:xfrm>
            <a:off x="1261292" y="1940298"/>
            <a:ext cx="3096451" cy="161583"/>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Partner-branded services drives profitability</a:t>
            </a:r>
          </a:p>
        </p:txBody>
      </p:sp>
      <p:grpSp>
        <p:nvGrpSpPr>
          <p:cNvPr id="33" name="Group 32">
            <a:extLst>
              <a:ext uri="{FF2B5EF4-FFF2-40B4-BE49-F238E27FC236}">
                <a16:creationId xmlns:a16="http://schemas.microsoft.com/office/drawing/2014/main" id="{08A9CAB7-380D-2548-9892-AE1F240F6197}"/>
              </a:ext>
            </a:extLst>
          </p:cNvPr>
          <p:cNvGrpSpPr/>
          <p:nvPr/>
        </p:nvGrpSpPr>
        <p:grpSpPr>
          <a:xfrm>
            <a:off x="444183" y="1639570"/>
            <a:ext cx="657225" cy="658255"/>
            <a:chOff x="411419" y="1951158"/>
            <a:chExt cx="657225" cy="658255"/>
          </a:xfrm>
        </p:grpSpPr>
        <p:sp>
          <p:nvSpPr>
            <p:cNvPr id="34" name="Oval 33">
              <a:extLst>
                <a:ext uri="{FF2B5EF4-FFF2-40B4-BE49-F238E27FC236}">
                  <a16:creationId xmlns:a16="http://schemas.microsoft.com/office/drawing/2014/main" id="{444FAA3B-160F-4F45-8409-692E6587F3CF}"/>
                </a:ext>
              </a:extLst>
            </p:cNvPr>
            <p:cNvSpPr/>
            <p:nvPr/>
          </p:nvSpPr>
          <p:spPr>
            <a:xfrm>
              <a:off x="411419" y="1951158"/>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A042AF42-3757-7046-B826-D716C81F05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1303" y="2113256"/>
              <a:ext cx="360676" cy="303727"/>
            </a:xfrm>
            <a:prstGeom prst="rect">
              <a:avLst/>
            </a:prstGeom>
          </p:spPr>
        </p:pic>
      </p:grpSp>
      <p:sp>
        <p:nvSpPr>
          <p:cNvPr id="41" name="Rectangle 40">
            <a:extLst>
              <a:ext uri="{FF2B5EF4-FFF2-40B4-BE49-F238E27FC236}">
                <a16:creationId xmlns:a16="http://schemas.microsoft.com/office/drawing/2014/main" id="{0B0DBFBE-9C17-4CE4-A64B-DDE926BEF10A}"/>
              </a:ext>
            </a:extLst>
          </p:cNvPr>
          <p:cNvSpPr/>
          <p:nvPr/>
        </p:nvSpPr>
        <p:spPr bwMode="gray">
          <a:xfrm>
            <a:off x="1329788" y="3659768"/>
            <a:ext cx="2034624" cy="21177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0" marR="0" lvl="0" indent="0" algn="l" defTabSz="914400" rtl="0" eaLnBrk="0" fontAlgn="base" latinLnBrk="0" hangingPunct="0">
              <a:lnSpc>
                <a:spcPct val="95000"/>
              </a:lnSpc>
              <a:spcBef>
                <a:spcPct val="0"/>
              </a:spcBef>
              <a:spcAft>
                <a:spcPct val="0"/>
              </a:spcAft>
              <a:buClr>
                <a:srgbClr val="84BD00"/>
              </a:buClr>
              <a:buSzTx/>
              <a:buFont typeface="Wingdings" pitchFamily="2" charset="2"/>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trategic Workloads</a:t>
            </a:r>
          </a:p>
        </p:txBody>
      </p:sp>
      <p:sp>
        <p:nvSpPr>
          <p:cNvPr id="40" name="TextBox 39">
            <a:extLst>
              <a:ext uri="{FF2B5EF4-FFF2-40B4-BE49-F238E27FC236}">
                <a16:creationId xmlns:a16="http://schemas.microsoft.com/office/drawing/2014/main" id="{6D92CB66-F912-4600-94BF-FBF51554D89C}"/>
              </a:ext>
            </a:extLst>
          </p:cNvPr>
          <p:cNvSpPr txBox="1"/>
          <p:nvPr/>
        </p:nvSpPr>
        <p:spPr>
          <a:xfrm>
            <a:off x="1329788" y="3935325"/>
            <a:ext cx="2135208" cy="487569"/>
          </a:xfrm>
          <a:prstGeom prst="rect">
            <a:avLst/>
          </a:prstGeom>
          <a:noFill/>
        </p:spPr>
        <p:txBody>
          <a:bodyPr wrap="square" lIns="0" tIns="0" rIns="0" bIns="0">
            <a:spAutoFit/>
          </a:bodyPr>
          <a:lstStyle/>
          <a:p>
            <a:pPr marL="128549" marR="0" lvl="0" indent="-128549" algn="l" defTabSz="914400" rtl="0" eaLnBrk="0" fontAlgn="base" latinLnBrk="0" hangingPunct="0">
              <a:lnSpc>
                <a:spcPct val="90000"/>
              </a:lnSpc>
              <a:spcBef>
                <a:spcPct val="0"/>
              </a:spcBef>
              <a:spcAft>
                <a:spcPts val="225"/>
              </a:spcAft>
              <a:buClr>
                <a:srgbClr val="84BD00"/>
              </a:buClr>
              <a:buSzTx/>
              <a:buFontTx/>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1. All flash storage</a:t>
            </a:r>
          </a:p>
          <a:p>
            <a:pPr marL="128549" marR="0" lvl="0" indent="-128549" algn="l" defTabSz="914400" rtl="0" eaLnBrk="0" fontAlgn="base" latinLnBrk="0" hangingPunct="0">
              <a:lnSpc>
                <a:spcPct val="90000"/>
              </a:lnSpc>
              <a:spcBef>
                <a:spcPct val="0"/>
              </a:spcBef>
              <a:spcAft>
                <a:spcPts val="225"/>
              </a:spcAft>
              <a:buClr>
                <a:srgbClr val="84BD00"/>
              </a:buClr>
              <a:buSzTx/>
              <a:buFontTx/>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2. CI </a:t>
            </a:r>
          </a:p>
          <a:p>
            <a:pPr marL="128549" marR="0" lvl="0" indent="-128549" algn="l" defTabSz="914400" rtl="0" eaLnBrk="0" fontAlgn="base" latinLnBrk="0" hangingPunct="0">
              <a:lnSpc>
                <a:spcPct val="90000"/>
              </a:lnSpc>
              <a:spcBef>
                <a:spcPct val="0"/>
              </a:spcBef>
              <a:spcAft>
                <a:spcPts val="225"/>
              </a:spcAft>
              <a:buClr>
                <a:srgbClr val="84BD00"/>
              </a:buClr>
              <a:buSzTx/>
              <a:buFontTx/>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3. Backup and recovery</a:t>
            </a:r>
          </a:p>
        </p:txBody>
      </p:sp>
      <p:grpSp>
        <p:nvGrpSpPr>
          <p:cNvPr id="36" name="Group 35">
            <a:extLst>
              <a:ext uri="{FF2B5EF4-FFF2-40B4-BE49-F238E27FC236}">
                <a16:creationId xmlns:a16="http://schemas.microsoft.com/office/drawing/2014/main" id="{E47184C6-62F4-8543-AF17-3D139D941DF0}"/>
              </a:ext>
            </a:extLst>
          </p:cNvPr>
          <p:cNvGrpSpPr/>
          <p:nvPr/>
        </p:nvGrpSpPr>
        <p:grpSpPr>
          <a:xfrm>
            <a:off x="460447" y="3569927"/>
            <a:ext cx="657225" cy="658255"/>
            <a:chOff x="3216425" y="1955257"/>
            <a:chExt cx="657225" cy="658255"/>
          </a:xfrm>
        </p:grpSpPr>
        <p:sp>
          <p:nvSpPr>
            <p:cNvPr id="45" name="Oval 44">
              <a:extLst>
                <a:ext uri="{FF2B5EF4-FFF2-40B4-BE49-F238E27FC236}">
                  <a16:creationId xmlns:a16="http://schemas.microsoft.com/office/drawing/2014/main" id="{F0D7C091-5F1F-C548-BDC5-D3103F9B838D}"/>
                </a:ext>
              </a:extLst>
            </p:cNvPr>
            <p:cNvSpPr/>
            <p:nvPr/>
          </p:nvSpPr>
          <p:spPr>
            <a:xfrm>
              <a:off x="3216425" y="1955257"/>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46" name="Picture 45">
              <a:extLst>
                <a:ext uri="{FF2B5EF4-FFF2-40B4-BE49-F238E27FC236}">
                  <a16:creationId xmlns:a16="http://schemas.microsoft.com/office/drawing/2014/main" id="{969F3549-832F-0840-9959-FDC00C35A2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6502" y="2127636"/>
              <a:ext cx="361736" cy="342257"/>
            </a:xfrm>
            <a:prstGeom prst="rect">
              <a:avLst/>
            </a:prstGeom>
          </p:spPr>
        </p:pic>
      </p:grpSp>
      <p:sp>
        <p:nvSpPr>
          <p:cNvPr id="39" name="Rectangle 38">
            <a:extLst>
              <a:ext uri="{FF2B5EF4-FFF2-40B4-BE49-F238E27FC236}">
                <a16:creationId xmlns:a16="http://schemas.microsoft.com/office/drawing/2014/main" id="{CDC7EA84-4F54-4915-ADA8-36112B3F36D0}"/>
              </a:ext>
            </a:extLst>
          </p:cNvPr>
          <p:cNvSpPr/>
          <p:nvPr/>
        </p:nvSpPr>
        <p:spPr bwMode="gray">
          <a:xfrm>
            <a:off x="1296120" y="2654841"/>
            <a:ext cx="2416343" cy="229158"/>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0" marR="0" lvl="0" indent="0" algn="l" defTabSz="914400" rtl="0" eaLnBrk="0" fontAlgn="base" latinLnBrk="0" hangingPunct="0">
              <a:lnSpc>
                <a:spcPct val="95000"/>
              </a:lnSpc>
              <a:spcBef>
                <a:spcPct val="0"/>
              </a:spcBef>
              <a:spcAft>
                <a:spcPct val="0"/>
              </a:spcAft>
              <a:buClr>
                <a:srgbClr val="84BD00"/>
              </a:buClr>
              <a:buSzTx/>
              <a:buFont typeface="Wingdings" pitchFamily="2" charset="2"/>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trong Attach Rate </a:t>
            </a:r>
          </a:p>
        </p:txBody>
      </p:sp>
      <p:sp>
        <p:nvSpPr>
          <p:cNvPr id="38" name="TextBox 37">
            <a:extLst>
              <a:ext uri="{FF2B5EF4-FFF2-40B4-BE49-F238E27FC236}">
                <a16:creationId xmlns:a16="http://schemas.microsoft.com/office/drawing/2014/main" id="{C8F53AB6-52A7-4E71-91FA-DF8878BEB9DF}"/>
              </a:ext>
            </a:extLst>
          </p:cNvPr>
          <p:cNvSpPr txBox="1"/>
          <p:nvPr/>
        </p:nvSpPr>
        <p:spPr>
          <a:xfrm>
            <a:off x="1293792" y="2900776"/>
            <a:ext cx="2738712" cy="323165"/>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Every $1 brings an additional $7.41 of drag</a:t>
            </a:r>
            <a:br>
              <a:rPr kumimoji="0" lang="en-US" sz="1050" b="0" i="0" u="none" strike="noStrike" kern="1200" cap="none" spc="0" normalizeH="0" baseline="0" noProof="0">
                <a:ln>
                  <a:noFill/>
                </a:ln>
                <a:solidFill>
                  <a:srgbClr val="4CABD6"/>
                </a:solidFill>
                <a:effectLst/>
                <a:uLnTx/>
                <a:uFillTx/>
                <a:latin typeface="Arial" charset="0"/>
                <a:ea typeface="+mn-ea"/>
                <a:cs typeface="+mn-cs"/>
              </a:rPr>
            </a:br>
            <a:r>
              <a:rPr kumimoji="0" lang="en-US" sz="1050" b="0" i="0" u="none" strike="noStrike" kern="1200" cap="none" spc="0" normalizeH="0" baseline="0" noProof="0">
                <a:ln>
                  <a:noFill/>
                </a:ln>
                <a:solidFill>
                  <a:srgbClr val="4CABD6"/>
                </a:solidFill>
                <a:effectLst/>
                <a:uLnTx/>
                <a:uFillTx/>
                <a:latin typeface="Arial" charset="0"/>
                <a:ea typeface="+mn-ea"/>
                <a:cs typeface="+mn-cs"/>
              </a:rPr>
              <a:t>Up 15% YoY</a:t>
            </a:r>
          </a:p>
        </p:txBody>
      </p:sp>
      <p:grpSp>
        <p:nvGrpSpPr>
          <p:cNvPr id="47" name="Group 46">
            <a:extLst>
              <a:ext uri="{FF2B5EF4-FFF2-40B4-BE49-F238E27FC236}">
                <a16:creationId xmlns:a16="http://schemas.microsoft.com/office/drawing/2014/main" id="{720ADF62-41BF-3249-ADA6-AFCDB1D48FE5}"/>
              </a:ext>
            </a:extLst>
          </p:cNvPr>
          <p:cNvGrpSpPr/>
          <p:nvPr/>
        </p:nvGrpSpPr>
        <p:grpSpPr>
          <a:xfrm>
            <a:off x="460447" y="2590515"/>
            <a:ext cx="657225" cy="658255"/>
            <a:chOff x="1831920" y="1951158"/>
            <a:chExt cx="657225" cy="658255"/>
          </a:xfrm>
        </p:grpSpPr>
        <p:sp>
          <p:nvSpPr>
            <p:cNvPr id="48" name="Oval 47">
              <a:extLst>
                <a:ext uri="{FF2B5EF4-FFF2-40B4-BE49-F238E27FC236}">
                  <a16:creationId xmlns:a16="http://schemas.microsoft.com/office/drawing/2014/main" id="{CBAEA779-8257-814D-98C9-0CB4AE5E0C1E}"/>
                </a:ext>
              </a:extLst>
            </p:cNvPr>
            <p:cNvSpPr/>
            <p:nvPr/>
          </p:nvSpPr>
          <p:spPr>
            <a:xfrm>
              <a:off x="1831920" y="1951158"/>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49" name="Picture 48">
              <a:extLst>
                <a:ext uri="{FF2B5EF4-FFF2-40B4-BE49-F238E27FC236}">
                  <a16:creationId xmlns:a16="http://schemas.microsoft.com/office/drawing/2014/main" id="{B9D179A4-AA25-F84B-AA0E-B24E3232AAA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82465" y="2072253"/>
              <a:ext cx="369846" cy="412521"/>
            </a:xfrm>
            <a:prstGeom prst="rect">
              <a:avLst/>
            </a:prstGeom>
          </p:spPr>
        </p:pic>
      </p:grpSp>
      <p:sp>
        <p:nvSpPr>
          <p:cNvPr id="68" name="Rechteck 67">
            <a:extLst>
              <a:ext uri="{FF2B5EF4-FFF2-40B4-BE49-F238E27FC236}">
                <a16:creationId xmlns:a16="http://schemas.microsoft.com/office/drawing/2014/main" id="{D8C33AD2-D26B-466B-AEFA-DE7C0CC8D3C7}"/>
              </a:ext>
            </a:extLst>
          </p:cNvPr>
          <p:cNvSpPr/>
          <p:nvPr/>
        </p:nvSpPr>
        <p:spPr>
          <a:xfrm>
            <a:off x="5689943" y="1693993"/>
            <a:ext cx="3009874" cy="257563"/>
          </a:xfrm>
          <a:prstGeom prst="rect">
            <a:avLst/>
          </a:prstGeom>
        </p:spPr>
        <p:txBody>
          <a:bodyPr lIns="0" tIns="0" rIns="0" bIns="0"/>
          <a:lstStyle/>
          <a:p>
            <a:pPr marL="0" marR="0" lvl="0" indent="0" algn="l" defTabSz="914400" rtl="0" eaLnBrk="0" fontAlgn="base" latinLnBrk="0" hangingPunct="0">
              <a:lnSpc>
                <a:spcPct val="95000"/>
              </a:lnSpc>
              <a:spcBef>
                <a:spcPct val="0"/>
              </a:spcBef>
              <a:spcAft>
                <a:spcPct val="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ales Opportunity Areas</a:t>
            </a:r>
          </a:p>
        </p:txBody>
      </p:sp>
      <p:sp>
        <p:nvSpPr>
          <p:cNvPr id="43" name="TextBox 42">
            <a:extLst>
              <a:ext uri="{FF2B5EF4-FFF2-40B4-BE49-F238E27FC236}">
                <a16:creationId xmlns:a16="http://schemas.microsoft.com/office/drawing/2014/main" id="{202C98C2-1B4E-48EF-B196-AE7018847EB0}"/>
              </a:ext>
            </a:extLst>
          </p:cNvPr>
          <p:cNvSpPr txBox="1"/>
          <p:nvPr/>
        </p:nvSpPr>
        <p:spPr>
          <a:xfrm>
            <a:off x="5689942" y="1940298"/>
            <a:ext cx="2546007" cy="484187"/>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New </a:t>
            </a:r>
            <a:r>
              <a:rPr kumimoji="0" lang="en-US" sz="1050" b="0" i="0" u="none" strike="noStrike" kern="1200" cap="none" spc="0" normalizeH="0" baseline="0" noProof="0" err="1">
                <a:ln>
                  <a:noFill/>
                </a:ln>
                <a:solidFill>
                  <a:srgbClr val="4CABD6"/>
                </a:solidFill>
                <a:effectLst/>
                <a:uLnTx/>
                <a:uFillTx/>
                <a:latin typeface="Arial" charset="0"/>
                <a:ea typeface="+mn-ea"/>
                <a:cs typeface="+mn-cs"/>
              </a:rPr>
              <a:t>infrastrivit</a:t>
            </a:r>
            <a:r>
              <a:rPr kumimoji="0" lang="en-US" sz="1050" b="0" i="0" u="none" strike="noStrike" kern="1200" cap="none" spc="0" normalizeH="0" baseline="0" noProof="0">
                <a:ln>
                  <a:noFill/>
                </a:ln>
                <a:solidFill>
                  <a:srgbClr val="4CABD6"/>
                </a:solidFill>
                <a:effectLst/>
                <a:uLnTx/>
                <a:uFillTx/>
                <a:latin typeface="Arial" charset="0"/>
                <a:ea typeface="+mn-ea"/>
                <a:cs typeface="+mn-cs"/>
              </a:rPr>
              <a:t>. 48%</a:t>
            </a:r>
          </a:p>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Comp takeout 39%</a:t>
            </a:r>
          </a:p>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Upgrade/expand 11%</a:t>
            </a:r>
          </a:p>
        </p:txBody>
      </p:sp>
      <p:grpSp>
        <p:nvGrpSpPr>
          <p:cNvPr id="50" name="Group 49">
            <a:extLst>
              <a:ext uri="{FF2B5EF4-FFF2-40B4-BE49-F238E27FC236}">
                <a16:creationId xmlns:a16="http://schemas.microsoft.com/office/drawing/2014/main" id="{F80738A1-6B64-5749-81CF-D2B0FAB424EA}"/>
              </a:ext>
            </a:extLst>
          </p:cNvPr>
          <p:cNvGrpSpPr/>
          <p:nvPr/>
        </p:nvGrpSpPr>
        <p:grpSpPr>
          <a:xfrm>
            <a:off x="4766799" y="1639570"/>
            <a:ext cx="657225" cy="658255"/>
            <a:chOff x="4901373" y="1955257"/>
            <a:chExt cx="657225" cy="658255"/>
          </a:xfrm>
        </p:grpSpPr>
        <p:sp>
          <p:nvSpPr>
            <p:cNvPr id="51" name="Oval 50">
              <a:extLst>
                <a:ext uri="{FF2B5EF4-FFF2-40B4-BE49-F238E27FC236}">
                  <a16:creationId xmlns:a16="http://schemas.microsoft.com/office/drawing/2014/main" id="{4C374E08-3037-9040-AAD9-E99F2D37D5C5}"/>
                </a:ext>
              </a:extLst>
            </p:cNvPr>
            <p:cNvSpPr/>
            <p:nvPr/>
          </p:nvSpPr>
          <p:spPr>
            <a:xfrm>
              <a:off x="4901373" y="1955257"/>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52" name="Picture 51" descr="ghjkghj.png">
              <a:extLst>
                <a:ext uri="{FF2B5EF4-FFF2-40B4-BE49-F238E27FC236}">
                  <a16:creationId xmlns:a16="http://schemas.microsoft.com/office/drawing/2014/main" id="{47CECD01-25CE-3E4B-82B1-3B13C90E38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37304" y="2127636"/>
              <a:ext cx="389660" cy="301756"/>
            </a:xfrm>
            <a:prstGeom prst="rect">
              <a:avLst/>
            </a:prstGeom>
          </p:spPr>
        </p:pic>
      </p:grpSp>
      <p:sp>
        <p:nvSpPr>
          <p:cNvPr id="94" name="Rechteck 93">
            <a:extLst>
              <a:ext uri="{FF2B5EF4-FFF2-40B4-BE49-F238E27FC236}">
                <a16:creationId xmlns:a16="http://schemas.microsoft.com/office/drawing/2014/main" id="{CB361D2C-FA6C-419C-A1AF-553DAD94FB22}"/>
              </a:ext>
            </a:extLst>
          </p:cNvPr>
          <p:cNvSpPr/>
          <p:nvPr/>
        </p:nvSpPr>
        <p:spPr>
          <a:xfrm>
            <a:off x="5689941" y="3659768"/>
            <a:ext cx="3009873" cy="192645"/>
          </a:xfrm>
          <a:prstGeom prst="rect">
            <a:avLst/>
          </a:prstGeom>
        </p:spPr>
        <p:txBody>
          <a:bodyPr lIns="0" tIns="0" rIns="0" bIns="0"/>
          <a:lstStyle/>
          <a:p>
            <a:pPr marL="0" marR="0" lvl="0" indent="0" algn="l" defTabSz="914400" rtl="0" eaLnBrk="0" fontAlgn="base" latinLnBrk="0" hangingPunct="0">
              <a:lnSpc>
                <a:spcPct val="95000"/>
              </a:lnSpc>
              <a:spcBef>
                <a:spcPct val="0"/>
              </a:spcBef>
              <a:spcAft>
                <a:spcPct val="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loud Revenue</a:t>
            </a:r>
          </a:p>
        </p:txBody>
      </p:sp>
      <p:sp>
        <p:nvSpPr>
          <p:cNvPr id="42" name="TextBox 41">
            <a:extLst>
              <a:ext uri="{FF2B5EF4-FFF2-40B4-BE49-F238E27FC236}">
                <a16:creationId xmlns:a16="http://schemas.microsoft.com/office/drawing/2014/main" id="{C144CECC-6472-4EC6-9C2C-F4C16AB15B2C}"/>
              </a:ext>
            </a:extLst>
          </p:cNvPr>
          <p:cNvSpPr txBox="1"/>
          <p:nvPr/>
        </p:nvSpPr>
        <p:spPr>
          <a:xfrm>
            <a:off x="5689254" y="3935325"/>
            <a:ext cx="2412330" cy="484187"/>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1. On-</a:t>
            </a:r>
            <a:r>
              <a:rPr kumimoji="0" lang="en-US" sz="1050" b="0" i="0" u="none" strike="noStrike" kern="1200" cap="none" spc="0" normalizeH="0" baseline="0" noProof="0" err="1">
                <a:ln>
                  <a:noFill/>
                </a:ln>
                <a:solidFill>
                  <a:srgbClr val="4CABD6"/>
                </a:solidFill>
                <a:effectLst/>
                <a:uLnTx/>
                <a:uFillTx/>
                <a:latin typeface="Arial" charset="0"/>
                <a:ea typeface="+mn-ea"/>
                <a:cs typeface="+mn-cs"/>
              </a:rPr>
              <a:t>prem</a:t>
            </a:r>
            <a:r>
              <a:rPr kumimoji="0" lang="en-US" sz="1050" b="0" i="0" u="none" strike="noStrike" kern="1200" cap="none" spc="0" normalizeH="0" baseline="0" noProof="0">
                <a:ln>
                  <a:noFill/>
                </a:ln>
                <a:solidFill>
                  <a:srgbClr val="4CABD6"/>
                </a:solidFill>
                <a:effectLst/>
                <a:uLnTx/>
                <a:uFillTx/>
                <a:latin typeface="Arial" charset="0"/>
                <a:ea typeface="+mn-ea"/>
                <a:cs typeface="+mn-cs"/>
              </a:rPr>
              <a:t> 36%</a:t>
            </a:r>
          </a:p>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2. Off-</a:t>
            </a:r>
            <a:r>
              <a:rPr kumimoji="0" lang="en-US" sz="1050" b="0" i="0" u="none" strike="noStrike" kern="1200" cap="none" spc="0" normalizeH="0" baseline="0" noProof="0" err="1">
                <a:ln>
                  <a:noFill/>
                </a:ln>
                <a:solidFill>
                  <a:srgbClr val="4CABD6"/>
                </a:solidFill>
                <a:effectLst/>
                <a:uLnTx/>
                <a:uFillTx/>
                <a:latin typeface="Arial" charset="0"/>
                <a:ea typeface="+mn-ea"/>
                <a:cs typeface="+mn-cs"/>
              </a:rPr>
              <a:t>prem</a:t>
            </a:r>
            <a:r>
              <a:rPr kumimoji="0" lang="en-US" sz="1050" b="0" i="0" u="none" strike="noStrike" kern="1200" cap="none" spc="0" normalizeH="0" baseline="0" noProof="0">
                <a:ln>
                  <a:noFill/>
                </a:ln>
                <a:solidFill>
                  <a:srgbClr val="4CABD6"/>
                </a:solidFill>
                <a:effectLst/>
                <a:uLnTx/>
                <a:uFillTx/>
                <a:latin typeface="Arial" charset="0"/>
                <a:ea typeface="+mn-ea"/>
                <a:cs typeface="+mn-cs"/>
              </a:rPr>
              <a:t> 22%</a:t>
            </a:r>
          </a:p>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3. Multi-tenant 19%</a:t>
            </a:r>
          </a:p>
        </p:txBody>
      </p:sp>
      <p:grpSp>
        <p:nvGrpSpPr>
          <p:cNvPr id="53" name="Group 52">
            <a:extLst>
              <a:ext uri="{FF2B5EF4-FFF2-40B4-BE49-F238E27FC236}">
                <a16:creationId xmlns:a16="http://schemas.microsoft.com/office/drawing/2014/main" id="{58C1CAC3-4573-8B4B-B841-AC64B3CEC046}"/>
              </a:ext>
            </a:extLst>
          </p:cNvPr>
          <p:cNvGrpSpPr/>
          <p:nvPr/>
        </p:nvGrpSpPr>
        <p:grpSpPr>
          <a:xfrm>
            <a:off x="4766799" y="3624651"/>
            <a:ext cx="657225" cy="658255"/>
            <a:chOff x="7872424" y="1951158"/>
            <a:chExt cx="657225" cy="658255"/>
          </a:xfrm>
        </p:grpSpPr>
        <p:sp>
          <p:nvSpPr>
            <p:cNvPr id="54" name="Oval 53">
              <a:extLst>
                <a:ext uri="{FF2B5EF4-FFF2-40B4-BE49-F238E27FC236}">
                  <a16:creationId xmlns:a16="http://schemas.microsoft.com/office/drawing/2014/main" id="{94AC79C4-F42A-BB47-A8A4-ECD7289F5B99}"/>
                </a:ext>
              </a:extLst>
            </p:cNvPr>
            <p:cNvSpPr/>
            <p:nvPr/>
          </p:nvSpPr>
          <p:spPr>
            <a:xfrm>
              <a:off x="7872424" y="1951158"/>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55" name="Picture 54">
              <a:extLst>
                <a:ext uri="{FF2B5EF4-FFF2-40B4-BE49-F238E27FC236}">
                  <a16:creationId xmlns:a16="http://schemas.microsoft.com/office/drawing/2014/main" id="{8657654B-64E8-1645-8973-85E15B3B794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88404" y="2128421"/>
              <a:ext cx="445067" cy="273398"/>
            </a:xfrm>
            <a:prstGeom prst="rect">
              <a:avLst/>
            </a:prstGeom>
          </p:spPr>
        </p:pic>
      </p:grpSp>
      <p:sp>
        <p:nvSpPr>
          <p:cNvPr id="69" name="Rechteck 68">
            <a:extLst>
              <a:ext uri="{FF2B5EF4-FFF2-40B4-BE49-F238E27FC236}">
                <a16:creationId xmlns:a16="http://schemas.microsoft.com/office/drawing/2014/main" id="{5FD2C9B0-B277-4832-B528-E98DB68BD91F}"/>
              </a:ext>
            </a:extLst>
          </p:cNvPr>
          <p:cNvSpPr/>
          <p:nvPr/>
        </p:nvSpPr>
        <p:spPr>
          <a:xfrm>
            <a:off x="5689942" y="2654841"/>
            <a:ext cx="2843066" cy="257564"/>
          </a:xfrm>
          <a:prstGeom prst="rect">
            <a:avLst/>
          </a:prstGeom>
        </p:spPr>
        <p:txBody>
          <a:bodyPr lIns="0" tIns="0" rIns="0" bIns="0"/>
          <a:lstStyle/>
          <a:p>
            <a:pPr marL="0" marR="0" lvl="0" indent="0" algn="l" defTabSz="914400" rtl="0" eaLnBrk="0" fontAlgn="base" latinLnBrk="0" hangingPunct="0">
              <a:lnSpc>
                <a:spcPct val="95000"/>
              </a:lnSpc>
              <a:spcBef>
                <a:spcPct val="0"/>
              </a:spcBef>
              <a:spcAft>
                <a:spcPct val="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Line of Business Selling</a:t>
            </a:r>
          </a:p>
        </p:txBody>
      </p:sp>
      <p:sp>
        <p:nvSpPr>
          <p:cNvPr id="44" name="TextBox 43">
            <a:extLst>
              <a:ext uri="{FF2B5EF4-FFF2-40B4-BE49-F238E27FC236}">
                <a16:creationId xmlns:a16="http://schemas.microsoft.com/office/drawing/2014/main" id="{72DB6A51-48BF-43FD-86B4-07AC96875291}"/>
              </a:ext>
            </a:extLst>
          </p:cNvPr>
          <p:cNvSpPr txBox="1"/>
          <p:nvPr/>
        </p:nvSpPr>
        <p:spPr>
          <a:xfrm>
            <a:off x="5689942" y="2900776"/>
            <a:ext cx="2546006" cy="161583"/>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
                <a:srgbClr val="84BD00"/>
              </a:buClr>
              <a:buSzTx/>
              <a:buFont typeface="Wingdings" pitchFamily="2" charset="2"/>
              <a:buNone/>
              <a:tabLst/>
              <a:defRPr/>
            </a:pPr>
            <a:r>
              <a:rPr kumimoji="0" lang="en-US" sz="1050" b="0" i="0" u="none" strike="noStrike" kern="1200" cap="none" spc="0" normalizeH="0" baseline="0" noProof="0">
                <a:ln>
                  <a:noFill/>
                </a:ln>
                <a:solidFill>
                  <a:srgbClr val="4CABD6"/>
                </a:solidFill>
                <a:effectLst/>
                <a:uLnTx/>
                <a:uFillTx/>
                <a:latin typeface="Arial" charset="0"/>
                <a:ea typeface="+mn-ea"/>
                <a:cs typeface="+mn-cs"/>
              </a:rPr>
              <a:t>Represents 36% of revenues</a:t>
            </a:r>
          </a:p>
        </p:txBody>
      </p:sp>
      <p:grpSp>
        <p:nvGrpSpPr>
          <p:cNvPr id="56" name="Group 55">
            <a:extLst>
              <a:ext uri="{FF2B5EF4-FFF2-40B4-BE49-F238E27FC236}">
                <a16:creationId xmlns:a16="http://schemas.microsoft.com/office/drawing/2014/main" id="{C8BE66C3-56F8-7747-845A-6905C9162776}"/>
              </a:ext>
            </a:extLst>
          </p:cNvPr>
          <p:cNvGrpSpPr/>
          <p:nvPr/>
        </p:nvGrpSpPr>
        <p:grpSpPr>
          <a:xfrm>
            <a:off x="4766799" y="2590515"/>
            <a:ext cx="657225" cy="658255"/>
            <a:chOff x="6454566" y="1951158"/>
            <a:chExt cx="657225" cy="658255"/>
          </a:xfrm>
        </p:grpSpPr>
        <p:sp>
          <p:nvSpPr>
            <p:cNvPr id="57" name="Oval 56">
              <a:extLst>
                <a:ext uri="{FF2B5EF4-FFF2-40B4-BE49-F238E27FC236}">
                  <a16:creationId xmlns:a16="http://schemas.microsoft.com/office/drawing/2014/main" id="{9E472E86-75A5-5943-8EA3-FA822B145C0A}"/>
                </a:ext>
              </a:extLst>
            </p:cNvPr>
            <p:cNvSpPr/>
            <p:nvPr/>
          </p:nvSpPr>
          <p:spPr>
            <a:xfrm>
              <a:off x="6454566" y="1951158"/>
              <a:ext cx="657225" cy="658255"/>
            </a:xfrm>
            <a:prstGeom prst="ellipse">
              <a:avLst/>
            </a:prstGeom>
            <a:noFill/>
            <a:ln w="19050">
              <a:solidFill>
                <a:srgbClr val="EC563E"/>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nchor="ct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424" b="0" i="0" u="none" strike="noStrike" kern="1200" cap="none" spc="0" normalizeH="0" baseline="0" noProof="0">
                <a:ln>
                  <a:noFill/>
                </a:ln>
                <a:solidFill>
                  <a:prstClr val="white"/>
                </a:solidFill>
                <a:effectLst/>
                <a:uLnTx/>
                <a:uFillTx/>
                <a:latin typeface="Arial"/>
                <a:ea typeface="+mn-ea"/>
                <a:cs typeface="+mn-cs"/>
              </a:endParaRPr>
            </a:p>
          </p:txBody>
        </p:sp>
        <p:pic>
          <p:nvPicPr>
            <p:cNvPr id="58" name="Picture 57">
              <a:extLst>
                <a:ext uri="{FF2B5EF4-FFF2-40B4-BE49-F238E27FC236}">
                  <a16:creationId xmlns:a16="http://schemas.microsoft.com/office/drawing/2014/main" id="{755293E6-4D50-5E44-B9D5-53E70D53A03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94296" y="2166484"/>
              <a:ext cx="399916" cy="264560"/>
            </a:xfrm>
            <a:prstGeom prst="rect">
              <a:avLst/>
            </a:prstGeom>
          </p:spPr>
        </p:pic>
      </p:grpSp>
      <p:pic>
        <p:nvPicPr>
          <p:cNvPr id="2" name="Picture 1">
            <a:extLst>
              <a:ext uri="{FF2B5EF4-FFF2-40B4-BE49-F238E27FC236}">
                <a16:creationId xmlns:a16="http://schemas.microsoft.com/office/drawing/2014/main" id="{F78CDFE8-D47F-3740-8E19-3C6CCAEBCC50}"/>
              </a:ext>
            </a:extLst>
          </p:cNvPr>
          <p:cNvPicPr>
            <a:picLocks noChangeAspect="1"/>
          </p:cNvPicPr>
          <p:nvPr/>
        </p:nvPicPr>
        <p:blipFill>
          <a:blip r:embed="rId9"/>
          <a:stretch>
            <a:fillRect/>
          </a:stretch>
        </p:blipFill>
        <p:spPr>
          <a:xfrm>
            <a:off x="0" y="0"/>
            <a:ext cx="9144000" cy="5143500"/>
          </a:xfrm>
          <a:prstGeom prst="rect">
            <a:avLst/>
          </a:prstGeom>
        </p:spPr>
      </p:pic>
    </p:spTree>
    <p:extLst>
      <p:ext uri="{BB962C8B-B14F-4D97-AF65-F5344CB8AC3E}">
        <p14:creationId xmlns:p14="http://schemas.microsoft.com/office/powerpoint/2010/main" val="3003413170"/>
      </p:ext>
    </p:extLst>
  </p:cSld>
  <p:clrMapOvr>
    <a:masterClrMapping/>
  </p:clrMapOvr>
  <p:transition spd="slow">
    <p:circl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B9C57A-E001-F247-AD48-CB96AD74EBCF}"/>
              </a:ext>
            </a:extLst>
          </p:cNvPr>
          <p:cNvSpPr>
            <a:spLocks noGrp="1"/>
          </p:cNvSpPr>
          <p:nvPr>
            <p:ph type="title"/>
          </p:nvPr>
        </p:nvSpPr>
        <p:spPr>
          <a:xfrm>
            <a:off x="342900" y="367450"/>
            <a:ext cx="8458198" cy="535781"/>
          </a:xfrm>
        </p:spPr>
        <p:txBody>
          <a:bodyPr/>
          <a:lstStyle/>
          <a:p>
            <a:r>
              <a:rPr lang="en-US"/>
              <a:t>Earn More with </a:t>
            </a:r>
            <a:r>
              <a:rPr lang="en-US" err="1"/>
              <a:t>FlexPod</a:t>
            </a:r>
            <a:endParaRPr lang="en-US"/>
          </a:p>
        </p:txBody>
      </p:sp>
      <p:sp>
        <p:nvSpPr>
          <p:cNvPr id="42" name="Rectangle 41"/>
          <p:cNvSpPr>
            <a:spLocks noChangeAspect="1"/>
          </p:cNvSpPr>
          <p:nvPr/>
        </p:nvSpPr>
        <p:spPr>
          <a:xfrm>
            <a:off x="1413881" y="3018441"/>
            <a:ext cx="1840149" cy="53578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Nexus/ACI Bundle Promo</a:t>
            </a: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Build-in bundle discounts</a:t>
            </a:r>
          </a:p>
        </p:txBody>
      </p:sp>
      <p:sp>
        <p:nvSpPr>
          <p:cNvPr id="50" name="Rectangle 49"/>
          <p:cNvSpPr>
            <a:spLocks noChangeAspect="1"/>
          </p:cNvSpPr>
          <p:nvPr/>
        </p:nvSpPr>
        <p:spPr>
          <a:xfrm>
            <a:off x="2423926" y="2319972"/>
            <a:ext cx="1840149" cy="53578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sng" strike="noStrike" kern="1200" cap="none" spc="0" normalizeH="0" baseline="0" noProof="0" err="1">
                <a:ln>
                  <a:noFill/>
                </a:ln>
                <a:solidFill>
                  <a:srgbClr val="FFFFFF"/>
                </a:solidFill>
                <a:effectLst/>
                <a:uLnTx/>
                <a:uFillTx/>
                <a:latin typeface="Arial" panose="020B0604020202020204"/>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SeedIT</a:t>
            </a:r>
            <a:r>
              <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First-Time Buyer</a:t>
            </a:r>
            <a:endPar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p to 70% rebate</a:t>
            </a:r>
          </a:p>
        </p:txBody>
      </p:sp>
      <p:sp>
        <p:nvSpPr>
          <p:cNvPr id="57" name="Rectangle 56"/>
          <p:cNvSpPr>
            <a:spLocks noChangeAspect="1"/>
          </p:cNvSpPr>
          <p:nvPr/>
        </p:nvSpPr>
        <p:spPr>
          <a:xfrm>
            <a:off x="2423926" y="1635380"/>
            <a:ext cx="1840148" cy="53578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Refresh to the Future (R2F) </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p to 8K reward</a:t>
            </a:r>
          </a:p>
        </p:txBody>
      </p:sp>
      <p:sp>
        <p:nvSpPr>
          <p:cNvPr id="78" name="Rectangle 77"/>
          <p:cNvSpPr>
            <a:spLocks noChangeAspect="1"/>
          </p:cNvSpPr>
          <p:nvPr/>
        </p:nvSpPr>
        <p:spPr>
          <a:xfrm>
            <a:off x="348694" y="2315627"/>
            <a:ext cx="1840148" cy="53578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PE Competitive </a:t>
            </a: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p to 70% by selling UCS</a:t>
            </a:r>
          </a:p>
        </p:txBody>
      </p:sp>
      <p:sp>
        <p:nvSpPr>
          <p:cNvPr id="89" name="Rectangle 88"/>
          <p:cNvSpPr>
            <a:spLocks noChangeAspect="1"/>
          </p:cNvSpPr>
          <p:nvPr/>
        </p:nvSpPr>
        <p:spPr>
          <a:xfrm>
            <a:off x="348694" y="1635380"/>
            <a:ext cx="1840148" cy="53578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hlinkClick r:id="rId7">
                  <a:extLst>
                    <a:ext uri="{A12FA001-AC4F-418D-AE19-62706E023703}">
                      <ahyp:hlinkClr xmlns:ahyp="http://schemas.microsoft.com/office/drawing/2018/hyperlinkcolor" val="tx"/>
                    </a:ext>
                  </a:extLst>
                </a:hlinkClick>
              </a:rPr>
              <a:t>Account Breakaway</a:t>
            </a: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p to 70% rebate</a:t>
            </a:r>
          </a:p>
        </p:txBody>
      </p:sp>
      <p:sp>
        <p:nvSpPr>
          <p:cNvPr id="14" name="TextBox 13">
            <a:extLst>
              <a:ext uri="{FF2B5EF4-FFF2-40B4-BE49-F238E27FC236}">
                <a16:creationId xmlns:a16="http://schemas.microsoft.com/office/drawing/2014/main" id="{82809B89-5C11-4AB4-AFCD-DFEF51ADA9F2}"/>
              </a:ext>
            </a:extLst>
          </p:cNvPr>
          <p:cNvSpPr txBox="1"/>
          <p:nvPr/>
        </p:nvSpPr>
        <p:spPr>
          <a:xfrm>
            <a:off x="494461" y="1179072"/>
            <a:ext cx="184731" cy="323165"/>
          </a:xfrm>
          <a:prstGeom prst="rect">
            <a:avLst/>
          </a:prstGeom>
          <a:noFill/>
        </p:spPr>
        <p:txBody>
          <a:bodyPr wrap="none" rtlCol="0">
            <a:spAutoFit/>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a:ea typeface="+mn-ea"/>
              <a:cs typeface="+mn-cs"/>
            </a:endParaRPr>
          </a:p>
        </p:txBody>
      </p:sp>
      <p:sp>
        <p:nvSpPr>
          <p:cNvPr id="24" name="Title 1">
            <a:extLst>
              <a:ext uri="{FF2B5EF4-FFF2-40B4-BE49-F238E27FC236}">
                <a16:creationId xmlns:a16="http://schemas.microsoft.com/office/drawing/2014/main" id="{AA04DAAB-6615-48BD-B8CD-F6AFF24DDBE6}"/>
              </a:ext>
            </a:extLst>
          </p:cNvPr>
          <p:cNvSpPr txBox="1">
            <a:spLocks/>
          </p:cNvSpPr>
          <p:nvPr/>
        </p:nvSpPr>
        <p:spPr bwMode="auto">
          <a:xfrm>
            <a:off x="4872444" y="1257387"/>
            <a:ext cx="4001212"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3000" b="1">
                <a:solidFill>
                  <a:schemeClr val="tx1"/>
                </a:solidFill>
                <a:latin typeface="Arial" charset="0"/>
              </a:defRPr>
            </a:lvl2pPr>
            <a:lvl3pPr algn="l" rtl="0" eaLnBrk="0" fontAlgn="base" hangingPunct="0">
              <a:spcBef>
                <a:spcPct val="0"/>
              </a:spcBef>
              <a:spcAft>
                <a:spcPct val="0"/>
              </a:spcAft>
              <a:defRPr sz="3000" b="1">
                <a:solidFill>
                  <a:schemeClr val="tx1"/>
                </a:solidFill>
                <a:latin typeface="Arial" charset="0"/>
              </a:defRPr>
            </a:lvl3pPr>
            <a:lvl4pPr algn="l" rtl="0" eaLnBrk="0" fontAlgn="base" hangingPunct="0">
              <a:spcBef>
                <a:spcPct val="0"/>
              </a:spcBef>
              <a:spcAft>
                <a:spcPct val="0"/>
              </a:spcAft>
              <a:defRPr sz="3000" b="1">
                <a:solidFill>
                  <a:schemeClr val="tx1"/>
                </a:solidFill>
                <a:latin typeface="Arial" charset="0"/>
              </a:defRPr>
            </a:lvl4pPr>
            <a:lvl5pPr algn="l" rtl="0" eaLnBrk="0" fontAlgn="base" hangingPunct="0">
              <a:spcBef>
                <a:spcPct val="0"/>
              </a:spcBef>
              <a:spcAft>
                <a:spcPct val="0"/>
              </a:spcAft>
              <a:defRPr sz="3000" b="1">
                <a:solidFill>
                  <a:schemeClr val="tx1"/>
                </a:solidFill>
                <a:latin typeface="Arial" charset="0"/>
              </a:defRPr>
            </a:lvl5pPr>
            <a:lvl6pPr marL="457118" algn="l" rtl="0" fontAlgn="base">
              <a:spcBef>
                <a:spcPct val="0"/>
              </a:spcBef>
              <a:spcAft>
                <a:spcPct val="0"/>
              </a:spcAft>
              <a:defRPr sz="3000" b="1">
                <a:solidFill>
                  <a:schemeClr val="tx1"/>
                </a:solidFill>
                <a:latin typeface="Arial" charset="0"/>
              </a:defRPr>
            </a:lvl6pPr>
            <a:lvl7pPr marL="914243" algn="l" rtl="0" fontAlgn="base">
              <a:spcBef>
                <a:spcPct val="0"/>
              </a:spcBef>
              <a:spcAft>
                <a:spcPct val="0"/>
              </a:spcAft>
              <a:defRPr sz="3000" b="1">
                <a:solidFill>
                  <a:schemeClr val="tx1"/>
                </a:solidFill>
                <a:latin typeface="Arial" charset="0"/>
              </a:defRPr>
            </a:lvl7pPr>
            <a:lvl8pPr marL="1371362" algn="l" rtl="0" fontAlgn="base">
              <a:spcBef>
                <a:spcPct val="0"/>
              </a:spcBef>
              <a:spcAft>
                <a:spcPct val="0"/>
              </a:spcAft>
              <a:defRPr sz="3000" b="1">
                <a:solidFill>
                  <a:schemeClr val="tx1"/>
                </a:solidFill>
                <a:latin typeface="Arial" charset="0"/>
              </a:defRPr>
            </a:lvl8pPr>
            <a:lvl9pPr marL="1828484" algn="l" rtl="0" fontAlgn="base">
              <a:spcBef>
                <a:spcPct val="0"/>
              </a:spcBef>
              <a:spcAft>
                <a:spcPct val="0"/>
              </a:spcAft>
              <a:defRPr sz="3000" b="1">
                <a:solidFill>
                  <a:schemeClr val="tx1"/>
                </a:solidFill>
                <a:latin typeface="Arial"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0B5687"/>
                </a:solidFill>
                <a:effectLst/>
                <a:uLnTx/>
                <a:uFillTx/>
                <a:latin typeface="Arial" panose="020B0604020202020204"/>
                <a:ea typeface="+mj-ea"/>
                <a:cs typeface="Arial" panose="020B0604020202020204" pitchFamily="34" charset="0"/>
              </a:rPr>
              <a:t>NetApp Partner Discount and Rebate Programs</a:t>
            </a:r>
          </a:p>
        </p:txBody>
      </p:sp>
      <p:sp>
        <p:nvSpPr>
          <p:cNvPr id="25" name="Rounded Rectangle 77">
            <a:extLst>
              <a:ext uri="{FF2B5EF4-FFF2-40B4-BE49-F238E27FC236}">
                <a16:creationId xmlns:a16="http://schemas.microsoft.com/office/drawing/2014/main" id="{05FF3228-974A-2D41-ABFA-245D14202F40}"/>
              </a:ext>
            </a:extLst>
          </p:cNvPr>
          <p:cNvSpPr>
            <a:spLocks noChangeAspect="1"/>
          </p:cNvSpPr>
          <p:nvPr/>
        </p:nvSpPr>
        <p:spPr>
          <a:xfrm>
            <a:off x="7033508" y="1645188"/>
            <a:ext cx="1840149" cy="5357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New Account Incentiv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5% rebate, claimless</a:t>
            </a:r>
          </a:p>
        </p:txBody>
      </p:sp>
      <p:sp>
        <p:nvSpPr>
          <p:cNvPr id="26" name="Rounded Rectangle 88">
            <a:extLst>
              <a:ext uri="{FF2B5EF4-FFF2-40B4-BE49-F238E27FC236}">
                <a16:creationId xmlns:a16="http://schemas.microsoft.com/office/drawing/2014/main" id="{3F66286D-A861-AC43-A3C1-57A0C3041F25}"/>
              </a:ext>
            </a:extLst>
          </p:cNvPr>
          <p:cNvSpPr>
            <a:spLocks noChangeAspect="1"/>
          </p:cNvSpPr>
          <p:nvPr/>
        </p:nvSpPr>
        <p:spPr>
          <a:xfrm>
            <a:off x="4872445" y="1636464"/>
            <a:ext cx="1840149" cy="5357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Growth Attainment Rebate</a:t>
            </a:r>
            <a:endPar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AMER only, 5% rebate</a:t>
            </a:r>
          </a:p>
        </p:txBody>
      </p:sp>
      <p:sp>
        <p:nvSpPr>
          <p:cNvPr id="27" name="Rounded Rectangle 77">
            <a:extLst>
              <a:ext uri="{FF2B5EF4-FFF2-40B4-BE49-F238E27FC236}">
                <a16:creationId xmlns:a16="http://schemas.microsoft.com/office/drawing/2014/main" id="{0CA5FDE2-9F35-E24F-8418-37829BF47906}"/>
              </a:ext>
            </a:extLst>
          </p:cNvPr>
          <p:cNvSpPr>
            <a:spLocks noChangeAspect="1"/>
          </p:cNvSpPr>
          <p:nvPr/>
        </p:nvSpPr>
        <p:spPr>
          <a:xfrm>
            <a:off x="5952976" y="3000750"/>
            <a:ext cx="1840149" cy="5357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Additional Program Incentives</a:t>
            </a: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JIP specific $TBD</a:t>
            </a:r>
          </a:p>
        </p:txBody>
      </p:sp>
      <p:sp>
        <p:nvSpPr>
          <p:cNvPr id="28" name="Rounded Rectangle 77">
            <a:extLst>
              <a:ext uri="{FF2B5EF4-FFF2-40B4-BE49-F238E27FC236}">
                <a16:creationId xmlns:a16="http://schemas.microsoft.com/office/drawing/2014/main" id="{0C7E65CA-81F6-684B-9A16-185EC57C8854}"/>
              </a:ext>
            </a:extLst>
          </p:cNvPr>
          <p:cNvSpPr>
            <a:spLocks noChangeAspect="1"/>
          </p:cNvSpPr>
          <p:nvPr/>
        </p:nvSpPr>
        <p:spPr>
          <a:xfrm>
            <a:off x="4879928" y="2319972"/>
            <a:ext cx="1840149" cy="5357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Run to NetApp</a:t>
            </a: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Up to $120K rebate for partner transition services</a:t>
            </a:r>
          </a:p>
        </p:txBody>
      </p:sp>
      <p:sp>
        <p:nvSpPr>
          <p:cNvPr id="29" name="Rounded Rectangle 77">
            <a:extLst>
              <a:ext uri="{FF2B5EF4-FFF2-40B4-BE49-F238E27FC236}">
                <a16:creationId xmlns:a16="http://schemas.microsoft.com/office/drawing/2014/main" id="{55FF7595-45C9-7F49-A78A-7A39B99E355B}"/>
              </a:ext>
            </a:extLst>
          </p:cNvPr>
          <p:cNvSpPr>
            <a:spLocks noChangeAspect="1"/>
          </p:cNvSpPr>
          <p:nvPr/>
        </p:nvSpPr>
        <p:spPr>
          <a:xfrm>
            <a:off x="7033507" y="2303861"/>
            <a:ext cx="1840149" cy="5357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1" i="0" u="sng"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Global Enablement Incentive</a:t>
            </a: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5K specialization rebate</a:t>
            </a:r>
          </a:p>
        </p:txBody>
      </p:sp>
      <p:sp>
        <p:nvSpPr>
          <p:cNvPr id="30" name="Text Placeholder 9">
            <a:extLst>
              <a:ext uri="{FF2B5EF4-FFF2-40B4-BE49-F238E27FC236}">
                <a16:creationId xmlns:a16="http://schemas.microsoft.com/office/drawing/2014/main" id="{D123D855-50E5-2548-AC97-306BF0123082}"/>
              </a:ext>
            </a:extLst>
          </p:cNvPr>
          <p:cNvSpPr txBox="1">
            <a:spLocks/>
          </p:cNvSpPr>
          <p:nvPr/>
        </p:nvSpPr>
        <p:spPr bwMode="auto">
          <a:xfrm>
            <a:off x="348694" y="1257300"/>
            <a:ext cx="3859213"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06957" indent="-206957" algn="l" rtl="0" eaLnBrk="1" fontAlgn="base" hangingPunct="1">
              <a:spcBef>
                <a:spcPts val="676"/>
              </a:spcBef>
              <a:spcAft>
                <a:spcPct val="0"/>
              </a:spcAft>
              <a:buClrTx/>
              <a:buFont typeface="Arial"/>
              <a:buChar char="•"/>
              <a:defRPr sz="1800">
                <a:solidFill>
                  <a:schemeClr val="tx2"/>
                </a:solidFill>
                <a:latin typeface="+mn-lt"/>
                <a:ea typeface="+mn-ea"/>
                <a:cs typeface="+mn-cs"/>
              </a:defRPr>
            </a:lvl1pPr>
            <a:lvl2pPr marL="545036" indent="-245048" algn="l" rtl="0" eaLnBrk="1" fontAlgn="base" hangingPunct="1">
              <a:spcBef>
                <a:spcPts val="624"/>
              </a:spcBef>
              <a:spcAft>
                <a:spcPct val="0"/>
              </a:spcAft>
              <a:buClrTx/>
              <a:buFont typeface="Arial"/>
              <a:buChar char="•"/>
              <a:defRPr sz="1600">
                <a:solidFill>
                  <a:schemeClr val="tx2"/>
                </a:solidFill>
                <a:latin typeface="+mn-lt"/>
              </a:defRPr>
            </a:lvl2pPr>
            <a:lvl3pPr marL="835499" indent="-197436" algn="l" rtl="0" eaLnBrk="1" fontAlgn="base" hangingPunct="1">
              <a:spcBef>
                <a:spcPts val="576"/>
              </a:spcBef>
              <a:spcAft>
                <a:spcPct val="0"/>
              </a:spcAft>
              <a:buClrTx/>
              <a:buFont typeface="Arial"/>
              <a:buChar char="•"/>
              <a:defRPr sz="1400">
                <a:solidFill>
                  <a:schemeClr val="tx2"/>
                </a:solidFill>
                <a:latin typeface="+mn-lt"/>
              </a:defRPr>
            </a:lvl3pPr>
            <a:lvl4pPr marL="1145006" indent="-216482" algn="l" rtl="0" eaLnBrk="1" fontAlgn="base" hangingPunct="1">
              <a:spcBef>
                <a:spcPts val="480"/>
              </a:spcBef>
              <a:spcAft>
                <a:spcPct val="0"/>
              </a:spcAft>
              <a:buClrTx/>
              <a:buFont typeface="Arial"/>
              <a:buChar char="•"/>
              <a:defRPr sz="1200">
                <a:solidFill>
                  <a:schemeClr val="tx2"/>
                </a:solidFill>
                <a:latin typeface="+mn-lt"/>
              </a:defRPr>
            </a:lvl4pPr>
            <a:lvl5pPr marL="1413248" indent="-175217" algn="l" rtl="0" eaLnBrk="1" fontAlgn="base" hangingPunct="1">
              <a:spcBef>
                <a:spcPts val="480"/>
              </a:spcBef>
              <a:spcAft>
                <a:spcPct val="0"/>
              </a:spcAft>
              <a:buClrTx/>
              <a:buFont typeface="Arial"/>
              <a:buChar char="•"/>
              <a:defRPr sz="1100">
                <a:solidFill>
                  <a:schemeClr val="tx2"/>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a:lstStyle>
          <a:p>
            <a:pPr marL="0" marR="0" lvl="0" indent="0" algn="l" defTabSz="914378" rtl="0" eaLnBrk="1" fontAlgn="base" latinLnBrk="0" hangingPunct="1">
              <a:lnSpc>
                <a:spcPct val="100000"/>
              </a:lnSpc>
              <a:spcBef>
                <a:spcPts val="676"/>
              </a:spcBef>
              <a:spcAft>
                <a:spcPct val="0"/>
              </a:spcAft>
              <a:buClrTx/>
              <a:buSzTx/>
              <a:buFont typeface="Arial"/>
              <a:buNone/>
              <a:tabLst/>
              <a:defRPr/>
            </a:pPr>
            <a:r>
              <a:rPr kumimoji="0" lang="en-US" sz="1400" b="1" i="0" u="none" strike="noStrike" kern="0" cap="none" spc="0" normalizeH="0" baseline="0" noProof="0">
                <a:ln>
                  <a:noFill/>
                </a:ln>
                <a:solidFill>
                  <a:srgbClr val="4CABD6"/>
                </a:solidFill>
                <a:effectLst/>
                <a:uLnTx/>
                <a:uFillTx/>
                <a:latin typeface="Arial" panose="020B0604020202020204"/>
                <a:ea typeface="+mn-ea"/>
                <a:cs typeface="Arial" panose="020B0604020202020204" pitchFamily="34" charset="0"/>
              </a:rPr>
              <a:t>Cisco Partner Discount and Rebate Programs </a:t>
            </a:r>
            <a:endParaRPr kumimoji="0" lang="en-US" sz="1400" b="0" i="0" u="none" strike="noStrike" kern="0" cap="none" spc="0" normalizeH="0" baseline="0" noProof="0">
              <a:ln>
                <a:noFill/>
              </a:ln>
              <a:solidFill>
                <a:srgbClr val="211F20"/>
              </a:solidFill>
              <a:effectLst/>
              <a:uLnTx/>
              <a:uFillTx/>
              <a:latin typeface="Arial" panose="020B0604020202020204"/>
              <a:ea typeface="+mn-ea"/>
              <a:cs typeface="+mn-cs"/>
            </a:endParaRPr>
          </a:p>
        </p:txBody>
      </p:sp>
      <p:sp>
        <p:nvSpPr>
          <p:cNvPr id="15" name="Footer Placeholder 14">
            <a:extLst>
              <a:ext uri="{FF2B5EF4-FFF2-40B4-BE49-F238E27FC236}">
                <a16:creationId xmlns:a16="http://schemas.microsoft.com/office/drawing/2014/main" id="{8D98DE6B-78E2-E841-880A-3FF7B3C35659}"/>
              </a:ext>
            </a:extLst>
          </p:cNvPr>
          <p:cNvSpPr>
            <a:spLocks noGrp="1"/>
          </p:cNvSpPr>
          <p:nvPr>
            <p:ph type="ftr" sz="quarter" idx="10"/>
          </p:nvPr>
        </p:nvSpPr>
        <p:spPr/>
        <p:txBody>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4D4848"/>
                </a:solidFill>
                <a:effectLst/>
                <a:uLnTx/>
                <a:uFillTx/>
                <a:latin typeface="Arial" charset="0"/>
                <a:ea typeface="+mn-ea"/>
                <a:cs typeface="+mn-cs"/>
              </a:rPr>
              <a:t>© 2019 NetApp, Inc. All rights reserved. </a:t>
            </a:r>
          </a:p>
        </p:txBody>
      </p:sp>
      <p:sp>
        <p:nvSpPr>
          <p:cNvPr id="5" name="Rectangle 4">
            <a:extLst>
              <a:ext uri="{FF2B5EF4-FFF2-40B4-BE49-F238E27FC236}">
                <a16:creationId xmlns:a16="http://schemas.microsoft.com/office/drawing/2014/main" id="{C7B2811A-AB0E-497B-90D3-84CF0B55B3A2}"/>
              </a:ext>
            </a:extLst>
          </p:cNvPr>
          <p:cNvSpPr/>
          <p:nvPr/>
        </p:nvSpPr>
        <p:spPr>
          <a:xfrm>
            <a:off x="4802155" y="4312060"/>
            <a:ext cx="4141788" cy="253146"/>
          </a:xfrm>
          <a:prstGeom prst="rect">
            <a:avLst/>
          </a:prstGeom>
        </p:spPr>
        <p:txBody>
          <a:bodyPr wrap="square">
            <a:spAutoFit/>
          </a:bodyPr>
          <a:lstStyle/>
          <a:p>
            <a:pPr marL="0" marR="0" lvl="1" indent="0" algn="l" defTabSz="914378" rtl="0" eaLnBrk="1" fontAlgn="base" latinLnBrk="0" hangingPunct="1">
              <a:lnSpc>
                <a:spcPct val="95000"/>
              </a:lnSpc>
              <a:spcBef>
                <a:spcPts val="1200"/>
              </a:spcBef>
              <a:spcAft>
                <a:spcPct val="0"/>
              </a:spcAft>
              <a:buClr>
                <a:srgbClr val="0067C5"/>
              </a:buClr>
              <a:buSzTx/>
              <a:buFontTx/>
              <a:buNone/>
              <a:tabLst/>
              <a:defRPr/>
            </a:pPr>
            <a:r>
              <a:rPr kumimoji="0" lang="en-US" sz="1100" b="0" i="0" u="none" strike="noStrike" kern="1200" cap="none" spc="0" normalizeH="0" baseline="0" noProof="0">
                <a:ln>
                  <a:noFill/>
                </a:ln>
                <a:solidFill>
                  <a:srgbClr val="4D4848"/>
                </a:solidFill>
                <a:effectLst/>
                <a:uLnTx/>
                <a:uFillTx/>
                <a:latin typeface="Arial" charset="0"/>
                <a:ea typeface="+mn-ea"/>
                <a:cs typeface="+mn-cs"/>
              </a:rPr>
              <a:t>Visit the </a:t>
            </a:r>
            <a:r>
              <a:rPr kumimoji="0" lang="en-US" sz="1100" b="0" i="0" u="none" strike="noStrike" kern="1200" cap="none" spc="0" normalizeH="0" baseline="0" noProof="0">
                <a:ln>
                  <a:noFill/>
                </a:ln>
                <a:solidFill>
                  <a:prstClr val="white"/>
                </a:solidFill>
                <a:effectLst/>
                <a:uLnTx/>
                <a:uFillTx/>
                <a:latin typeface="Arial" charset="0"/>
                <a:ea typeface="+mn-ea"/>
                <a:cs typeface="+mn-cs"/>
                <a:hlinkClick r:id="rId12"/>
              </a:rPr>
              <a:t>Incentives and Promotions Collection</a:t>
            </a:r>
            <a:r>
              <a:rPr kumimoji="0" lang="en-US" sz="1100" b="0" i="0" u="none" strike="noStrike" kern="1200" cap="none" spc="0" normalizeH="0" baseline="0" noProof="0">
                <a:ln>
                  <a:noFill/>
                </a:ln>
                <a:solidFill>
                  <a:prstClr val="white"/>
                </a:solidFill>
                <a:effectLst/>
                <a:uLnTx/>
                <a:uFillTx/>
                <a:latin typeface="Arial" charset="0"/>
                <a:ea typeface="+mn-ea"/>
                <a:cs typeface="+mn-cs"/>
              </a:rPr>
              <a:t> </a:t>
            </a:r>
            <a:r>
              <a:rPr kumimoji="0" lang="en-US" sz="1100" b="0" i="0" u="none" strike="noStrike" kern="1200" cap="none" spc="0" normalizeH="0" baseline="0" noProof="0">
                <a:ln>
                  <a:noFill/>
                </a:ln>
                <a:solidFill>
                  <a:srgbClr val="4D4848"/>
                </a:solidFill>
                <a:effectLst/>
                <a:uLnTx/>
                <a:uFillTx/>
                <a:latin typeface="Arial" charset="0"/>
                <a:ea typeface="+mn-ea"/>
                <a:cs typeface="+mn-cs"/>
              </a:rPr>
              <a:t>on Partner Hub</a:t>
            </a:r>
          </a:p>
        </p:txBody>
      </p:sp>
    </p:spTree>
    <p:extLst>
      <p:ext uri="{BB962C8B-B14F-4D97-AF65-F5344CB8AC3E}">
        <p14:creationId xmlns:p14="http://schemas.microsoft.com/office/powerpoint/2010/main" val="151692439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FlexPod_Angle1.png">
            <a:extLst>
              <a:ext uri="{FF2B5EF4-FFF2-40B4-BE49-F238E27FC236}">
                <a16:creationId xmlns:a16="http://schemas.microsoft.com/office/drawing/2014/main" id="{EA0D9532-E509-364A-B8B0-32A021F5E0A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3107"/>
          <a:stretch/>
        </p:blipFill>
        <p:spPr>
          <a:xfrm>
            <a:off x="4001311" y="1606637"/>
            <a:ext cx="5142689" cy="3536863"/>
          </a:xfrm>
          <a:prstGeom prst="rect">
            <a:avLst/>
          </a:prstGeom>
        </p:spPr>
      </p:pic>
      <p:sp>
        <p:nvSpPr>
          <p:cNvPr id="2" name="Content Placeholder 1">
            <a:extLst>
              <a:ext uri="{FF2B5EF4-FFF2-40B4-BE49-F238E27FC236}">
                <a16:creationId xmlns:a16="http://schemas.microsoft.com/office/drawing/2014/main" id="{185FD60E-B516-0D49-B0E1-2C3AB6A78205}"/>
              </a:ext>
            </a:extLst>
          </p:cNvPr>
          <p:cNvSpPr>
            <a:spLocks noGrp="1"/>
          </p:cNvSpPr>
          <p:nvPr>
            <p:ph sz="quarter" idx="10"/>
          </p:nvPr>
        </p:nvSpPr>
        <p:spPr>
          <a:xfrm>
            <a:off x="228755" y="1564750"/>
            <a:ext cx="4343245" cy="870221"/>
          </a:xfrm>
        </p:spPr>
        <p:txBody>
          <a:bodyPr/>
          <a:lstStyle/>
          <a:p>
            <a:pPr marL="0" indent="0">
              <a:buNone/>
            </a:pPr>
            <a:r>
              <a:rPr lang="en-US" sz="1600">
                <a:solidFill>
                  <a:srgbClr val="95918F"/>
                </a:solidFill>
              </a:rPr>
              <a:t>Let them know it’s time to consider a refresh to FlexPod. It can drive their modern applications with faster compute, fabric and storage. </a:t>
            </a:r>
          </a:p>
          <a:p>
            <a:endParaRPr lang="en-US">
              <a:solidFill>
                <a:srgbClr val="95918F"/>
              </a:solidFill>
            </a:endParaRPr>
          </a:p>
          <a:p>
            <a:endParaRPr lang="en-US">
              <a:solidFill>
                <a:srgbClr val="95918F"/>
              </a:solidFill>
            </a:endParaRPr>
          </a:p>
        </p:txBody>
      </p:sp>
      <p:sp>
        <p:nvSpPr>
          <p:cNvPr id="3" name="Title 2">
            <a:extLst>
              <a:ext uri="{FF2B5EF4-FFF2-40B4-BE49-F238E27FC236}">
                <a16:creationId xmlns:a16="http://schemas.microsoft.com/office/drawing/2014/main" id="{05C79C8E-7F48-A94D-A95A-64B80558DB8F}"/>
              </a:ext>
            </a:extLst>
          </p:cNvPr>
          <p:cNvSpPr>
            <a:spLocks noGrp="1"/>
          </p:cNvSpPr>
          <p:nvPr>
            <p:ph type="title"/>
          </p:nvPr>
        </p:nvSpPr>
        <p:spPr>
          <a:xfrm>
            <a:off x="228601" y="476893"/>
            <a:ext cx="4790872" cy="951467"/>
          </a:xfrm>
        </p:spPr>
        <p:txBody>
          <a:bodyPr/>
          <a:lstStyle/>
          <a:p>
            <a:r>
              <a:rPr lang="en-US"/>
              <a:t>Is your FlexPod customer ready for a refresh?</a:t>
            </a:r>
          </a:p>
        </p:txBody>
      </p:sp>
      <p:sp>
        <p:nvSpPr>
          <p:cNvPr id="4" name="Content Placeholder 9">
            <a:extLst>
              <a:ext uri="{FF2B5EF4-FFF2-40B4-BE49-F238E27FC236}">
                <a16:creationId xmlns:a16="http://schemas.microsoft.com/office/drawing/2014/main" id="{C9CBBE15-2EE0-5642-9E54-6EDD5779509D}"/>
              </a:ext>
            </a:extLst>
          </p:cNvPr>
          <p:cNvSpPr txBox="1">
            <a:spLocks noChangeArrowheads="1"/>
          </p:cNvSpPr>
          <p:nvPr/>
        </p:nvSpPr>
        <p:spPr bwMode="auto">
          <a:xfrm>
            <a:off x="5532134" y="1428360"/>
            <a:ext cx="3173412" cy="571501"/>
          </a:xfrm>
          <a:prstGeom prst="rect">
            <a:avLst/>
          </a:prstGeom>
          <a:noFill/>
          <a:ln>
            <a:noFill/>
          </a:ln>
        </p:spPr>
        <p:txBody>
          <a:bodyPr lIns="0" tIns="0" rIns="0" bIns="0"/>
          <a:lstStyle>
            <a:lvl1pPr marL="296863" indent="-296863" algn="l" rtl="0" eaLnBrk="1" fontAlgn="base" hangingPunct="1">
              <a:spcBef>
                <a:spcPts val="675"/>
              </a:spcBef>
              <a:spcAft>
                <a:spcPct val="0"/>
              </a:spcAft>
              <a:buClr>
                <a:srgbClr val="83AC3E"/>
              </a:buClr>
              <a:buFont typeface="Arial" charset="0"/>
              <a:buChar char="•"/>
              <a:defRPr>
                <a:solidFill>
                  <a:srgbClr val="000000"/>
                </a:solidFill>
                <a:latin typeface="+mn-lt"/>
                <a:ea typeface="+mn-ea"/>
                <a:cs typeface="+mn-cs"/>
              </a:defRPr>
            </a:lvl1pPr>
            <a:lvl2pPr marL="635000" indent="-334963" algn="l" rtl="0" eaLnBrk="1" fontAlgn="base" hangingPunct="1">
              <a:spcBef>
                <a:spcPts val="625"/>
              </a:spcBef>
              <a:spcAft>
                <a:spcPct val="0"/>
              </a:spcAft>
              <a:buClr>
                <a:schemeClr val="tx1"/>
              </a:buClr>
              <a:buFont typeface="Lucida Grande" charset="0"/>
              <a:buChar char="-"/>
              <a:defRPr sz="1600">
                <a:solidFill>
                  <a:srgbClr val="000000"/>
                </a:solidFill>
                <a:latin typeface="+mn-lt"/>
              </a:defRPr>
            </a:lvl2pPr>
            <a:lvl3pPr marL="925513" indent="-287338" algn="l" rtl="0" eaLnBrk="1" fontAlgn="base" hangingPunct="1">
              <a:spcBef>
                <a:spcPts val="575"/>
              </a:spcBef>
              <a:spcAft>
                <a:spcPct val="0"/>
              </a:spcAft>
              <a:buClr>
                <a:srgbClr val="83AC3E"/>
              </a:buClr>
              <a:buFont typeface="Arial" charset="0"/>
              <a:buChar char="•"/>
              <a:defRPr sz="1600">
                <a:solidFill>
                  <a:srgbClr val="000000"/>
                </a:solidFill>
                <a:latin typeface="+mn-lt"/>
              </a:defRPr>
            </a:lvl3pPr>
            <a:lvl4pPr marL="1235075" indent="-306388" algn="l" rtl="0" eaLnBrk="1" fontAlgn="base" hangingPunct="1">
              <a:spcBef>
                <a:spcPts val="475"/>
              </a:spcBef>
              <a:spcAft>
                <a:spcPct val="0"/>
              </a:spcAft>
              <a:buClr>
                <a:schemeClr val="tx1"/>
              </a:buClr>
              <a:buFont typeface="Lucida Grande" charset="0"/>
              <a:buChar char="-"/>
              <a:defRPr sz="1600">
                <a:solidFill>
                  <a:srgbClr val="000000"/>
                </a:solidFill>
                <a:latin typeface="+mn-lt"/>
              </a:defRPr>
            </a:lvl4pPr>
            <a:lvl5pPr marL="1503363" indent="-265113" algn="l" rtl="0" eaLnBrk="1" fontAlgn="base" hangingPunct="1">
              <a:spcBef>
                <a:spcPts val="475"/>
              </a:spcBef>
              <a:spcAft>
                <a:spcPct val="0"/>
              </a:spcAft>
              <a:buClr>
                <a:srgbClr val="83AC3E"/>
              </a:buClr>
              <a:buFont typeface="Arial" charset="0"/>
              <a:buChar char="•"/>
              <a:defRPr sz="1600">
                <a:solidFill>
                  <a:srgbClr val="000000"/>
                </a:solidFill>
                <a:latin typeface="+mn-lt"/>
              </a:defRPr>
            </a:lvl5pPr>
            <a:lvl6pPr marL="1961807" indent="-266657" algn="l" rtl="0" eaLnBrk="1" fontAlgn="base" hangingPunct="1">
              <a:spcBef>
                <a:spcPct val="20000"/>
              </a:spcBef>
              <a:spcAft>
                <a:spcPct val="0"/>
              </a:spcAft>
              <a:buFont typeface="Wingdings 2" pitchFamily="18" charset="2"/>
              <a:buChar char="¡"/>
              <a:defRPr sz="2000">
                <a:solidFill>
                  <a:schemeClr val="tx1"/>
                </a:solidFill>
                <a:latin typeface="+mn-lt"/>
              </a:defRPr>
            </a:lvl6pPr>
            <a:lvl7pPr marL="2418929" indent="-266657" algn="l" rtl="0" eaLnBrk="1" fontAlgn="base" hangingPunct="1">
              <a:spcBef>
                <a:spcPct val="20000"/>
              </a:spcBef>
              <a:spcAft>
                <a:spcPct val="0"/>
              </a:spcAft>
              <a:buFont typeface="Wingdings 2" pitchFamily="18" charset="2"/>
              <a:buChar char="¡"/>
              <a:defRPr sz="2000">
                <a:solidFill>
                  <a:schemeClr val="tx1"/>
                </a:solidFill>
                <a:latin typeface="+mn-lt"/>
              </a:defRPr>
            </a:lvl7pPr>
            <a:lvl8pPr marL="2876046" indent="-266657" algn="l" rtl="0" eaLnBrk="1" fontAlgn="base" hangingPunct="1">
              <a:spcBef>
                <a:spcPct val="20000"/>
              </a:spcBef>
              <a:spcAft>
                <a:spcPct val="0"/>
              </a:spcAft>
              <a:buFont typeface="Wingdings 2" pitchFamily="18" charset="2"/>
              <a:buChar char="¡"/>
              <a:defRPr sz="2000">
                <a:solidFill>
                  <a:schemeClr val="tx1"/>
                </a:solidFill>
                <a:latin typeface="+mn-lt"/>
              </a:defRPr>
            </a:lvl8pPr>
            <a:lvl9pPr marL="3333169" indent="-266657" algn="l" rtl="0" eaLnBrk="1" fontAlgn="base" hangingPunct="1">
              <a:spcBef>
                <a:spcPct val="20000"/>
              </a:spcBef>
              <a:spcAft>
                <a:spcPct val="0"/>
              </a:spcAft>
              <a:buFont typeface="Wingdings 2" pitchFamily="18" charset="2"/>
              <a:buChar char="¡"/>
              <a:defRPr sz="2000">
                <a:solidFill>
                  <a:schemeClr val="tx1"/>
                </a:solidFill>
                <a:latin typeface="+mn-lt"/>
              </a:defRPr>
            </a:lvl9pPr>
          </a:lstStyle>
          <a:p>
            <a:pPr marL="0" marR="0" lvl="0" indent="0" algn="l" defTabSz="914400" rtl="0" eaLnBrk="1" fontAlgn="base" latinLnBrk="0" hangingPunct="1">
              <a:lnSpc>
                <a:spcPct val="100000"/>
              </a:lnSpc>
              <a:spcBef>
                <a:spcPts val="675"/>
              </a:spcBef>
              <a:spcAft>
                <a:spcPct val="0"/>
              </a:spcAft>
              <a:buClr>
                <a:srgbClr val="83AC3E"/>
              </a:buClr>
              <a:buSzTx/>
              <a:buFont typeface="Arial" charset="0"/>
              <a:buNone/>
              <a:tabLst/>
              <a:defRPr/>
            </a:pPr>
            <a:r>
              <a:rPr kumimoji="0" lang="en-US" altLang="en-US" sz="1200" b="0" i="0" u="none" strike="noStrike" kern="0" cap="none" spc="0" normalizeH="0" baseline="0" noProof="0">
                <a:ln>
                  <a:noFill/>
                </a:ln>
                <a:solidFill>
                  <a:prstClr val="white"/>
                </a:solidFill>
                <a:effectLst/>
                <a:uLnTx/>
                <a:uFillTx/>
                <a:latin typeface="Arial"/>
                <a:ea typeface="+mn-ea"/>
                <a:cs typeface="+mn-cs"/>
              </a:rPr>
              <a:t>FlexPod workloads are well-aligned to realize maximum benefit from flash, including:</a:t>
            </a:r>
          </a:p>
        </p:txBody>
      </p:sp>
      <p:grpSp>
        <p:nvGrpSpPr>
          <p:cNvPr id="5" name="Group 6">
            <a:extLst>
              <a:ext uri="{FF2B5EF4-FFF2-40B4-BE49-F238E27FC236}">
                <a16:creationId xmlns:a16="http://schemas.microsoft.com/office/drawing/2014/main" id="{CC2078B0-7AB8-794D-A74C-122F9A53B48D}"/>
              </a:ext>
            </a:extLst>
          </p:cNvPr>
          <p:cNvGrpSpPr>
            <a:grpSpLocks/>
          </p:cNvGrpSpPr>
          <p:nvPr/>
        </p:nvGrpSpPr>
        <p:grpSpPr bwMode="auto">
          <a:xfrm>
            <a:off x="5459346" y="2919684"/>
            <a:ext cx="2251075" cy="612775"/>
            <a:chOff x="6507115" y="2487634"/>
            <a:chExt cx="2251447" cy="612424"/>
          </a:xfrm>
        </p:grpSpPr>
        <p:sp>
          <p:nvSpPr>
            <p:cNvPr id="6" name="TextBox 5">
              <a:extLst>
                <a:ext uri="{FF2B5EF4-FFF2-40B4-BE49-F238E27FC236}">
                  <a16:creationId xmlns:a16="http://schemas.microsoft.com/office/drawing/2014/main" id="{CA3016A2-5BD8-7941-A3F4-8843D77FDC89}"/>
                </a:ext>
              </a:extLst>
            </p:cNvPr>
            <p:cNvSpPr txBox="1">
              <a:spLocks/>
            </p:cNvSpPr>
            <p:nvPr/>
          </p:nvSpPr>
          <p:spPr bwMode="gray">
            <a:xfrm>
              <a:off x="6507115" y="2487634"/>
              <a:ext cx="1160655" cy="461697"/>
            </a:xfrm>
            <a:prstGeom prst="rect">
              <a:avLst/>
            </a:prstGeom>
            <a:noFill/>
            <a:ln>
              <a:noFill/>
            </a:ln>
          </p:spPr>
          <p:txBody>
            <a:bodyPr lIns="68580" tIns="34290" rIns="68580" bIns="34290"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00" cap="none" spc="-100" normalizeH="0" baseline="0" noProof="0">
                  <a:ln>
                    <a:noFill/>
                  </a:ln>
                  <a:solidFill>
                    <a:prstClr val="white"/>
                  </a:solidFill>
                  <a:effectLst/>
                  <a:uLnTx/>
                  <a:uFillTx/>
                  <a:latin typeface="Arial" charset="0"/>
                  <a:ea typeface="+mn-ea"/>
                  <a:cs typeface="+mn-cs"/>
                </a:rPr>
                <a:t>76%</a:t>
              </a:r>
            </a:p>
          </p:txBody>
        </p:sp>
        <p:sp>
          <p:nvSpPr>
            <p:cNvPr id="7" name="TextBox 15">
              <a:extLst>
                <a:ext uri="{FF2B5EF4-FFF2-40B4-BE49-F238E27FC236}">
                  <a16:creationId xmlns:a16="http://schemas.microsoft.com/office/drawing/2014/main" id="{0D4005C6-3D97-A64D-A211-258DFC2964AA}"/>
                </a:ext>
              </a:extLst>
            </p:cNvPr>
            <p:cNvSpPr txBox="1">
              <a:spLocks/>
            </p:cNvSpPr>
            <p:nvPr/>
          </p:nvSpPr>
          <p:spPr bwMode="gray">
            <a:xfrm>
              <a:off x="6519645" y="2846142"/>
              <a:ext cx="223891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power and cooling savings*</a:t>
              </a:r>
            </a:p>
          </p:txBody>
        </p:sp>
      </p:grpSp>
      <p:grpSp>
        <p:nvGrpSpPr>
          <p:cNvPr id="8" name="Group 4">
            <a:extLst>
              <a:ext uri="{FF2B5EF4-FFF2-40B4-BE49-F238E27FC236}">
                <a16:creationId xmlns:a16="http://schemas.microsoft.com/office/drawing/2014/main" id="{2C306C9B-119B-224E-AAC6-84A9E42969EB}"/>
              </a:ext>
            </a:extLst>
          </p:cNvPr>
          <p:cNvGrpSpPr>
            <a:grpSpLocks/>
          </p:cNvGrpSpPr>
          <p:nvPr/>
        </p:nvGrpSpPr>
        <p:grpSpPr bwMode="auto">
          <a:xfrm>
            <a:off x="5459346" y="2048146"/>
            <a:ext cx="2201863" cy="657225"/>
            <a:chOff x="5202297" y="2462771"/>
            <a:chExt cx="2202129" cy="658114"/>
          </a:xfrm>
        </p:grpSpPr>
        <p:sp>
          <p:nvSpPr>
            <p:cNvPr id="9" name="TextBox 8">
              <a:extLst>
                <a:ext uri="{FF2B5EF4-FFF2-40B4-BE49-F238E27FC236}">
                  <a16:creationId xmlns:a16="http://schemas.microsoft.com/office/drawing/2014/main" id="{F199AB75-B4D9-B14B-9782-4878C4CB40E9}"/>
                </a:ext>
              </a:extLst>
            </p:cNvPr>
            <p:cNvSpPr txBox="1">
              <a:spLocks/>
            </p:cNvSpPr>
            <p:nvPr/>
          </p:nvSpPr>
          <p:spPr bwMode="gray">
            <a:xfrm>
              <a:off x="5210236" y="2462771"/>
              <a:ext cx="1252688" cy="489611"/>
            </a:xfrm>
            <a:prstGeom prst="rect">
              <a:avLst/>
            </a:prstGeom>
            <a:noFill/>
            <a:ln>
              <a:noFill/>
            </a:ln>
          </p:spPr>
          <p:txBody>
            <a:bodyPr lIns="68580" tIns="34290" rIns="68580" bIns="34290"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00" cap="none" spc="-50" normalizeH="0" baseline="0" noProof="0">
                  <a:ln>
                    <a:noFill/>
                  </a:ln>
                  <a:solidFill>
                    <a:prstClr val="white"/>
                  </a:solidFill>
                  <a:effectLst/>
                  <a:uLnTx/>
                  <a:uFillTx/>
                  <a:latin typeface="Arial" charset="0"/>
                  <a:ea typeface="+mn-ea"/>
                  <a:cs typeface="+mn-cs"/>
                </a:rPr>
                <a:t>48%</a:t>
              </a:r>
            </a:p>
          </p:txBody>
        </p:sp>
        <p:sp>
          <p:nvSpPr>
            <p:cNvPr id="10" name="Rectangle 18">
              <a:extLst>
                <a:ext uri="{FF2B5EF4-FFF2-40B4-BE49-F238E27FC236}">
                  <a16:creationId xmlns:a16="http://schemas.microsoft.com/office/drawing/2014/main" id="{E3F11088-8C2A-7541-907E-3E5A59A2ADCB}"/>
                </a:ext>
              </a:extLst>
            </p:cNvPr>
            <p:cNvSpPr>
              <a:spLocks noChangeArrowheads="1"/>
            </p:cNvSpPr>
            <p:nvPr/>
          </p:nvSpPr>
          <p:spPr bwMode="auto">
            <a:xfrm>
              <a:off x="5202297" y="2843886"/>
              <a:ext cx="22021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dministration time back*</a:t>
              </a:r>
            </a:p>
          </p:txBody>
        </p:sp>
      </p:grpSp>
      <p:grpSp>
        <p:nvGrpSpPr>
          <p:cNvPr id="11" name="Group 7">
            <a:extLst>
              <a:ext uri="{FF2B5EF4-FFF2-40B4-BE49-F238E27FC236}">
                <a16:creationId xmlns:a16="http://schemas.microsoft.com/office/drawing/2014/main" id="{39A36E8A-E74A-B54C-A051-D8247994BFBC}"/>
              </a:ext>
            </a:extLst>
          </p:cNvPr>
          <p:cNvGrpSpPr>
            <a:grpSpLocks/>
          </p:cNvGrpSpPr>
          <p:nvPr/>
        </p:nvGrpSpPr>
        <p:grpSpPr bwMode="auto">
          <a:xfrm>
            <a:off x="5459347" y="3635646"/>
            <a:ext cx="2079624" cy="739775"/>
            <a:chOff x="7892155" y="2263755"/>
            <a:chExt cx="2078829" cy="739765"/>
          </a:xfrm>
        </p:grpSpPr>
        <p:sp>
          <p:nvSpPr>
            <p:cNvPr id="12" name="TextBox 11">
              <a:extLst>
                <a:ext uri="{FF2B5EF4-FFF2-40B4-BE49-F238E27FC236}">
                  <a16:creationId xmlns:a16="http://schemas.microsoft.com/office/drawing/2014/main" id="{A5FB2F1A-E8FA-2B47-A383-F6A4179BACB3}"/>
                </a:ext>
              </a:extLst>
            </p:cNvPr>
            <p:cNvSpPr txBox="1">
              <a:spLocks/>
            </p:cNvSpPr>
            <p:nvPr/>
          </p:nvSpPr>
          <p:spPr bwMode="gray">
            <a:xfrm>
              <a:off x="7892155" y="2263755"/>
              <a:ext cx="1104478" cy="571492"/>
            </a:xfrm>
            <a:prstGeom prst="rect">
              <a:avLst/>
            </a:prstGeom>
            <a:noFill/>
            <a:ln>
              <a:noFill/>
            </a:ln>
          </p:spPr>
          <p:txBody>
            <a:bodyPr lIns="68580" tIns="34290" rIns="68580" bIns="34290" anchor="b"/>
            <a:lstStyle>
              <a:defPPr>
                <a:defRPr lang="en-US"/>
              </a:defPPr>
              <a:lvl1pPr algn="ctr">
                <a:defRPr sz="3000" b="1" kern="100" spc="-50">
                  <a:gradFill>
                    <a:gsLst>
                      <a:gs pos="100000">
                        <a:schemeClr val="tx2"/>
                      </a:gs>
                      <a:gs pos="0">
                        <a:srgbClr val="00C6A5"/>
                      </a:gs>
                    </a:gsLst>
                    <a:lin ang="8100000" scaled="0"/>
                  </a:gra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00" cap="none" spc="-50" normalizeH="0" baseline="0" noProof="0">
                  <a:ln>
                    <a:noFill/>
                  </a:ln>
                  <a:solidFill>
                    <a:prstClr val="white"/>
                  </a:solidFill>
                  <a:effectLst/>
                  <a:uLnTx/>
                  <a:uFillTx/>
                  <a:latin typeface="Arial" charset="0"/>
                  <a:ea typeface="+mn-ea"/>
                  <a:cs typeface="+mn-cs"/>
                </a:rPr>
                <a:t>63%</a:t>
              </a:r>
            </a:p>
          </p:txBody>
        </p:sp>
        <p:sp>
          <p:nvSpPr>
            <p:cNvPr id="13" name="Rectangle 21">
              <a:extLst>
                <a:ext uri="{FF2B5EF4-FFF2-40B4-BE49-F238E27FC236}">
                  <a16:creationId xmlns:a16="http://schemas.microsoft.com/office/drawing/2014/main" id="{8AED7797-D3CE-6043-8F50-59B799A18FB1}"/>
                </a:ext>
              </a:extLst>
            </p:cNvPr>
            <p:cNvSpPr>
              <a:spLocks noChangeArrowheads="1"/>
            </p:cNvSpPr>
            <p:nvPr/>
          </p:nvSpPr>
          <p:spPr bwMode="auto">
            <a:xfrm>
              <a:off x="7895791" y="2726521"/>
              <a:ext cx="20751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rack space savings*</a:t>
              </a:r>
            </a:p>
          </p:txBody>
        </p:sp>
      </p:grpSp>
      <p:sp>
        <p:nvSpPr>
          <p:cNvPr id="14" name="Content Placeholder 1">
            <a:extLst>
              <a:ext uri="{FF2B5EF4-FFF2-40B4-BE49-F238E27FC236}">
                <a16:creationId xmlns:a16="http://schemas.microsoft.com/office/drawing/2014/main" id="{39C0877D-8B5E-334C-84D7-5BEB39AAF050}"/>
              </a:ext>
            </a:extLst>
          </p:cNvPr>
          <p:cNvSpPr txBox="1">
            <a:spLocks/>
          </p:cNvSpPr>
          <p:nvPr/>
        </p:nvSpPr>
        <p:spPr bwMode="auto">
          <a:xfrm>
            <a:off x="1625974" y="3013346"/>
            <a:ext cx="1720342" cy="7366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33321" indent="-233321" algn="l" rtl="0" eaLnBrk="0" fontAlgn="base" hangingPunct="0">
              <a:spcBef>
                <a:spcPts val="600"/>
              </a:spcBef>
              <a:spcAft>
                <a:spcPct val="0"/>
              </a:spcAft>
              <a:buClrTx/>
              <a:buFont typeface="Arial"/>
              <a:buChar char="•"/>
              <a:defRPr sz="1800">
                <a:solidFill>
                  <a:srgbClr val="000000"/>
                </a:solidFill>
                <a:latin typeface="+mn-lt"/>
                <a:ea typeface="+mn-ea"/>
                <a:cs typeface="+mn-cs"/>
              </a:defRPr>
            </a:lvl1pPr>
            <a:lvl2pPr marL="457118" indent="-233321" algn="l" rtl="0" eaLnBrk="0" fontAlgn="base" hangingPunct="0">
              <a:spcBef>
                <a:spcPts val="400"/>
              </a:spcBef>
              <a:spcAft>
                <a:spcPct val="0"/>
              </a:spcAft>
              <a:buClrTx/>
              <a:buFont typeface="Arial"/>
              <a:buChar char="•"/>
              <a:defRPr sz="1600">
                <a:solidFill>
                  <a:srgbClr val="000000"/>
                </a:solidFill>
                <a:latin typeface="+mn-lt"/>
              </a:defRPr>
            </a:lvl2pPr>
            <a:lvl3pPr marL="693619" indent="-228558" algn="l" rtl="0" eaLnBrk="0" fontAlgn="base" hangingPunct="0">
              <a:spcBef>
                <a:spcPts val="400"/>
              </a:spcBef>
              <a:spcAft>
                <a:spcPct val="0"/>
              </a:spcAft>
              <a:buClrTx/>
              <a:buFont typeface="Arial"/>
              <a:buChar char="•"/>
              <a:defRPr sz="1800">
                <a:solidFill>
                  <a:srgbClr val="000000"/>
                </a:solidFill>
                <a:latin typeface="+mn-lt"/>
              </a:defRPr>
            </a:lvl3pPr>
            <a:lvl4pPr marL="917414" indent="-228558" algn="l" rtl="0" eaLnBrk="0" fontAlgn="base" hangingPunct="0">
              <a:spcBef>
                <a:spcPts val="400"/>
              </a:spcBef>
              <a:spcAft>
                <a:spcPct val="0"/>
              </a:spcAft>
              <a:buClrTx/>
              <a:buFont typeface="Arial"/>
              <a:buChar char="•"/>
              <a:defRPr sz="1600">
                <a:solidFill>
                  <a:srgbClr val="000000"/>
                </a:solidFill>
                <a:latin typeface="+mn-lt"/>
              </a:defRPr>
            </a:lvl4pPr>
            <a:lvl5pPr marL="1150739" indent="-228558" algn="l" rtl="0" eaLnBrk="0" fontAlgn="base" hangingPunct="0">
              <a:spcBef>
                <a:spcPts val="40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Tx/>
              <a:buSzTx/>
              <a:buFont typeface="Arial"/>
              <a:buNone/>
              <a:tabLst/>
              <a:defRPr/>
            </a:pPr>
            <a:r>
              <a:rPr kumimoji="0" lang="en-US" sz="1400" b="0" i="0" u="none" strike="noStrike" kern="0" cap="none" spc="0" normalizeH="0" baseline="0" noProof="0">
                <a:ln>
                  <a:noFill/>
                </a:ln>
                <a:solidFill>
                  <a:srgbClr val="000000"/>
                </a:solidFill>
                <a:effectLst/>
                <a:uLnTx/>
                <a:uFillTx/>
                <a:latin typeface="Arial"/>
                <a:ea typeface="+mn-ea"/>
                <a:cs typeface="+mn-cs"/>
              </a:rPr>
              <a:t>FlexPod systems are in need of a refresh</a:t>
            </a:r>
          </a:p>
          <a:p>
            <a:pPr marL="0" marR="0" lvl="0" indent="0" algn="l"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5" name="Content Placeholder 1">
            <a:extLst>
              <a:ext uri="{FF2B5EF4-FFF2-40B4-BE49-F238E27FC236}">
                <a16:creationId xmlns:a16="http://schemas.microsoft.com/office/drawing/2014/main" id="{947DF98D-0AA8-E647-BB7A-2EAEB49052F8}"/>
              </a:ext>
            </a:extLst>
          </p:cNvPr>
          <p:cNvSpPr txBox="1">
            <a:spLocks/>
          </p:cNvSpPr>
          <p:nvPr/>
        </p:nvSpPr>
        <p:spPr bwMode="auto">
          <a:xfrm>
            <a:off x="219075" y="2919684"/>
            <a:ext cx="1406899" cy="7366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33321" indent="-233321" algn="l" rtl="0" eaLnBrk="0" fontAlgn="base" hangingPunct="0">
              <a:spcBef>
                <a:spcPts val="600"/>
              </a:spcBef>
              <a:spcAft>
                <a:spcPct val="0"/>
              </a:spcAft>
              <a:buClrTx/>
              <a:buFont typeface="Arial"/>
              <a:buChar char="•"/>
              <a:defRPr sz="1800">
                <a:solidFill>
                  <a:srgbClr val="000000"/>
                </a:solidFill>
                <a:latin typeface="+mn-lt"/>
                <a:ea typeface="+mn-ea"/>
                <a:cs typeface="+mn-cs"/>
              </a:defRPr>
            </a:lvl1pPr>
            <a:lvl2pPr marL="457118" indent="-233321" algn="l" rtl="0" eaLnBrk="0" fontAlgn="base" hangingPunct="0">
              <a:spcBef>
                <a:spcPts val="400"/>
              </a:spcBef>
              <a:spcAft>
                <a:spcPct val="0"/>
              </a:spcAft>
              <a:buClrTx/>
              <a:buFont typeface="Arial"/>
              <a:buChar char="•"/>
              <a:defRPr sz="1600">
                <a:solidFill>
                  <a:srgbClr val="000000"/>
                </a:solidFill>
                <a:latin typeface="+mn-lt"/>
              </a:defRPr>
            </a:lvl2pPr>
            <a:lvl3pPr marL="693619" indent="-228558" algn="l" rtl="0" eaLnBrk="0" fontAlgn="base" hangingPunct="0">
              <a:spcBef>
                <a:spcPts val="400"/>
              </a:spcBef>
              <a:spcAft>
                <a:spcPct val="0"/>
              </a:spcAft>
              <a:buClrTx/>
              <a:buFont typeface="Arial"/>
              <a:buChar char="•"/>
              <a:defRPr sz="1800">
                <a:solidFill>
                  <a:srgbClr val="000000"/>
                </a:solidFill>
                <a:latin typeface="+mn-lt"/>
              </a:defRPr>
            </a:lvl3pPr>
            <a:lvl4pPr marL="917414" indent="-228558" algn="l" rtl="0" eaLnBrk="0" fontAlgn="base" hangingPunct="0">
              <a:spcBef>
                <a:spcPts val="400"/>
              </a:spcBef>
              <a:spcAft>
                <a:spcPct val="0"/>
              </a:spcAft>
              <a:buClrTx/>
              <a:buFont typeface="Arial"/>
              <a:buChar char="•"/>
              <a:defRPr sz="1600">
                <a:solidFill>
                  <a:srgbClr val="000000"/>
                </a:solidFill>
                <a:latin typeface="+mn-lt"/>
              </a:defRPr>
            </a:lvl4pPr>
            <a:lvl5pPr marL="1150739" indent="-228558" algn="l" rtl="0" eaLnBrk="0" fontAlgn="base" hangingPunct="0">
              <a:spcBef>
                <a:spcPts val="40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Tx/>
              <a:buSzTx/>
              <a:buFont typeface="Arial"/>
              <a:buNone/>
              <a:tabLst/>
              <a:defRPr/>
            </a:pPr>
            <a:r>
              <a:rPr kumimoji="0" lang="en-US" sz="4000" b="1" i="0" u="none" strike="noStrike" kern="0" cap="none" spc="0" normalizeH="0" baseline="0" noProof="0">
                <a:ln>
                  <a:noFill/>
                </a:ln>
                <a:solidFill>
                  <a:srgbClr val="5AADD4"/>
                </a:solidFill>
                <a:effectLst/>
                <a:uLnTx/>
                <a:uFillTx/>
                <a:latin typeface="Arial"/>
                <a:ea typeface="+mn-ea"/>
                <a:cs typeface="+mn-cs"/>
              </a:rPr>
              <a:t>3,000</a:t>
            </a:r>
            <a:endParaRPr kumimoji="0" lang="en-US" sz="1400" b="1" i="0" u="none" strike="noStrike" kern="0" cap="none" spc="0" normalizeH="0" baseline="0" noProof="0">
              <a:ln>
                <a:noFill/>
              </a:ln>
              <a:solidFill>
                <a:srgbClr val="5AADD4"/>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6178448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B53465-4DF7-9845-AC4D-2DC22BAD67AB}"/>
              </a:ext>
            </a:extLst>
          </p:cNvPr>
          <p:cNvSpPr>
            <a:spLocks noGrp="1"/>
          </p:cNvSpPr>
          <p:nvPr>
            <p:ph type="title"/>
          </p:nvPr>
        </p:nvSpPr>
        <p:spPr/>
        <p:txBody>
          <a:bodyPr/>
          <a:lstStyle/>
          <a:p>
            <a:r>
              <a:rPr lang="en-US" altLang="en-US" dirty="0"/>
              <a:t>Digital Transformation</a:t>
            </a:r>
            <a:endParaRPr lang="en-US" dirty="0"/>
          </a:p>
        </p:txBody>
      </p:sp>
      <p:sp>
        <p:nvSpPr>
          <p:cNvPr id="4" name="Text Placeholder 3">
            <a:extLst>
              <a:ext uri="{FF2B5EF4-FFF2-40B4-BE49-F238E27FC236}">
                <a16:creationId xmlns:a16="http://schemas.microsoft.com/office/drawing/2014/main" id="{1E8D2C39-B7BC-8A45-8615-6C2D61CEC119}"/>
              </a:ext>
            </a:extLst>
          </p:cNvPr>
          <p:cNvSpPr>
            <a:spLocks noGrp="1"/>
          </p:cNvSpPr>
          <p:nvPr>
            <p:ph type="body" idx="11"/>
          </p:nvPr>
        </p:nvSpPr>
        <p:spPr/>
        <p:txBody>
          <a:bodyPr/>
          <a:lstStyle/>
          <a:p>
            <a:r>
              <a:rPr lang="en-US" altLang="en-US" dirty="0"/>
              <a:t>Driving New Apps and Consumption Models</a:t>
            </a:r>
            <a:endParaRPr lang="en-US" dirty="0"/>
          </a:p>
        </p:txBody>
      </p:sp>
      <p:sp>
        <p:nvSpPr>
          <p:cNvPr id="2" name="Content Placeholder 1">
            <a:extLst>
              <a:ext uri="{FF2B5EF4-FFF2-40B4-BE49-F238E27FC236}">
                <a16:creationId xmlns:a16="http://schemas.microsoft.com/office/drawing/2014/main" id="{6DBDD887-CC52-4646-ABA7-094B86CCA65B}"/>
              </a:ext>
            </a:extLst>
          </p:cNvPr>
          <p:cNvSpPr>
            <a:spLocks noGrp="1"/>
          </p:cNvSpPr>
          <p:nvPr>
            <p:ph sz="quarter" idx="4294967295"/>
          </p:nvPr>
        </p:nvSpPr>
        <p:spPr>
          <a:xfrm>
            <a:off x="498470" y="3707423"/>
            <a:ext cx="2320925" cy="787400"/>
          </a:xfrm>
        </p:spPr>
        <p:txBody>
          <a:bodyPr/>
          <a:lstStyle/>
          <a:p>
            <a:pPr marL="0" indent="0" algn="ctr">
              <a:spcBef>
                <a:spcPts val="600"/>
              </a:spcBef>
              <a:buNone/>
            </a:pPr>
            <a:r>
              <a:rPr lang="en-US" sz="1400" dirty="0"/>
              <a:t>Seamlessly adopt</a:t>
            </a:r>
            <a:br>
              <a:rPr lang="en-US" sz="1400" dirty="0"/>
            </a:br>
            <a:r>
              <a:rPr lang="en-US" sz="1400" dirty="0"/>
              <a:t>new applications</a:t>
            </a:r>
          </a:p>
          <a:p>
            <a:endParaRPr lang="en-US" sz="1600" dirty="0"/>
          </a:p>
          <a:p>
            <a:endParaRPr lang="en-US" sz="1600" dirty="0"/>
          </a:p>
        </p:txBody>
      </p:sp>
      <p:cxnSp>
        <p:nvCxnSpPr>
          <p:cNvPr id="7" name="Straight Connector 6">
            <a:extLst>
              <a:ext uri="{FF2B5EF4-FFF2-40B4-BE49-F238E27FC236}">
                <a16:creationId xmlns:a16="http://schemas.microsoft.com/office/drawing/2014/main" id="{8375FC1B-5D15-564B-A89B-3B465D8BB8FA}"/>
              </a:ext>
            </a:extLst>
          </p:cNvPr>
          <p:cNvCxnSpPr>
            <a:cxnSpLocks/>
          </p:cNvCxnSpPr>
          <p:nvPr/>
        </p:nvCxnSpPr>
        <p:spPr>
          <a:xfrm>
            <a:off x="419613" y="3520852"/>
            <a:ext cx="2478639" cy="0"/>
          </a:xfrm>
          <a:prstGeom prst="line">
            <a:avLst/>
          </a:prstGeom>
          <a:ln w="31750" cap="rnd">
            <a:solidFill>
              <a:schemeClr val="tx1">
                <a:lumMod val="10000"/>
                <a:lumOff val="9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Content Placeholder 1">
            <a:extLst>
              <a:ext uri="{FF2B5EF4-FFF2-40B4-BE49-F238E27FC236}">
                <a16:creationId xmlns:a16="http://schemas.microsoft.com/office/drawing/2014/main" id="{D5C5F62F-5DFF-464E-89B0-0CDE1ECEE95A}"/>
              </a:ext>
            </a:extLst>
          </p:cNvPr>
          <p:cNvSpPr txBox="1">
            <a:spLocks/>
          </p:cNvSpPr>
          <p:nvPr/>
        </p:nvSpPr>
        <p:spPr bwMode="auto">
          <a:xfrm>
            <a:off x="6341735" y="3707561"/>
            <a:ext cx="2321242" cy="78683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33321" indent="-233321" algn="l" rtl="0" eaLnBrk="0" fontAlgn="base" hangingPunct="0">
              <a:spcBef>
                <a:spcPts val="600"/>
              </a:spcBef>
              <a:spcAft>
                <a:spcPct val="0"/>
              </a:spcAft>
              <a:buClrTx/>
              <a:buFont typeface="Arial"/>
              <a:buChar char="•"/>
              <a:defRPr sz="1800">
                <a:solidFill>
                  <a:srgbClr val="000000"/>
                </a:solidFill>
                <a:latin typeface="+mn-lt"/>
                <a:ea typeface="+mn-ea"/>
                <a:cs typeface="+mn-cs"/>
              </a:defRPr>
            </a:lvl1pPr>
            <a:lvl2pPr marL="457118" indent="-233321" algn="l" rtl="0" eaLnBrk="0" fontAlgn="base" hangingPunct="0">
              <a:spcBef>
                <a:spcPts val="400"/>
              </a:spcBef>
              <a:spcAft>
                <a:spcPct val="0"/>
              </a:spcAft>
              <a:buClrTx/>
              <a:buFont typeface="Arial"/>
              <a:buChar char="•"/>
              <a:defRPr sz="1600">
                <a:solidFill>
                  <a:srgbClr val="000000"/>
                </a:solidFill>
                <a:latin typeface="+mn-lt"/>
              </a:defRPr>
            </a:lvl2pPr>
            <a:lvl3pPr marL="693619" indent="-228558" algn="l" rtl="0" eaLnBrk="0" fontAlgn="base" hangingPunct="0">
              <a:spcBef>
                <a:spcPts val="400"/>
              </a:spcBef>
              <a:spcAft>
                <a:spcPct val="0"/>
              </a:spcAft>
              <a:buClrTx/>
              <a:buFont typeface="Arial"/>
              <a:buChar char="•"/>
              <a:defRPr sz="1800">
                <a:solidFill>
                  <a:srgbClr val="000000"/>
                </a:solidFill>
                <a:latin typeface="+mn-lt"/>
              </a:defRPr>
            </a:lvl3pPr>
            <a:lvl4pPr marL="917414" indent="-228558" algn="l" rtl="0" eaLnBrk="0" fontAlgn="base" hangingPunct="0">
              <a:spcBef>
                <a:spcPts val="400"/>
              </a:spcBef>
              <a:spcAft>
                <a:spcPct val="0"/>
              </a:spcAft>
              <a:buClrTx/>
              <a:buFont typeface="Arial"/>
              <a:buChar char="•"/>
              <a:defRPr sz="1600">
                <a:solidFill>
                  <a:srgbClr val="000000"/>
                </a:solidFill>
                <a:latin typeface="+mn-lt"/>
              </a:defRPr>
            </a:lvl4pPr>
            <a:lvl5pPr marL="1150739" indent="-228558" algn="l" rtl="0" eaLnBrk="0" fontAlgn="base" hangingPunct="0">
              <a:spcBef>
                <a:spcPts val="40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ctr" defTabSz="914400" rtl="0" eaLnBrk="0" fontAlgn="base" latinLnBrk="0" hangingPunct="0">
              <a:lnSpc>
                <a:spcPct val="100000"/>
              </a:lnSpc>
              <a:spcBef>
                <a:spcPts val="600"/>
              </a:spcBef>
              <a:spcAft>
                <a:spcPct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Validated solutions</a:t>
            </a:r>
            <a:br>
              <a:rPr kumimoji="0" lang="en-US" sz="1400" b="0" i="0" u="none" strike="noStrike" kern="0" cap="none" spc="0" normalizeH="0" baseline="0" noProof="0" dirty="0">
                <a:ln>
                  <a:noFill/>
                </a:ln>
                <a:solidFill>
                  <a:srgbClr val="000000"/>
                </a:solidFill>
                <a:effectLst/>
                <a:uLnTx/>
                <a:uFillTx/>
                <a:latin typeface="Arial"/>
                <a:ea typeface="+mn-ea"/>
                <a:cs typeface="+mn-cs"/>
              </a:rPr>
            </a:br>
            <a:r>
              <a:rPr kumimoji="0" lang="en-US" sz="1400" b="0" i="0" u="none" strike="noStrike" kern="0" cap="none" spc="0" normalizeH="0" baseline="0" noProof="0" dirty="0">
                <a:ln>
                  <a:noFill/>
                </a:ln>
                <a:solidFill>
                  <a:srgbClr val="000000"/>
                </a:solidFill>
                <a:effectLst/>
                <a:uLnTx/>
                <a:uFillTx/>
                <a:latin typeface="Arial"/>
                <a:ea typeface="+mn-ea"/>
                <a:cs typeface="+mn-cs"/>
              </a:rPr>
              <a:t>by industry leaders</a:t>
            </a:r>
          </a:p>
          <a:p>
            <a:pPr marL="0" marR="0" lvl="0" indent="0" algn="ctr"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Text Placeholder 3">
            <a:extLst>
              <a:ext uri="{FF2B5EF4-FFF2-40B4-BE49-F238E27FC236}">
                <a16:creationId xmlns:a16="http://schemas.microsoft.com/office/drawing/2014/main" id="{88096BF2-F037-5642-A8FB-FF088679F11C}"/>
              </a:ext>
            </a:extLst>
          </p:cNvPr>
          <p:cNvSpPr txBox="1">
            <a:spLocks/>
          </p:cNvSpPr>
          <p:nvPr/>
        </p:nvSpPr>
        <p:spPr bwMode="gray">
          <a:xfrm>
            <a:off x="6165512" y="3036724"/>
            <a:ext cx="2673688" cy="301756"/>
          </a:xfrm>
          <a:prstGeom prst="rect">
            <a:avLst/>
          </a:prstGeom>
          <a:noFill/>
          <a:ln w="9525">
            <a:noFill/>
            <a:miter lim="800000"/>
            <a:headEnd/>
            <a:tailEnd/>
          </a:ln>
        </p:spPr>
        <p:txBody>
          <a:bodyPr vert="horz" wrap="square" lIns="68630" tIns="34319" rIns="68630" bIns="34319" numCol="1" anchor="t" anchorCtr="0" compatLnSpc="1">
            <a:prstTxWarp prst="textNoShape">
              <a:avLst/>
            </a:prstTxWarp>
            <a:noAutofit/>
          </a:bodyPr>
          <a:lstStyle>
            <a:lvl1pPr marL="0" indent="0" algn="l" rtl="0" eaLnBrk="0" fontAlgn="base" hangingPunct="0">
              <a:spcBef>
                <a:spcPts val="0"/>
              </a:spcBef>
              <a:spcAft>
                <a:spcPts val="0"/>
              </a:spcAft>
              <a:buClrTx/>
              <a:buFont typeface="Arial"/>
              <a:buNone/>
              <a:defRPr sz="1800" b="0">
                <a:solidFill>
                  <a:srgbClr val="95918F"/>
                </a:solidFill>
                <a:latin typeface="+mn-lt"/>
                <a:ea typeface="+mn-ea"/>
                <a:cs typeface="+mn-cs"/>
              </a:defRPr>
            </a:lvl1pPr>
            <a:lvl2pPr marL="343145" indent="0" algn="l" rtl="0" eaLnBrk="0" fontAlgn="base" hangingPunct="0">
              <a:spcBef>
                <a:spcPts val="624"/>
              </a:spcBef>
              <a:spcAft>
                <a:spcPct val="0"/>
              </a:spcAft>
              <a:buClrTx/>
              <a:buFont typeface="Arial"/>
              <a:buNone/>
              <a:defRPr sz="1500" b="1">
                <a:solidFill>
                  <a:srgbClr val="000000"/>
                </a:solidFill>
                <a:latin typeface="+mn-lt"/>
              </a:defRPr>
            </a:lvl2pPr>
            <a:lvl3pPr marL="686293" indent="0" algn="l" rtl="0" eaLnBrk="0" fontAlgn="base" hangingPunct="0">
              <a:spcBef>
                <a:spcPts val="576"/>
              </a:spcBef>
              <a:spcAft>
                <a:spcPct val="0"/>
              </a:spcAft>
              <a:buClrTx/>
              <a:buFont typeface="Arial"/>
              <a:buNone/>
              <a:defRPr sz="1400" b="1">
                <a:solidFill>
                  <a:srgbClr val="000000"/>
                </a:solidFill>
                <a:latin typeface="+mn-lt"/>
              </a:defRPr>
            </a:lvl3pPr>
            <a:lvl4pPr marL="1029438" indent="0" algn="l" rtl="0" eaLnBrk="0" fontAlgn="base" hangingPunct="0">
              <a:spcBef>
                <a:spcPts val="480"/>
              </a:spcBef>
              <a:spcAft>
                <a:spcPct val="0"/>
              </a:spcAft>
              <a:buClrTx/>
              <a:buFont typeface="Arial"/>
              <a:buNone/>
              <a:defRPr sz="1200" b="1">
                <a:solidFill>
                  <a:srgbClr val="000000"/>
                </a:solidFill>
                <a:latin typeface="+mn-lt"/>
              </a:defRPr>
            </a:lvl4pPr>
            <a:lvl5pPr marL="1372585" indent="0" algn="l" rtl="0" eaLnBrk="0" fontAlgn="base" hangingPunct="0">
              <a:spcBef>
                <a:spcPts val="480"/>
              </a:spcBef>
              <a:spcAft>
                <a:spcPct val="0"/>
              </a:spcAft>
              <a:buClrTx/>
              <a:buFont typeface="Arial"/>
              <a:buNone/>
              <a:defRPr sz="1200" b="1">
                <a:solidFill>
                  <a:srgbClr val="000000"/>
                </a:solidFill>
                <a:latin typeface="+mn-lt"/>
              </a:defRPr>
            </a:lvl5pPr>
            <a:lvl6pPr marL="1715728" indent="0" algn="l" rtl="0" fontAlgn="base">
              <a:spcBef>
                <a:spcPct val="20000"/>
              </a:spcBef>
              <a:spcAft>
                <a:spcPct val="0"/>
              </a:spcAft>
              <a:buFont typeface="Wingdings 2" pitchFamily="18" charset="2"/>
              <a:buNone/>
              <a:defRPr sz="1200" b="1">
                <a:solidFill>
                  <a:schemeClr val="tx1"/>
                </a:solidFill>
                <a:latin typeface="+mn-lt"/>
              </a:defRPr>
            </a:lvl6pPr>
            <a:lvl7pPr marL="2058878" indent="0" algn="l" rtl="0" fontAlgn="base">
              <a:spcBef>
                <a:spcPct val="20000"/>
              </a:spcBef>
              <a:spcAft>
                <a:spcPct val="0"/>
              </a:spcAft>
              <a:buFont typeface="Wingdings 2" pitchFamily="18" charset="2"/>
              <a:buNone/>
              <a:defRPr sz="1200" b="1">
                <a:solidFill>
                  <a:schemeClr val="tx1"/>
                </a:solidFill>
                <a:latin typeface="+mn-lt"/>
              </a:defRPr>
            </a:lvl7pPr>
            <a:lvl8pPr marL="2402020" indent="0" algn="l" rtl="0" fontAlgn="base">
              <a:spcBef>
                <a:spcPct val="20000"/>
              </a:spcBef>
              <a:spcAft>
                <a:spcPct val="0"/>
              </a:spcAft>
              <a:buFont typeface="Wingdings 2" pitchFamily="18" charset="2"/>
              <a:buNone/>
              <a:defRPr sz="1200" b="1">
                <a:solidFill>
                  <a:schemeClr val="tx1"/>
                </a:solidFill>
                <a:latin typeface="+mn-lt"/>
              </a:defRPr>
            </a:lvl8pPr>
            <a:lvl9pPr marL="2745164" indent="0" algn="l" rtl="0" fontAlgn="base">
              <a:spcBef>
                <a:spcPct val="20000"/>
              </a:spcBef>
              <a:spcAft>
                <a:spcPct val="0"/>
              </a:spcAft>
              <a:buFont typeface="Wingdings 2" pitchFamily="18" charset="2"/>
              <a:buNone/>
              <a:defRPr sz="1200" b="1">
                <a:solidFill>
                  <a:schemeClr val="tx1"/>
                </a:solidFill>
                <a:latin typeface="+mn-lt"/>
              </a:defRPr>
            </a:lvl9pPr>
          </a:lstStyle>
          <a:p>
            <a:pPr marL="0" marR="0" lvl="0" indent="0" algn="ctr" defTabSz="914400" rtl="0" eaLnBrk="0" fontAlgn="base" latinLnBrk="0" hangingPunct="0">
              <a:lnSpc>
                <a:spcPct val="100000"/>
              </a:lnSpc>
              <a:spcBef>
                <a:spcPts val="0"/>
              </a:spcBef>
              <a:spcAft>
                <a:spcPts val="0"/>
              </a:spcAft>
              <a:buClrTx/>
              <a:buSzTx/>
              <a:buFont typeface="Arial"/>
              <a:buNone/>
              <a:tabLst/>
              <a:defRPr/>
            </a:pPr>
            <a:r>
              <a:rPr kumimoji="0" lang="en-US" sz="1600" b="0" i="0" u="none" strike="noStrike" kern="0" cap="none" spc="0" normalizeH="0" baseline="0" noProof="0" dirty="0">
                <a:ln>
                  <a:noFill/>
                </a:ln>
                <a:solidFill>
                  <a:srgbClr val="95918F"/>
                </a:solidFill>
                <a:effectLst/>
                <a:uLnTx/>
                <a:uFillTx/>
                <a:latin typeface="Arial"/>
                <a:ea typeface="+mn-ea"/>
                <a:cs typeface="+mn-cs"/>
              </a:rPr>
              <a:t>Proven, trusted solutions</a:t>
            </a:r>
          </a:p>
          <a:p>
            <a:pPr marL="0" marR="0" lvl="0" indent="0" algn="ctr" defTabSz="914400" rtl="0" eaLnBrk="0" fontAlgn="base" latinLnBrk="0" hangingPunct="0">
              <a:lnSpc>
                <a:spcPct val="100000"/>
              </a:lnSpc>
              <a:spcBef>
                <a:spcPts val="0"/>
              </a:spcBef>
              <a:spcAft>
                <a:spcPts val="0"/>
              </a:spcAft>
              <a:buClrTx/>
              <a:buSzTx/>
              <a:buFont typeface="Arial"/>
              <a:buNone/>
              <a:tabLst/>
              <a:defRPr/>
            </a:pPr>
            <a:endParaRPr kumimoji="0" lang="en-US" sz="1600" b="0" i="0" u="none" strike="noStrike" kern="0" cap="none" spc="0" normalizeH="0" baseline="0" noProof="0" dirty="0">
              <a:ln>
                <a:noFill/>
              </a:ln>
              <a:solidFill>
                <a:srgbClr val="95918F"/>
              </a:solidFill>
              <a:effectLst/>
              <a:uLnTx/>
              <a:uFillTx/>
              <a:latin typeface="Arial"/>
              <a:ea typeface="+mn-ea"/>
              <a:cs typeface="+mn-cs"/>
            </a:endParaRPr>
          </a:p>
          <a:p>
            <a:pPr marL="0" marR="0" lvl="0" indent="0" algn="ctr" defTabSz="914400" rtl="0" eaLnBrk="0" fontAlgn="base" latinLnBrk="0" hangingPunct="0">
              <a:lnSpc>
                <a:spcPct val="100000"/>
              </a:lnSpc>
              <a:spcBef>
                <a:spcPts val="0"/>
              </a:spcBef>
              <a:spcAft>
                <a:spcPts val="0"/>
              </a:spcAft>
              <a:buClrTx/>
              <a:buSzTx/>
              <a:buFont typeface="Arial"/>
              <a:buNone/>
              <a:tabLst/>
              <a:defRPr/>
            </a:pPr>
            <a:endParaRPr kumimoji="0" lang="en-US" sz="1600" b="0" i="0" u="none" strike="noStrike" kern="0" cap="none" spc="0" normalizeH="0" baseline="0" noProof="0" dirty="0">
              <a:ln>
                <a:noFill/>
              </a:ln>
              <a:solidFill>
                <a:srgbClr val="95918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06C0C312-2861-C540-AAC1-314873B463F7}"/>
              </a:ext>
            </a:extLst>
          </p:cNvPr>
          <p:cNvCxnSpPr>
            <a:cxnSpLocks/>
          </p:cNvCxnSpPr>
          <p:nvPr/>
        </p:nvCxnSpPr>
        <p:spPr>
          <a:xfrm>
            <a:off x="6263037" y="3518658"/>
            <a:ext cx="2478639" cy="0"/>
          </a:xfrm>
          <a:prstGeom prst="line">
            <a:avLst/>
          </a:prstGeom>
          <a:ln w="31750" cap="rnd">
            <a:solidFill>
              <a:schemeClr val="tx1">
                <a:lumMod val="10000"/>
                <a:lumOff val="9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Content Placeholder 1">
            <a:extLst>
              <a:ext uri="{FF2B5EF4-FFF2-40B4-BE49-F238E27FC236}">
                <a16:creationId xmlns:a16="http://schemas.microsoft.com/office/drawing/2014/main" id="{6E327B59-441E-2743-BB2C-C1CA73228539}"/>
              </a:ext>
            </a:extLst>
          </p:cNvPr>
          <p:cNvSpPr txBox="1">
            <a:spLocks/>
          </p:cNvSpPr>
          <p:nvPr/>
        </p:nvSpPr>
        <p:spPr bwMode="auto">
          <a:xfrm>
            <a:off x="3431843" y="3705768"/>
            <a:ext cx="2321242" cy="78683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33321" indent="-233321" algn="l" rtl="0" eaLnBrk="0" fontAlgn="base" hangingPunct="0">
              <a:spcBef>
                <a:spcPts val="600"/>
              </a:spcBef>
              <a:spcAft>
                <a:spcPct val="0"/>
              </a:spcAft>
              <a:buClrTx/>
              <a:buFont typeface="Arial"/>
              <a:buChar char="•"/>
              <a:defRPr sz="1800">
                <a:solidFill>
                  <a:srgbClr val="000000"/>
                </a:solidFill>
                <a:latin typeface="+mn-lt"/>
                <a:ea typeface="+mn-ea"/>
                <a:cs typeface="+mn-cs"/>
              </a:defRPr>
            </a:lvl1pPr>
            <a:lvl2pPr marL="457118" indent="-233321" algn="l" rtl="0" eaLnBrk="0" fontAlgn="base" hangingPunct="0">
              <a:spcBef>
                <a:spcPts val="400"/>
              </a:spcBef>
              <a:spcAft>
                <a:spcPct val="0"/>
              </a:spcAft>
              <a:buClrTx/>
              <a:buFont typeface="Arial"/>
              <a:buChar char="•"/>
              <a:defRPr sz="1600">
                <a:solidFill>
                  <a:srgbClr val="000000"/>
                </a:solidFill>
                <a:latin typeface="+mn-lt"/>
              </a:defRPr>
            </a:lvl2pPr>
            <a:lvl3pPr marL="693619" indent="-228558" algn="l" rtl="0" eaLnBrk="0" fontAlgn="base" hangingPunct="0">
              <a:spcBef>
                <a:spcPts val="400"/>
              </a:spcBef>
              <a:spcAft>
                <a:spcPct val="0"/>
              </a:spcAft>
              <a:buClrTx/>
              <a:buFont typeface="Arial"/>
              <a:buChar char="•"/>
              <a:defRPr sz="1800">
                <a:solidFill>
                  <a:srgbClr val="000000"/>
                </a:solidFill>
                <a:latin typeface="+mn-lt"/>
              </a:defRPr>
            </a:lvl3pPr>
            <a:lvl4pPr marL="917414" indent="-228558" algn="l" rtl="0" eaLnBrk="0" fontAlgn="base" hangingPunct="0">
              <a:spcBef>
                <a:spcPts val="400"/>
              </a:spcBef>
              <a:spcAft>
                <a:spcPct val="0"/>
              </a:spcAft>
              <a:buClrTx/>
              <a:buFont typeface="Arial"/>
              <a:buChar char="•"/>
              <a:defRPr sz="1600">
                <a:solidFill>
                  <a:srgbClr val="000000"/>
                </a:solidFill>
                <a:latin typeface="+mn-lt"/>
              </a:defRPr>
            </a:lvl4pPr>
            <a:lvl5pPr marL="1150739" indent="-228558" algn="l" rtl="0" eaLnBrk="0" fontAlgn="base" hangingPunct="0">
              <a:spcBef>
                <a:spcPts val="400"/>
              </a:spcBef>
              <a:spcAft>
                <a:spcPct val="0"/>
              </a:spcAft>
              <a:buClrTx/>
              <a:buFont typeface="Arial"/>
              <a:buChar char="•"/>
              <a:defRPr sz="1600">
                <a:solidFill>
                  <a:srgbClr val="000000"/>
                </a:solidFill>
                <a:latin typeface="+mn-lt"/>
              </a:defRPr>
            </a:lvl5pPr>
            <a:lvl6pPr marL="1961807" indent="-266657" algn="l" rtl="0" fontAlgn="base">
              <a:spcBef>
                <a:spcPct val="20000"/>
              </a:spcBef>
              <a:spcAft>
                <a:spcPct val="0"/>
              </a:spcAft>
              <a:buFont typeface="Wingdings 2" pitchFamily="18" charset="2"/>
              <a:buChar char="¡"/>
              <a:defRPr sz="2000">
                <a:solidFill>
                  <a:schemeClr val="tx1"/>
                </a:solidFill>
                <a:latin typeface="+mn-lt"/>
              </a:defRPr>
            </a:lvl6pPr>
            <a:lvl7pPr marL="2418929" indent="-266657" algn="l" rtl="0" fontAlgn="base">
              <a:spcBef>
                <a:spcPct val="20000"/>
              </a:spcBef>
              <a:spcAft>
                <a:spcPct val="0"/>
              </a:spcAft>
              <a:buFont typeface="Wingdings 2" pitchFamily="18" charset="2"/>
              <a:buChar char="¡"/>
              <a:defRPr sz="2000">
                <a:solidFill>
                  <a:schemeClr val="tx1"/>
                </a:solidFill>
                <a:latin typeface="+mn-lt"/>
              </a:defRPr>
            </a:lvl7pPr>
            <a:lvl8pPr marL="2876046" indent="-266657" algn="l" rtl="0" fontAlgn="base">
              <a:spcBef>
                <a:spcPct val="20000"/>
              </a:spcBef>
              <a:spcAft>
                <a:spcPct val="0"/>
              </a:spcAft>
              <a:buFont typeface="Wingdings 2" pitchFamily="18" charset="2"/>
              <a:buChar char="¡"/>
              <a:defRPr sz="2000">
                <a:solidFill>
                  <a:schemeClr val="tx1"/>
                </a:solidFill>
                <a:latin typeface="+mn-lt"/>
              </a:defRPr>
            </a:lvl8pPr>
            <a:lvl9pPr marL="3333169" indent="-266657" algn="l" rtl="0" fontAlgn="base">
              <a:spcBef>
                <a:spcPct val="20000"/>
              </a:spcBef>
              <a:spcAft>
                <a:spcPct val="0"/>
              </a:spcAft>
              <a:buFont typeface="Wingdings 2" pitchFamily="18" charset="2"/>
              <a:buChar char="¡"/>
              <a:defRPr sz="2000">
                <a:solidFill>
                  <a:schemeClr val="tx1"/>
                </a:solidFill>
                <a:latin typeface="+mn-lt"/>
              </a:defRPr>
            </a:lvl9pPr>
          </a:lstStyle>
          <a:p>
            <a:pPr marL="0" marR="0" lvl="0" indent="0" algn="ctr" defTabSz="914400" rtl="0" eaLnBrk="0" fontAlgn="base" latinLnBrk="0" hangingPunct="0">
              <a:lnSpc>
                <a:spcPct val="100000"/>
              </a:lnSpc>
              <a:spcBef>
                <a:spcPts val="600"/>
              </a:spcBef>
              <a:spcAft>
                <a:spcPct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Easily connect</a:t>
            </a:r>
            <a:br>
              <a:rPr kumimoji="0" lang="en-US" sz="1400" b="0" i="0" u="none" strike="noStrike" kern="0" cap="none" spc="0" normalizeH="0" baseline="0" noProof="0" dirty="0">
                <a:ln>
                  <a:noFill/>
                </a:ln>
                <a:solidFill>
                  <a:srgbClr val="000000"/>
                </a:solidFill>
                <a:effectLst/>
                <a:uLnTx/>
                <a:uFillTx/>
                <a:latin typeface="Arial"/>
                <a:ea typeface="+mn-ea"/>
                <a:cs typeface="+mn-cs"/>
              </a:rPr>
            </a:br>
            <a:r>
              <a:rPr kumimoji="0" lang="en-US" sz="1400" b="0" i="0" u="none" strike="noStrike" kern="0" cap="none" spc="0" normalizeH="0" baseline="0" noProof="0" dirty="0">
                <a:ln>
                  <a:noFill/>
                </a:ln>
                <a:solidFill>
                  <a:srgbClr val="000000"/>
                </a:solidFill>
                <a:effectLst/>
                <a:uLnTx/>
                <a:uFillTx/>
                <a:latin typeface="Arial"/>
                <a:ea typeface="+mn-ea"/>
                <a:cs typeface="+mn-cs"/>
              </a:rPr>
              <a:t>and optimize</a:t>
            </a:r>
          </a:p>
          <a:p>
            <a:pPr marL="0" marR="0" lvl="0" indent="0" algn="ctr" defTabSz="914400" rtl="0" eaLnBrk="0" fontAlgn="base" latinLnBrk="0" hangingPunct="0">
              <a:lnSpc>
                <a:spcPct val="100000"/>
              </a:lnSpc>
              <a:spcBef>
                <a:spcPts val="600"/>
              </a:spcBef>
              <a:spcAft>
                <a:spcPct val="0"/>
              </a:spcAft>
              <a:buClrTx/>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Text Placeholder 3">
            <a:extLst>
              <a:ext uri="{FF2B5EF4-FFF2-40B4-BE49-F238E27FC236}">
                <a16:creationId xmlns:a16="http://schemas.microsoft.com/office/drawing/2014/main" id="{E4EAC619-6483-A84A-9FD8-AAF6EF02D1C6}"/>
              </a:ext>
            </a:extLst>
          </p:cNvPr>
          <p:cNvSpPr txBox="1">
            <a:spLocks/>
          </p:cNvSpPr>
          <p:nvPr/>
        </p:nvSpPr>
        <p:spPr bwMode="gray">
          <a:xfrm>
            <a:off x="3431843" y="3034181"/>
            <a:ext cx="2321242" cy="301756"/>
          </a:xfrm>
          <a:prstGeom prst="rect">
            <a:avLst/>
          </a:prstGeom>
          <a:noFill/>
          <a:ln w="9525">
            <a:noFill/>
            <a:miter lim="800000"/>
            <a:headEnd/>
            <a:tailEnd/>
          </a:ln>
        </p:spPr>
        <p:txBody>
          <a:bodyPr vert="horz" wrap="square" lIns="68630" tIns="34319" rIns="68630" bIns="34319" numCol="1" anchor="t" anchorCtr="0" compatLnSpc="1">
            <a:prstTxWarp prst="textNoShape">
              <a:avLst/>
            </a:prstTxWarp>
            <a:noAutofit/>
          </a:bodyPr>
          <a:lstStyle>
            <a:lvl1pPr marL="0" indent="0" algn="l" rtl="0" eaLnBrk="0" fontAlgn="base" hangingPunct="0">
              <a:spcBef>
                <a:spcPts val="0"/>
              </a:spcBef>
              <a:spcAft>
                <a:spcPts val="0"/>
              </a:spcAft>
              <a:buClrTx/>
              <a:buFont typeface="Arial"/>
              <a:buNone/>
              <a:defRPr sz="1800" b="0">
                <a:solidFill>
                  <a:srgbClr val="95918F"/>
                </a:solidFill>
                <a:latin typeface="+mn-lt"/>
                <a:ea typeface="+mn-ea"/>
                <a:cs typeface="+mn-cs"/>
              </a:defRPr>
            </a:lvl1pPr>
            <a:lvl2pPr marL="343145" indent="0" algn="l" rtl="0" eaLnBrk="0" fontAlgn="base" hangingPunct="0">
              <a:spcBef>
                <a:spcPts val="624"/>
              </a:spcBef>
              <a:spcAft>
                <a:spcPct val="0"/>
              </a:spcAft>
              <a:buClrTx/>
              <a:buFont typeface="Arial"/>
              <a:buNone/>
              <a:defRPr sz="1500" b="1">
                <a:solidFill>
                  <a:srgbClr val="000000"/>
                </a:solidFill>
                <a:latin typeface="+mn-lt"/>
              </a:defRPr>
            </a:lvl2pPr>
            <a:lvl3pPr marL="686293" indent="0" algn="l" rtl="0" eaLnBrk="0" fontAlgn="base" hangingPunct="0">
              <a:spcBef>
                <a:spcPts val="576"/>
              </a:spcBef>
              <a:spcAft>
                <a:spcPct val="0"/>
              </a:spcAft>
              <a:buClrTx/>
              <a:buFont typeface="Arial"/>
              <a:buNone/>
              <a:defRPr sz="1400" b="1">
                <a:solidFill>
                  <a:srgbClr val="000000"/>
                </a:solidFill>
                <a:latin typeface="+mn-lt"/>
              </a:defRPr>
            </a:lvl3pPr>
            <a:lvl4pPr marL="1029438" indent="0" algn="l" rtl="0" eaLnBrk="0" fontAlgn="base" hangingPunct="0">
              <a:spcBef>
                <a:spcPts val="480"/>
              </a:spcBef>
              <a:spcAft>
                <a:spcPct val="0"/>
              </a:spcAft>
              <a:buClrTx/>
              <a:buFont typeface="Arial"/>
              <a:buNone/>
              <a:defRPr sz="1200" b="1">
                <a:solidFill>
                  <a:srgbClr val="000000"/>
                </a:solidFill>
                <a:latin typeface="+mn-lt"/>
              </a:defRPr>
            </a:lvl4pPr>
            <a:lvl5pPr marL="1372585" indent="0" algn="l" rtl="0" eaLnBrk="0" fontAlgn="base" hangingPunct="0">
              <a:spcBef>
                <a:spcPts val="480"/>
              </a:spcBef>
              <a:spcAft>
                <a:spcPct val="0"/>
              </a:spcAft>
              <a:buClrTx/>
              <a:buFont typeface="Arial"/>
              <a:buNone/>
              <a:defRPr sz="1200" b="1">
                <a:solidFill>
                  <a:srgbClr val="000000"/>
                </a:solidFill>
                <a:latin typeface="+mn-lt"/>
              </a:defRPr>
            </a:lvl5pPr>
            <a:lvl6pPr marL="1715728" indent="0" algn="l" rtl="0" fontAlgn="base">
              <a:spcBef>
                <a:spcPct val="20000"/>
              </a:spcBef>
              <a:spcAft>
                <a:spcPct val="0"/>
              </a:spcAft>
              <a:buFont typeface="Wingdings 2" pitchFamily="18" charset="2"/>
              <a:buNone/>
              <a:defRPr sz="1200" b="1">
                <a:solidFill>
                  <a:schemeClr val="tx1"/>
                </a:solidFill>
                <a:latin typeface="+mn-lt"/>
              </a:defRPr>
            </a:lvl6pPr>
            <a:lvl7pPr marL="2058878" indent="0" algn="l" rtl="0" fontAlgn="base">
              <a:spcBef>
                <a:spcPct val="20000"/>
              </a:spcBef>
              <a:spcAft>
                <a:spcPct val="0"/>
              </a:spcAft>
              <a:buFont typeface="Wingdings 2" pitchFamily="18" charset="2"/>
              <a:buNone/>
              <a:defRPr sz="1200" b="1">
                <a:solidFill>
                  <a:schemeClr val="tx1"/>
                </a:solidFill>
                <a:latin typeface="+mn-lt"/>
              </a:defRPr>
            </a:lvl7pPr>
            <a:lvl8pPr marL="2402020" indent="0" algn="l" rtl="0" fontAlgn="base">
              <a:spcBef>
                <a:spcPct val="20000"/>
              </a:spcBef>
              <a:spcAft>
                <a:spcPct val="0"/>
              </a:spcAft>
              <a:buFont typeface="Wingdings 2" pitchFamily="18" charset="2"/>
              <a:buNone/>
              <a:defRPr sz="1200" b="1">
                <a:solidFill>
                  <a:schemeClr val="tx1"/>
                </a:solidFill>
                <a:latin typeface="+mn-lt"/>
              </a:defRPr>
            </a:lvl8pPr>
            <a:lvl9pPr marL="2745164" indent="0" algn="l" rtl="0" fontAlgn="base">
              <a:spcBef>
                <a:spcPct val="20000"/>
              </a:spcBef>
              <a:spcAft>
                <a:spcPct val="0"/>
              </a:spcAft>
              <a:buFont typeface="Wingdings 2" pitchFamily="18" charset="2"/>
              <a:buNone/>
              <a:defRPr sz="1200" b="1">
                <a:solidFill>
                  <a:schemeClr val="tx1"/>
                </a:solidFill>
                <a:latin typeface="+mn-lt"/>
              </a:defRPr>
            </a:lvl9pPr>
          </a:lstStyle>
          <a:p>
            <a:pPr marL="0" marR="0" lvl="0" indent="0" algn="ctr" defTabSz="914400" rtl="0" eaLnBrk="0" fontAlgn="base" latinLnBrk="0" hangingPunct="0">
              <a:lnSpc>
                <a:spcPct val="100000"/>
              </a:lnSpc>
              <a:spcBef>
                <a:spcPts val="0"/>
              </a:spcBef>
              <a:spcAft>
                <a:spcPts val="0"/>
              </a:spcAft>
              <a:buClrTx/>
              <a:buSzTx/>
              <a:buFont typeface="Arial"/>
              <a:buNone/>
              <a:tabLst/>
              <a:defRPr/>
            </a:pPr>
            <a:r>
              <a:rPr kumimoji="0" lang="en-US" sz="1600" b="0" i="0" u="none" strike="noStrike" kern="0" cap="none" spc="0" normalizeH="0" baseline="0" noProof="0" dirty="0">
                <a:ln>
                  <a:noFill/>
                </a:ln>
                <a:solidFill>
                  <a:srgbClr val="95918F"/>
                </a:solidFill>
                <a:effectLst/>
                <a:uLnTx/>
                <a:uFillTx/>
                <a:latin typeface="Arial"/>
                <a:ea typeface="+mn-ea"/>
                <a:cs typeface="+mn-cs"/>
              </a:rPr>
              <a:t>Modern workflows</a:t>
            </a:r>
          </a:p>
        </p:txBody>
      </p:sp>
      <p:cxnSp>
        <p:nvCxnSpPr>
          <p:cNvPr id="16" name="Straight Connector 15">
            <a:extLst>
              <a:ext uri="{FF2B5EF4-FFF2-40B4-BE49-F238E27FC236}">
                <a16:creationId xmlns:a16="http://schemas.microsoft.com/office/drawing/2014/main" id="{BE094E46-30A8-FA4A-95E6-9272ED18F52A}"/>
              </a:ext>
            </a:extLst>
          </p:cNvPr>
          <p:cNvCxnSpPr>
            <a:cxnSpLocks/>
          </p:cNvCxnSpPr>
          <p:nvPr/>
        </p:nvCxnSpPr>
        <p:spPr>
          <a:xfrm>
            <a:off x="3353145" y="3520852"/>
            <a:ext cx="2478639" cy="0"/>
          </a:xfrm>
          <a:prstGeom prst="line">
            <a:avLst/>
          </a:prstGeom>
          <a:ln w="31750" cap="rnd">
            <a:solidFill>
              <a:schemeClr val="tx1">
                <a:lumMod val="10000"/>
                <a:lumOff val="9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5" name="Group 28">
            <a:extLst>
              <a:ext uri="{FF2B5EF4-FFF2-40B4-BE49-F238E27FC236}">
                <a16:creationId xmlns:a16="http://schemas.microsoft.com/office/drawing/2014/main" id="{76639CCC-D082-AA43-A415-D19BE528E177}"/>
              </a:ext>
            </a:extLst>
          </p:cNvPr>
          <p:cNvGrpSpPr>
            <a:grpSpLocks noChangeAspect="1"/>
          </p:cNvGrpSpPr>
          <p:nvPr/>
        </p:nvGrpSpPr>
        <p:grpSpPr bwMode="auto">
          <a:xfrm>
            <a:off x="6861800" y="1458913"/>
            <a:ext cx="1281112" cy="1279525"/>
            <a:chOff x="1896" y="624"/>
            <a:chExt cx="2560" cy="2557"/>
          </a:xfrm>
        </p:grpSpPr>
        <p:sp>
          <p:nvSpPr>
            <p:cNvPr id="18" name="Oval 29">
              <a:extLst>
                <a:ext uri="{FF2B5EF4-FFF2-40B4-BE49-F238E27FC236}">
                  <a16:creationId xmlns:a16="http://schemas.microsoft.com/office/drawing/2014/main" id="{11CCB718-76D9-1844-8DFD-8B61DC2B8B13}"/>
                </a:ext>
              </a:extLst>
            </p:cNvPr>
            <p:cNvSpPr>
              <a:spLocks noChangeArrowheads="1"/>
            </p:cNvSpPr>
            <p:nvPr/>
          </p:nvSpPr>
          <p:spPr bwMode="auto">
            <a:xfrm>
              <a:off x="1896" y="635"/>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455613">
                <a:defRPr sz="2000">
                  <a:solidFill>
                    <a:schemeClr val="tx1"/>
                  </a:solidFill>
                  <a:latin typeface="Arial" panose="020B0604020202020204" pitchFamily="34" charset="0"/>
                </a:defRPr>
              </a:lvl1pPr>
              <a:lvl2pPr defTabSz="455613">
                <a:defRPr sz="2000">
                  <a:solidFill>
                    <a:schemeClr val="tx1"/>
                  </a:solidFill>
                  <a:latin typeface="Arial" panose="020B0604020202020204" pitchFamily="34" charset="0"/>
                </a:defRPr>
              </a:lvl2pPr>
              <a:lvl3pPr defTabSz="455613">
                <a:defRPr sz="2000">
                  <a:solidFill>
                    <a:schemeClr val="tx1"/>
                  </a:solidFill>
                  <a:latin typeface="Arial" panose="020B0604020202020204" pitchFamily="34" charset="0"/>
                </a:defRPr>
              </a:lvl3pPr>
              <a:lvl4pPr defTabSz="455613">
                <a:defRPr sz="2000">
                  <a:solidFill>
                    <a:schemeClr val="tx1"/>
                  </a:solidFill>
                  <a:latin typeface="Arial" panose="020B0604020202020204" pitchFamily="34" charset="0"/>
                </a:defRPr>
              </a:lvl4pPr>
              <a:lvl5pPr defTabSz="455613">
                <a:defRPr sz="2000">
                  <a:solidFill>
                    <a:schemeClr val="tx1"/>
                  </a:solidFill>
                  <a:latin typeface="Arial" panose="020B0604020202020204" pitchFamily="34" charset="0"/>
                </a:defRPr>
              </a:lvl5pPr>
              <a:lvl6pPr marL="2284413" indent="1588" defTabSz="4556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4556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4556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4556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 name="Freeform 30">
              <a:extLst>
                <a:ext uri="{FF2B5EF4-FFF2-40B4-BE49-F238E27FC236}">
                  <a16:creationId xmlns:a16="http://schemas.microsoft.com/office/drawing/2014/main" id="{FE63F929-6519-A64B-A9AF-B1CCAA4A2B29}"/>
                </a:ext>
              </a:extLst>
            </p:cNvPr>
            <p:cNvSpPr>
              <a:spLocks/>
            </p:cNvSpPr>
            <p:nvPr/>
          </p:nvSpPr>
          <p:spPr bwMode="auto">
            <a:xfrm>
              <a:off x="2214" y="624"/>
              <a:ext cx="2242" cy="2515"/>
            </a:xfrm>
            <a:custGeom>
              <a:avLst/>
              <a:gdLst>
                <a:gd name="T0" fmla="*/ 35580 w 1269"/>
                <a:gd name="T1" fmla="*/ 11574 h 1422"/>
                <a:gd name="T2" fmla="*/ 36798 w 1269"/>
                <a:gd name="T3" fmla="*/ 9766 h 1422"/>
                <a:gd name="T4" fmla="*/ 35308 w 1269"/>
                <a:gd name="T5" fmla="*/ 1799 h 1422"/>
                <a:gd name="T6" fmla="*/ 27409 w 1269"/>
                <a:gd name="T7" fmla="*/ 3309 h 1422"/>
                <a:gd name="T8" fmla="*/ 16185 w 1269"/>
                <a:gd name="T9" fmla="*/ 19835 h 1422"/>
                <a:gd name="T10" fmla="*/ 10980 w 1269"/>
                <a:gd name="T11" fmla="*/ 12897 h 1422"/>
                <a:gd name="T12" fmla="*/ 3012 w 1269"/>
                <a:gd name="T13" fmla="*/ 11753 h 1422"/>
                <a:gd name="T14" fmla="*/ 1892 w 1269"/>
                <a:gd name="T15" fmla="*/ 19786 h 1422"/>
                <a:gd name="T16" fmla="*/ 11830 w 1269"/>
                <a:gd name="T17" fmla="*/ 33123 h 1422"/>
                <a:gd name="T18" fmla="*/ 11858 w 1269"/>
                <a:gd name="T19" fmla="*/ 33139 h 1422"/>
                <a:gd name="T20" fmla="*/ 11858 w 1269"/>
                <a:gd name="T21" fmla="*/ 33139 h 1422"/>
                <a:gd name="T22" fmla="*/ 12733 w 1269"/>
                <a:gd name="T23" fmla="*/ 34090 h 1422"/>
                <a:gd name="T24" fmla="*/ 12733 w 1269"/>
                <a:gd name="T25" fmla="*/ 34090 h 1422"/>
                <a:gd name="T26" fmla="*/ 22086 w 1269"/>
                <a:gd name="T27" fmla="*/ 43524 h 1422"/>
                <a:gd name="T28" fmla="*/ 38321 w 1269"/>
                <a:gd name="T29" fmla="*/ 22225 h 1422"/>
                <a:gd name="T30" fmla="*/ 35580 w 1269"/>
                <a:gd name="T31" fmla="*/ 11574 h 14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69" h="1422">
                  <a:moveTo>
                    <a:pt x="1170" y="378"/>
                  </a:moveTo>
                  <a:cubicBezTo>
                    <a:pt x="1210" y="319"/>
                    <a:pt x="1210" y="319"/>
                    <a:pt x="1210" y="319"/>
                  </a:cubicBezTo>
                  <a:cubicBezTo>
                    <a:pt x="1269" y="234"/>
                    <a:pt x="1247" y="117"/>
                    <a:pt x="1161" y="59"/>
                  </a:cubicBezTo>
                  <a:cubicBezTo>
                    <a:pt x="1076" y="0"/>
                    <a:pt x="959" y="22"/>
                    <a:pt x="901" y="108"/>
                  </a:cubicBezTo>
                  <a:cubicBezTo>
                    <a:pt x="532" y="648"/>
                    <a:pt x="532" y="648"/>
                    <a:pt x="532" y="648"/>
                  </a:cubicBezTo>
                  <a:cubicBezTo>
                    <a:pt x="361" y="421"/>
                    <a:pt x="361" y="421"/>
                    <a:pt x="361" y="421"/>
                  </a:cubicBezTo>
                  <a:cubicBezTo>
                    <a:pt x="299" y="338"/>
                    <a:pt x="182" y="322"/>
                    <a:pt x="99" y="384"/>
                  </a:cubicBezTo>
                  <a:cubicBezTo>
                    <a:pt x="16" y="446"/>
                    <a:pt x="0" y="563"/>
                    <a:pt x="62" y="646"/>
                  </a:cubicBezTo>
                  <a:cubicBezTo>
                    <a:pt x="389" y="1082"/>
                    <a:pt x="389" y="1082"/>
                    <a:pt x="389" y="1082"/>
                  </a:cubicBezTo>
                  <a:cubicBezTo>
                    <a:pt x="389" y="1083"/>
                    <a:pt x="390" y="1083"/>
                    <a:pt x="390" y="1083"/>
                  </a:cubicBezTo>
                  <a:cubicBezTo>
                    <a:pt x="390" y="1083"/>
                    <a:pt x="390" y="1083"/>
                    <a:pt x="390" y="1083"/>
                  </a:cubicBezTo>
                  <a:cubicBezTo>
                    <a:pt x="399" y="1095"/>
                    <a:pt x="408" y="1105"/>
                    <a:pt x="419" y="1114"/>
                  </a:cubicBezTo>
                  <a:cubicBezTo>
                    <a:pt x="419" y="1114"/>
                    <a:pt x="419" y="1114"/>
                    <a:pt x="419" y="1114"/>
                  </a:cubicBezTo>
                  <a:cubicBezTo>
                    <a:pt x="726" y="1422"/>
                    <a:pt x="726" y="1422"/>
                    <a:pt x="726" y="1422"/>
                  </a:cubicBezTo>
                  <a:cubicBezTo>
                    <a:pt x="1034" y="1339"/>
                    <a:pt x="1260" y="1059"/>
                    <a:pt x="1260" y="726"/>
                  </a:cubicBezTo>
                  <a:cubicBezTo>
                    <a:pt x="1260" y="600"/>
                    <a:pt x="1227" y="481"/>
                    <a:pt x="1170" y="37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Freeform 31">
              <a:extLst>
                <a:ext uri="{FF2B5EF4-FFF2-40B4-BE49-F238E27FC236}">
                  <a16:creationId xmlns:a16="http://schemas.microsoft.com/office/drawing/2014/main" id="{242DFBFC-08CB-5E43-8DA6-2B10A1D47921}"/>
                </a:ext>
              </a:extLst>
            </p:cNvPr>
            <p:cNvSpPr>
              <a:spLocks/>
            </p:cNvSpPr>
            <p:nvPr/>
          </p:nvSpPr>
          <p:spPr bwMode="auto">
            <a:xfrm>
              <a:off x="2210" y="624"/>
              <a:ext cx="2246" cy="2050"/>
            </a:xfrm>
            <a:custGeom>
              <a:avLst/>
              <a:gdLst>
                <a:gd name="T0" fmla="*/ 35443 w 1271"/>
                <a:gd name="T1" fmla="*/ 1799 h 1159"/>
                <a:gd name="T2" fmla="*/ 27498 w 1271"/>
                <a:gd name="T3" fmla="*/ 3309 h 1159"/>
                <a:gd name="T4" fmla="*/ 16234 w 1271"/>
                <a:gd name="T5" fmla="*/ 19876 h 1159"/>
                <a:gd name="T6" fmla="*/ 11048 w 1271"/>
                <a:gd name="T7" fmla="*/ 12912 h 1159"/>
                <a:gd name="T8" fmla="*/ 3050 w 1271"/>
                <a:gd name="T9" fmla="*/ 11753 h 1159"/>
                <a:gd name="T10" fmla="*/ 1893 w 1271"/>
                <a:gd name="T11" fmla="*/ 19801 h 1159"/>
                <a:gd name="T12" fmla="*/ 11875 w 1271"/>
                <a:gd name="T13" fmla="*/ 33191 h 1159"/>
                <a:gd name="T14" fmla="*/ 11907 w 1271"/>
                <a:gd name="T15" fmla="*/ 33219 h 1159"/>
                <a:gd name="T16" fmla="*/ 11907 w 1271"/>
                <a:gd name="T17" fmla="*/ 33219 h 1159"/>
                <a:gd name="T18" fmla="*/ 16438 w 1271"/>
                <a:gd name="T19" fmla="*/ 35494 h 1159"/>
                <a:gd name="T20" fmla="*/ 21228 w 1271"/>
                <a:gd name="T21" fmla="*/ 32897 h 1159"/>
                <a:gd name="T22" fmla="*/ 36950 w 1271"/>
                <a:gd name="T23" fmla="*/ 9799 h 1159"/>
                <a:gd name="T24" fmla="*/ 35443 w 1271"/>
                <a:gd name="T25" fmla="*/ 1799 h 11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71" h="1159">
                  <a:moveTo>
                    <a:pt x="1164" y="59"/>
                  </a:moveTo>
                  <a:cubicBezTo>
                    <a:pt x="1078" y="0"/>
                    <a:pt x="961" y="22"/>
                    <a:pt x="903" y="108"/>
                  </a:cubicBezTo>
                  <a:cubicBezTo>
                    <a:pt x="533" y="649"/>
                    <a:pt x="533" y="649"/>
                    <a:pt x="533" y="649"/>
                  </a:cubicBezTo>
                  <a:cubicBezTo>
                    <a:pt x="363" y="422"/>
                    <a:pt x="363" y="422"/>
                    <a:pt x="363" y="422"/>
                  </a:cubicBezTo>
                  <a:cubicBezTo>
                    <a:pt x="300" y="339"/>
                    <a:pt x="183" y="322"/>
                    <a:pt x="100" y="384"/>
                  </a:cubicBezTo>
                  <a:cubicBezTo>
                    <a:pt x="17" y="447"/>
                    <a:pt x="0" y="564"/>
                    <a:pt x="62" y="647"/>
                  </a:cubicBezTo>
                  <a:cubicBezTo>
                    <a:pt x="390" y="1084"/>
                    <a:pt x="390" y="1084"/>
                    <a:pt x="390" y="1084"/>
                  </a:cubicBezTo>
                  <a:cubicBezTo>
                    <a:pt x="391" y="1084"/>
                    <a:pt x="391" y="1085"/>
                    <a:pt x="391" y="1085"/>
                  </a:cubicBezTo>
                  <a:cubicBezTo>
                    <a:pt x="391" y="1085"/>
                    <a:pt x="391" y="1085"/>
                    <a:pt x="391" y="1085"/>
                  </a:cubicBezTo>
                  <a:cubicBezTo>
                    <a:pt x="426" y="1130"/>
                    <a:pt x="480" y="1159"/>
                    <a:pt x="540" y="1159"/>
                  </a:cubicBezTo>
                  <a:cubicBezTo>
                    <a:pt x="606" y="1159"/>
                    <a:pt x="664" y="1125"/>
                    <a:pt x="697" y="1074"/>
                  </a:cubicBezTo>
                  <a:cubicBezTo>
                    <a:pt x="1213" y="320"/>
                    <a:pt x="1213" y="320"/>
                    <a:pt x="1213" y="320"/>
                  </a:cubicBezTo>
                  <a:cubicBezTo>
                    <a:pt x="1271" y="234"/>
                    <a:pt x="1249" y="117"/>
                    <a:pt x="1164" y="5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Freeform 32">
              <a:extLst>
                <a:ext uri="{FF2B5EF4-FFF2-40B4-BE49-F238E27FC236}">
                  <a16:creationId xmlns:a16="http://schemas.microsoft.com/office/drawing/2014/main" id="{6EFB4BFA-DB21-B44E-ADBC-581B2681F75B}"/>
                </a:ext>
              </a:extLst>
            </p:cNvPr>
            <p:cNvSpPr>
              <a:spLocks/>
            </p:cNvSpPr>
            <p:nvPr/>
          </p:nvSpPr>
          <p:spPr bwMode="auto">
            <a:xfrm>
              <a:off x="2832" y="1772"/>
              <a:ext cx="665" cy="902"/>
            </a:xfrm>
            <a:custGeom>
              <a:avLst/>
              <a:gdLst>
                <a:gd name="T0" fmla="*/ 1035 w 376"/>
                <a:gd name="T1" fmla="*/ 6578 h 510"/>
                <a:gd name="T2" fmla="*/ 0 w 376"/>
                <a:gd name="T3" fmla="*/ 9841 h 510"/>
                <a:gd name="T4" fmla="*/ 5766 w 376"/>
                <a:gd name="T5" fmla="*/ 15606 h 510"/>
                <a:gd name="T6" fmla="*/ 11508 w 376"/>
                <a:gd name="T7" fmla="*/ 9841 h 510"/>
                <a:gd name="T8" fmla="*/ 10507 w 376"/>
                <a:gd name="T9" fmla="*/ 6578 h 510"/>
                <a:gd name="T10" fmla="*/ 5536 w 376"/>
                <a:gd name="T11" fmla="*/ 0 h 510"/>
                <a:gd name="T12" fmla="*/ 1035 w 376"/>
                <a:gd name="T13" fmla="*/ 6578 h 5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6" h="510">
                  <a:moveTo>
                    <a:pt x="34" y="215"/>
                  </a:moveTo>
                  <a:cubicBezTo>
                    <a:pt x="13" y="246"/>
                    <a:pt x="0" y="282"/>
                    <a:pt x="0" y="322"/>
                  </a:cubicBezTo>
                  <a:cubicBezTo>
                    <a:pt x="0" y="426"/>
                    <a:pt x="85" y="510"/>
                    <a:pt x="188" y="510"/>
                  </a:cubicBezTo>
                  <a:cubicBezTo>
                    <a:pt x="292" y="510"/>
                    <a:pt x="376" y="426"/>
                    <a:pt x="376" y="322"/>
                  </a:cubicBezTo>
                  <a:cubicBezTo>
                    <a:pt x="376" y="282"/>
                    <a:pt x="364" y="246"/>
                    <a:pt x="343" y="215"/>
                  </a:cubicBezTo>
                  <a:cubicBezTo>
                    <a:pt x="181" y="0"/>
                    <a:pt x="181" y="0"/>
                    <a:pt x="181" y="0"/>
                  </a:cubicBezTo>
                  <a:lnTo>
                    <a:pt x="34" y="215"/>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2" name="Group 3">
            <a:extLst>
              <a:ext uri="{FF2B5EF4-FFF2-40B4-BE49-F238E27FC236}">
                <a16:creationId xmlns:a16="http://schemas.microsoft.com/office/drawing/2014/main" id="{310C78FB-AD2A-6A4A-8365-51A7DFE62AA3}"/>
              </a:ext>
            </a:extLst>
          </p:cNvPr>
          <p:cNvGrpSpPr>
            <a:grpSpLocks/>
          </p:cNvGrpSpPr>
          <p:nvPr/>
        </p:nvGrpSpPr>
        <p:grpSpPr bwMode="auto">
          <a:xfrm>
            <a:off x="3922539" y="1582494"/>
            <a:ext cx="1295423" cy="1295400"/>
            <a:chOff x="3469236" y="1467592"/>
            <a:chExt cx="1726996" cy="1728353"/>
          </a:xfrm>
        </p:grpSpPr>
        <p:sp>
          <p:nvSpPr>
            <p:cNvPr id="23" name="Oval 112">
              <a:extLst>
                <a:ext uri="{FF2B5EF4-FFF2-40B4-BE49-F238E27FC236}">
                  <a16:creationId xmlns:a16="http://schemas.microsoft.com/office/drawing/2014/main" id="{9193F08F-2EED-0446-9EA9-03BF1361B817}"/>
                </a:ext>
              </a:extLst>
            </p:cNvPr>
            <p:cNvSpPr>
              <a:spLocks noChangeArrowheads="1"/>
            </p:cNvSpPr>
            <p:nvPr/>
          </p:nvSpPr>
          <p:spPr bwMode="auto">
            <a:xfrm>
              <a:off x="3469236" y="1467592"/>
              <a:ext cx="1726996" cy="1728353"/>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455613">
                <a:defRPr sz="2000">
                  <a:solidFill>
                    <a:schemeClr val="tx1"/>
                  </a:solidFill>
                  <a:latin typeface="Arial" panose="020B0604020202020204" pitchFamily="34" charset="0"/>
                </a:defRPr>
              </a:lvl1pPr>
              <a:lvl2pPr defTabSz="455613">
                <a:defRPr sz="2000">
                  <a:solidFill>
                    <a:schemeClr val="tx1"/>
                  </a:solidFill>
                  <a:latin typeface="Arial" panose="020B0604020202020204" pitchFamily="34" charset="0"/>
                </a:defRPr>
              </a:lvl2pPr>
              <a:lvl3pPr defTabSz="455613">
                <a:defRPr sz="2000">
                  <a:solidFill>
                    <a:schemeClr val="tx1"/>
                  </a:solidFill>
                  <a:latin typeface="Arial" panose="020B0604020202020204" pitchFamily="34" charset="0"/>
                </a:defRPr>
              </a:lvl3pPr>
              <a:lvl4pPr defTabSz="455613">
                <a:defRPr sz="2000">
                  <a:solidFill>
                    <a:schemeClr val="tx1"/>
                  </a:solidFill>
                  <a:latin typeface="Arial" panose="020B0604020202020204" pitchFamily="34" charset="0"/>
                </a:defRPr>
              </a:lvl4pPr>
              <a:lvl5pPr defTabSz="455613">
                <a:defRPr sz="2000">
                  <a:solidFill>
                    <a:schemeClr val="tx1"/>
                  </a:solidFill>
                  <a:latin typeface="Arial" panose="020B0604020202020204" pitchFamily="34" charset="0"/>
                </a:defRPr>
              </a:lvl5pPr>
              <a:lvl6pPr marL="2284413" indent="1588" defTabSz="4556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4556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4556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4556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 name="Freeform 26">
              <a:extLst>
                <a:ext uri="{FF2B5EF4-FFF2-40B4-BE49-F238E27FC236}">
                  <a16:creationId xmlns:a16="http://schemas.microsoft.com/office/drawing/2014/main" id="{934C21A7-AE3D-4249-A528-31D732260A23}"/>
                </a:ext>
              </a:extLst>
            </p:cNvPr>
            <p:cNvSpPr>
              <a:spLocks/>
            </p:cNvSpPr>
            <p:nvPr/>
          </p:nvSpPr>
          <p:spPr bwMode="auto">
            <a:xfrm>
              <a:off x="3806821" y="1691848"/>
              <a:ext cx="422305" cy="205951"/>
            </a:xfrm>
            <a:custGeom>
              <a:avLst/>
              <a:gdLst>
                <a:gd name="T0" fmla="*/ 2147483646 w 1217"/>
                <a:gd name="T1" fmla="*/ 2147483646 h 593"/>
                <a:gd name="T2" fmla="*/ 2147483646 w 1217"/>
                <a:gd name="T3" fmla="*/ 2147483646 h 593"/>
                <a:gd name="T4" fmla="*/ 2147483646 w 1217"/>
                <a:gd name="T5" fmla="*/ 2147483646 h 593"/>
                <a:gd name="T6" fmla="*/ 2147483646 w 1217"/>
                <a:gd name="T7" fmla="*/ 2147483646 h 593"/>
                <a:gd name="T8" fmla="*/ 2147483646 w 1217"/>
                <a:gd name="T9" fmla="*/ 2147483646 h 593"/>
                <a:gd name="T10" fmla="*/ 2147483646 w 1217"/>
                <a:gd name="T11" fmla="*/ 0 h 593"/>
                <a:gd name="T12" fmla="*/ 2147483646 w 1217"/>
                <a:gd name="T13" fmla="*/ 0 h 593"/>
                <a:gd name="T14" fmla="*/ 2147483646 w 1217"/>
                <a:gd name="T15" fmla="*/ 0 h 593"/>
                <a:gd name="T16" fmla="*/ 2147483646 w 1217"/>
                <a:gd name="T17" fmla="*/ 0 h 593"/>
                <a:gd name="T18" fmla="*/ 2147483646 w 1217"/>
                <a:gd name="T19" fmla="*/ 2147483646 h 593"/>
                <a:gd name="T20" fmla="*/ 2147483646 w 1217"/>
                <a:gd name="T21" fmla="*/ 2147483646 h 593"/>
                <a:gd name="T22" fmla="*/ 2147483646 w 1217"/>
                <a:gd name="T23" fmla="*/ 2147483646 h 593"/>
                <a:gd name="T24" fmla="*/ 2147483646 w 1217"/>
                <a:gd name="T25" fmla="*/ 2147483646 h 593"/>
                <a:gd name="T26" fmla="*/ 2147483646 w 1217"/>
                <a:gd name="T27" fmla="*/ 2147483646 h 593"/>
                <a:gd name="T28" fmla="*/ 2147483646 w 1217"/>
                <a:gd name="T29" fmla="*/ 2147483646 h 593"/>
                <a:gd name="T30" fmla="*/ 2147483646 w 1217"/>
                <a:gd name="T31" fmla="*/ 2147483646 h 593"/>
                <a:gd name="T32" fmla="*/ 2147483646 w 1217"/>
                <a:gd name="T33" fmla="*/ 2147483646 h 593"/>
                <a:gd name="T34" fmla="*/ 2147483646 w 1217"/>
                <a:gd name="T35" fmla="*/ 2147483646 h 593"/>
                <a:gd name="T36" fmla="*/ 2147483646 w 1217"/>
                <a:gd name="T37" fmla="*/ 2147483646 h 593"/>
                <a:gd name="T38" fmla="*/ 2147483646 w 1217"/>
                <a:gd name="T39" fmla="*/ 2147483646 h 59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 name="Freeform 26">
              <a:extLst>
                <a:ext uri="{FF2B5EF4-FFF2-40B4-BE49-F238E27FC236}">
                  <a16:creationId xmlns:a16="http://schemas.microsoft.com/office/drawing/2014/main" id="{CF056EA7-445C-6240-9951-8609753D5044}"/>
                </a:ext>
              </a:extLst>
            </p:cNvPr>
            <p:cNvSpPr>
              <a:spLocks/>
            </p:cNvSpPr>
            <p:nvPr/>
          </p:nvSpPr>
          <p:spPr bwMode="auto">
            <a:xfrm>
              <a:off x="4152933" y="1527544"/>
              <a:ext cx="422305" cy="205951"/>
            </a:xfrm>
            <a:custGeom>
              <a:avLst/>
              <a:gdLst>
                <a:gd name="T0" fmla="*/ 2147483646 w 1217"/>
                <a:gd name="T1" fmla="*/ 2147483646 h 593"/>
                <a:gd name="T2" fmla="*/ 2147483646 w 1217"/>
                <a:gd name="T3" fmla="*/ 2147483646 h 593"/>
                <a:gd name="T4" fmla="*/ 2147483646 w 1217"/>
                <a:gd name="T5" fmla="*/ 2147483646 h 593"/>
                <a:gd name="T6" fmla="*/ 2147483646 w 1217"/>
                <a:gd name="T7" fmla="*/ 2147483646 h 593"/>
                <a:gd name="T8" fmla="*/ 2147483646 w 1217"/>
                <a:gd name="T9" fmla="*/ 2147483646 h 593"/>
                <a:gd name="T10" fmla="*/ 2147483646 w 1217"/>
                <a:gd name="T11" fmla="*/ 0 h 593"/>
                <a:gd name="T12" fmla="*/ 2147483646 w 1217"/>
                <a:gd name="T13" fmla="*/ 0 h 593"/>
                <a:gd name="T14" fmla="*/ 2147483646 w 1217"/>
                <a:gd name="T15" fmla="*/ 0 h 593"/>
                <a:gd name="T16" fmla="*/ 2147483646 w 1217"/>
                <a:gd name="T17" fmla="*/ 0 h 593"/>
                <a:gd name="T18" fmla="*/ 2147483646 w 1217"/>
                <a:gd name="T19" fmla="*/ 2147483646 h 593"/>
                <a:gd name="T20" fmla="*/ 2147483646 w 1217"/>
                <a:gd name="T21" fmla="*/ 2147483646 h 593"/>
                <a:gd name="T22" fmla="*/ 2147483646 w 1217"/>
                <a:gd name="T23" fmla="*/ 2147483646 h 593"/>
                <a:gd name="T24" fmla="*/ 2147483646 w 1217"/>
                <a:gd name="T25" fmla="*/ 2147483646 h 593"/>
                <a:gd name="T26" fmla="*/ 2147483646 w 1217"/>
                <a:gd name="T27" fmla="*/ 2147483646 h 593"/>
                <a:gd name="T28" fmla="*/ 2147483646 w 1217"/>
                <a:gd name="T29" fmla="*/ 2147483646 h 593"/>
                <a:gd name="T30" fmla="*/ 2147483646 w 1217"/>
                <a:gd name="T31" fmla="*/ 2147483646 h 593"/>
                <a:gd name="T32" fmla="*/ 2147483646 w 1217"/>
                <a:gd name="T33" fmla="*/ 2147483646 h 593"/>
                <a:gd name="T34" fmla="*/ 2147483646 w 1217"/>
                <a:gd name="T35" fmla="*/ 2147483646 h 593"/>
                <a:gd name="T36" fmla="*/ 2147483646 w 1217"/>
                <a:gd name="T37" fmla="*/ 2147483646 h 593"/>
                <a:gd name="T38" fmla="*/ 2147483646 w 1217"/>
                <a:gd name="T39" fmla="*/ 2147483646 h 59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Freeform 26">
              <a:extLst>
                <a:ext uri="{FF2B5EF4-FFF2-40B4-BE49-F238E27FC236}">
                  <a16:creationId xmlns:a16="http://schemas.microsoft.com/office/drawing/2014/main" id="{DFD0FCC6-90C2-1444-B3DA-F7326D166FC6}"/>
                </a:ext>
              </a:extLst>
            </p:cNvPr>
            <p:cNvSpPr>
              <a:spLocks/>
            </p:cNvSpPr>
            <p:nvPr/>
          </p:nvSpPr>
          <p:spPr bwMode="auto">
            <a:xfrm>
              <a:off x="4441933" y="1732621"/>
              <a:ext cx="422305" cy="205951"/>
            </a:xfrm>
            <a:custGeom>
              <a:avLst/>
              <a:gdLst>
                <a:gd name="T0" fmla="*/ 2147483646 w 1217"/>
                <a:gd name="T1" fmla="*/ 2147483646 h 593"/>
                <a:gd name="T2" fmla="*/ 2147483646 w 1217"/>
                <a:gd name="T3" fmla="*/ 2147483646 h 593"/>
                <a:gd name="T4" fmla="*/ 2147483646 w 1217"/>
                <a:gd name="T5" fmla="*/ 2147483646 h 593"/>
                <a:gd name="T6" fmla="*/ 2147483646 w 1217"/>
                <a:gd name="T7" fmla="*/ 2147483646 h 593"/>
                <a:gd name="T8" fmla="*/ 2147483646 w 1217"/>
                <a:gd name="T9" fmla="*/ 2147483646 h 593"/>
                <a:gd name="T10" fmla="*/ 2147483646 w 1217"/>
                <a:gd name="T11" fmla="*/ 0 h 593"/>
                <a:gd name="T12" fmla="*/ 2147483646 w 1217"/>
                <a:gd name="T13" fmla="*/ 0 h 593"/>
                <a:gd name="T14" fmla="*/ 2147483646 w 1217"/>
                <a:gd name="T15" fmla="*/ 0 h 593"/>
                <a:gd name="T16" fmla="*/ 2147483646 w 1217"/>
                <a:gd name="T17" fmla="*/ 0 h 593"/>
                <a:gd name="T18" fmla="*/ 2147483646 w 1217"/>
                <a:gd name="T19" fmla="*/ 2147483646 h 593"/>
                <a:gd name="T20" fmla="*/ 2147483646 w 1217"/>
                <a:gd name="T21" fmla="*/ 2147483646 h 593"/>
                <a:gd name="T22" fmla="*/ 2147483646 w 1217"/>
                <a:gd name="T23" fmla="*/ 2147483646 h 593"/>
                <a:gd name="T24" fmla="*/ 2147483646 w 1217"/>
                <a:gd name="T25" fmla="*/ 2147483646 h 593"/>
                <a:gd name="T26" fmla="*/ 2147483646 w 1217"/>
                <a:gd name="T27" fmla="*/ 2147483646 h 593"/>
                <a:gd name="T28" fmla="*/ 2147483646 w 1217"/>
                <a:gd name="T29" fmla="*/ 2147483646 h 593"/>
                <a:gd name="T30" fmla="*/ 2147483646 w 1217"/>
                <a:gd name="T31" fmla="*/ 2147483646 h 593"/>
                <a:gd name="T32" fmla="*/ 2147483646 w 1217"/>
                <a:gd name="T33" fmla="*/ 2147483646 h 593"/>
                <a:gd name="T34" fmla="*/ 2147483646 w 1217"/>
                <a:gd name="T35" fmla="*/ 2147483646 h 593"/>
                <a:gd name="T36" fmla="*/ 2147483646 w 1217"/>
                <a:gd name="T37" fmla="*/ 2147483646 h 593"/>
                <a:gd name="T38" fmla="*/ 2147483646 w 1217"/>
                <a:gd name="T39" fmla="*/ 2147483646 h 59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TextBox 2">
              <a:extLst>
                <a:ext uri="{FF2B5EF4-FFF2-40B4-BE49-F238E27FC236}">
                  <a16:creationId xmlns:a16="http://schemas.microsoft.com/office/drawing/2014/main" id="{DB6361E7-D6C3-E24F-8FE0-AC55C926E756}"/>
                </a:ext>
              </a:extLst>
            </p:cNvPr>
            <p:cNvSpPr txBox="1">
              <a:spLocks noChangeArrowheads="1"/>
            </p:cNvSpPr>
            <p:nvPr/>
          </p:nvSpPr>
          <p:spPr bwMode="auto">
            <a:xfrm>
              <a:off x="3549858" y="1872007"/>
              <a:ext cx="15542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sz="2000">
                  <a:solidFill>
                    <a:schemeClr val="tx1"/>
                  </a:solidFill>
                  <a:latin typeface="Arial" panose="020B0604020202020204" pitchFamily="34" charset="0"/>
                </a:defRPr>
              </a:lvl1pPr>
              <a:lvl2pPr defTabSz="684213">
                <a:defRPr sz="2000">
                  <a:solidFill>
                    <a:schemeClr val="tx1"/>
                  </a:solidFill>
                  <a:latin typeface="Arial" panose="020B0604020202020204" pitchFamily="34" charset="0"/>
                </a:defRPr>
              </a:lvl2pPr>
              <a:lvl3pPr defTabSz="684213">
                <a:defRPr sz="2000">
                  <a:solidFill>
                    <a:schemeClr val="tx1"/>
                  </a:solidFill>
                  <a:latin typeface="Arial" panose="020B0604020202020204" pitchFamily="34" charset="0"/>
                </a:defRPr>
              </a:lvl3pPr>
              <a:lvl4pPr defTabSz="684213">
                <a:defRPr sz="2000">
                  <a:solidFill>
                    <a:schemeClr val="tx1"/>
                  </a:solidFill>
                  <a:latin typeface="Arial" panose="020B0604020202020204" pitchFamily="34" charset="0"/>
                </a:defRPr>
              </a:lvl4pPr>
              <a:lvl5pPr defTabSz="684213">
                <a:defRPr sz="2000">
                  <a:solidFill>
                    <a:schemeClr val="tx1"/>
                  </a:solidFill>
                  <a:latin typeface="Arial" panose="020B0604020202020204" pitchFamily="34" charset="0"/>
                </a:defRPr>
              </a:lvl5pPr>
              <a:lvl6pPr marL="2284413" indent="1588" defTabSz="6842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6842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6842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6842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684213"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ulticloud</a:t>
              </a:r>
            </a:p>
          </p:txBody>
        </p:sp>
        <p:sp>
          <p:nvSpPr>
            <p:cNvPr id="28" name="TextBox 57">
              <a:extLst>
                <a:ext uri="{FF2B5EF4-FFF2-40B4-BE49-F238E27FC236}">
                  <a16:creationId xmlns:a16="http://schemas.microsoft.com/office/drawing/2014/main" id="{017C7E96-F03A-0748-B879-5E3E3516C40D}"/>
                </a:ext>
              </a:extLst>
            </p:cNvPr>
            <p:cNvSpPr txBox="1">
              <a:spLocks noChangeArrowheads="1"/>
            </p:cNvSpPr>
            <p:nvPr/>
          </p:nvSpPr>
          <p:spPr bwMode="auto">
            <a:xfrm>
              <a:off x="3549858" y="2717222"/>
              <a:ext cx="15542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sz="2000">
                  <a:solidFill>
                    <a:schemeClr val="tx1"/>
                  </a:solidFill>
                  <a:latin typeface="Arial" panose="020B0604020202020204" pitchFamily="34" charset="0"/>
                </a:defRPr>
              </a:lvl1pPr>
              <a:lvl2pPr defTabSz="684213">
                <a:defRPr sz="2000">
                  <a:solidFill>
                    <a:schemeClr val="tx1"/>
                  </a:solidFill>
                  <a:latin typeface="Arial" panose="020B0604020202020204" pitchFamily="34" charset="0"/>
                </a:defRPr>
              </a:lvl2pPr>
              <a:lvl3pPr defTabSz="684213">
                <a:defRPr sz="2000">
                  <a:solidFill>
                    <a:schemeClr val="tx1"/>
                  </a:solidFill>
                  <a:latin typeface="Arial" panose="020B0604020202020204" pitchFamily="34" charset="0"/>
                </a:defRPr>
              </a:lvl3pPr>
              <a:lvl4pPr defTabSz="684213">
                <a:defRPr sz="2000">
                  <a:solidFill>
                    <a:schemeClr val="tx1"/>
                  </a:solidFill>
                  <a:latin typeface="Arial" panose="020B0604020202020204" pitchFamily="34" charset="0"/>
                </a:defRPr>
              </a:lvl4pPr>
              <a:lvl5pPr defTabSz="684213">
                <a:defRPr sz="2000">
                  <a:solidFill>
                    <a:schemeClr val="tx1"/>
                  </a:solidFill>
                  <a:latin typeface="Arial" panose="020B0604020202020204" pitchFamily="34" charset="0"/>
                </a:defRPr>
              </a:lvl5pPr>
              <a:lvl6pPr marL="2284413" indent="1588" defTabSz="6842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6842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6842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6842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684213"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mn-cs"/>
                </a:rPr>
                <a:t>Edge</a:t>
              </a:r>
            </a:p>
          </p:txBody>
        </p:sp>
        <p:sp>
          <p:nvSpPr>
            <p:cNvPr id="29" name="TextBox 58">
              <a:extLst>
                <a:ext uri="{FF2B5EF4-FFF2-40B4-BE49-F238E27FC236}">
                  <a16:creationId xmlns:a16="http://schemas.microsoft.com/office/drawing/2014/main" id="{9D865901-6A49-0A4D-8793-A84026E9D6B7}"/>
                </a:ext>
              </a:extLst>
            </p:cNvPr>
            <p:cNvSpPr txBox="1">
              <a:spLocks noChangeArrowheads="1"/>
            </p:cNvSpPr>
            <p:nvPr/>
          </p:nvSpPr>
          <p:spPr bwMode="auto">
            <a:xfrm>
              <a:off x="3549858" y="2238497"/>
              <a:ext cx="15542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sz="2000">
                  <a:solidFill>
                    <a:schemeClr val="tx1"/>
                  </a:solidFill>
                  <a:latin typeface="Arial" panose="020B0604020202020204" pitchFamily="34" charset="0"/>
                </a:defRPr>
              </a:lvl1pPr>
              <a:lvl2pPr defTabSz="684213">
                <a:defRPr sz="2000">
                  <a:solidFill>
                    <a:schemeClr val="tx1"/>
                  </a:solidFill>
                  <a:latin typeface="Arial" panose="020B0604020202020204" pitchFamily="34" charset="0"/>
                </a:defRPr>
              </a:lvl2pPr>
              <a:lvl3pPr defTabSz="684213">
                <a:defRPr sz="2000">
                  <a:solidFill>
                    <a:schemeClr val="tx1"/>
                  </a:solidFill>
                  <a:latin typeface="Arial" panose="020B0604020202020204" pitchFamily="34" charset="0"/>
                </a:defRPr>
              </a:lvl3pPr>
              <a:lvl4pPr defTabSz="684213">
                <a:defRPr sz="2000">
                  <a:solidFill>
                    <a:schemeClr val="tx1"/>
                  </a:solidFill>
                  <a:latin typeface="Arial" panose="020B0604020202020204" pitchFamily="34" charset="0"/>
                </a:defRPr>
              </a:lvl4pPr>
              <a:lvl5pPr defTabSz="684213">
                <a:defRPr sz="2000">
                  <a:solidFill>
                    <a:schemeClr val="tx1"/>
                  </a:solidFill>
                  <a:latin typeface="Arial" panose="020B0604020202020204" pitchFamily="34" charset="0"/>
                </a:defRPr>
              </a:lvl5pPr>
              <a:lvl6pPr marL="2284413" indent="1588" defTabSz="6842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6842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6842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6842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684213"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ore</a:t>
              </a:r>
            </a:p>
          </p:txBody>
        </p:sp>
      </p:grpSp>
      <p:grpSp>
        <p:nvGrpSpPr>
          <p:cNvPr id="43" name="Group 42">
            <a:extLst>
              <a:ext uri="{FF2B5EF4-FFF2-40B4-BE49-F238E27FC236}">
                <a16:creationId xmlns:a16="http://schemas.microsoft.com/office/drawing/2014/main" id="{4C89F99B-2DCC-C548-B60E-88FD09E62174}"/>
              </a:ext>
            </a:extLst>
          </p:cNvPr>
          <p:cNvGrpSpPr/>
          <p:nvPr/>
        </p:nvGrpSpPr>
        <p:grpSpPr>
          <a:xfrm>
            <a:off x="978688" y="1584935"/>
            <a:ext cx="1360488" cy="1368425"/>
            <a:chOff x="696585" y="1425575"/>
            <a:chExt cx="1360488" cy="1368425"/>
          </a:xfrm>
        </p:grpSpPr>
        <p:grpSp>
          <p:nvGrpSpPr>
            <p:cNvPr id="30" name="Group 186">
              <a:extLst>
                <a:ext uri="{FF2B5EF4-FFF2-40B4-BE49-F238E27FC236}">
                  <a16:creationId xmlns:a16="http://schemas.microsoft.com/office/drawing/2014/main" id="{D662567A-CBB2-C545-BD90-B5A8616B9F59}"/>
                </a:ext>
              </a:extLst>
            </p:cNvPr>
            <p:cNvGrpSpPr>
              <a:grpSpLocks noChangeAspect="1"/>
            </p:cNvGrpSpPr>
            <p:nvPr/>
          </p:nvGrpSpPr>
          <p:grpSpPr bwMode="auto">
            <a:xfrm>
              <a:off x="696585" y="1425575"/>
              <a:ext cx="1360488" cy="1362075"/>
              <a:chOff x="1896" y="635"/>
              <a:chExt cx="2544" cy="2546"/>
            </a:xfrm>
          </p:grpSpPr>
          <p:sp>
            <p:nvSpPr>
              <p:cNvPr id="31" name="Oval 187">
                <a:extLst>
                  <a:ext uri="{FF2B5EF4-FFF2-40B4-BE49-F238E27FC236}">
                    <a16:creationId xmlns:a16="http://schemas.microsoft.com/office/drawing/2014/main" id="{E0B448C2-1FC4-6747-A12D-A8A8F9135AC7}"/>
                  </a:ext>
                </a:extLst>
              </p:cNvPr>
              <p:cNvSpPr>
                <a:spLocks noChangeArrowheads="1"/>
              </p:cNvSpPr>
              <p:nvPr/>
            </p:nvSpPr>
            <p:spPr bwMode="auto">
              <a:xfrm>
                <a:off x="1896" y="635"/>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455613">
                  <a:defRPr sz="2000">
                    <a:solidFill>
                      <a:schemeClr val="tx1"/>
                    </a:solidFill>
                    <a:latin typeface="Arial" panose="020B0604020202020204" pitchFamily="34" charset="0"/>
                  </a:defRPr>
                </a:lvl1pPr>
                <a:lvl2pPr defTabSz="455613">
                  <a:defRPr sz="2000">
                    <a:solidFill>
                      <a:schemeClr val="tx1"/>
                    </a:solidFill>
                    <a:latin typeface="Arial" panose="020B0604020202020204" pitchFamily="34" charset="0"/>
                  </a:defRPr>
                </a:lvl2pPr>
                <a:lvl3pPr defTabSz="455613">
                  <a:defRPr sz="2000">
                    <a:solidFill>
                      <a:schemeClr val="tx1"/>
                    </a:solidFill>
                    <a:latin typeface="Arial" panose="020B0604020202020204" pitchFamily="34" charset="0"/>
                  </a:defRPr>
                </a:lvl3pPr>
                <a:lvl4pPr defTabSz="455613">
                  <a:defRPr sz="2000">
                    <a:solidFill>
                      <a:schemeClr val="tx1"/>
                    </a:solidFill>
                    <a:latin typeface="Arial" panose="020B0604020202020204" pitchFamily="34" charset="0"/>
                  </a:defRPr>
                </a:lvl4pPr>
                <a:lvl5pPr defTabSz="455613">
                  <a:defRPr sz="2000">
                    <a:solidFill>
                      <a:schemeClr val="tx1"/>
                    </a:solidFill>
                    <a:latin typeface="Arial" panose="020B0604020202020204" pitchFamily="34" charset="0"/>
                  </a:defRPr>
                </a:lvl5pPr>
                <a:lvl6pPr marL="2284413" indent="1588" defTabSz="4556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4556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4556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4556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2" name="Line 188">
                <a:extLst>
                  <a:ext uri="{FF2B5EF4-FFF2-40B4-BE49-F238E27FC236}">
                    <a16:creationId xmlns:a16="http://schemas.microsoft.com/office/drawing/2014/main" id="{600EE70A-44D8-914A-A1EB-F61D6EB61094}"/>
                  </a:ext>
                </a:extLst>
              </p:cNvPr>
              <p:cNvSpPr>
                <a:spLocks noChangeShapeType="1"/>
              </p:cNvSpPr>
              <p:nvPr/>
            </p:nvSpPr>
            <p:spPr bwMode="auto">
              <a:xfrm>
                <a:off x="4436" y="190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Line 189">
                <a:extLst>
                  <a:ext uri="{FF2B5EF4-FFF2-40B4-BE49-F238E27FC236}">
                    <a16:creationId xmlns:a16="http://schemas.microsoft.com/office/drawing/2014/main" id="{651FC798-CE1F-104E-AE99-629691638AC6}"/>
                  </a:ext>
                </a:extLst>
              </p:cNvPr>
              <p:cNvSpPr>
                <a:spLocks noChangeShapeType="1"/>
              </p:cNvSpPr>
              <p:nvPr/>
            </p:nvSpPr>
            <p:spPr bwMode="auto">
              <a:xfrm>
                <a:off x="4436" y="190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pic>
          <p:nvPicPr>
            <p:cNvPr id="34" name="Picture 6">
              <a:extLst>
                <a:ext uri="{FF2B5EF4-FFF2-40B4-BE49-F238E27FC236}">
                  <a16:creationId xmlns:a16="http://schemas.microsoft.com/office/drawing/2014/main" id="{977B92D0-F55A-3A40-A0AC-FF484E28757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3110" y="1751013"/>
              <a:ext cx="568325"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7">
              <a:extLst>
                <a:ext uri="{FF2B5EF4-FFF2-40B4-BE49-F238E27FC236}">
                  <a16:creationId xmlns:a16="http://schemas.microsoft.com/office/drawing/2014/main" id="{50C67569-8454-BD4D-8BEF-2B8A6B43E86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1098" y="2005013"/>
              <a:ext cx="768350"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8">
              <a:extLst>
                <a:ext uri="{FF2B5EF4-FFF2-40B4-BE49-F238E27FC236}">
                  <a16:creationId xmlns:a16="http://schemas.microsoft.com/office/drawing/2014/main" id="{278F38D7-8266-1242-9634-D6F4E307D1F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4223" y="2265363"/>
              <a:ext cx="54133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9">
              <a:extLst>
                <a:ext uri="{FF2B5EF4-FFF2-40B4-BE49-F238E27FC236}">
                  <a16:creationId xmlns:a16="http://schemas.microsoft.com/office/drawing/2014/main" id="{BDD0AE33-494E-6D4E-96A7-103EA870BB8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25273" y="1703388"/>
              <a:ext cx="252412"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54">
              <a:extLst>
                <a:ext uri="{FF2B5EF4-FFF2-40B4-BE49-F238E27FC236}">
                  <a16:creationId xmlns:a16="http://schemas.microsoft.com/office/drawing/2014/main" id="{6D35EE9D-32B3-644F-B70F-BDFF86C4260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495098" y="2203450"/>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55">
              <a:extLst>
                <a:ext uri="{FF2B5EF4-FFF2-40B4-BE49-F238E27FC236}">
                  <a16:creationId xmlns:a16="http://schemas.microsoft.com/office/drawing/2014/main" id="{73B766DD-0289-5641-AC31-538C1DA6F91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20448" y="2460625"/>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2">
              <a:extLst>
                <a:ext uri="{FF2B5EF4-FFF2-40B4-BE49-F238E27FC236}">
                  <a16:creationId xmlns:a16="http://schemas.microsoft.com/office/drawing/2014/main" id="{E14ABEE3-EBDC-EB42-B7A1-45310310583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239510" y="1470025"/>
              <a:ext cx="274638"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3">
              <a:extLst>
                <a:ext uri="{FF2B5EF4-FFF2-40B4-BE49-F238E27FC236}">
                  <a16:creationId xmlns:a16="http://schemas.microsoft.com/office/drawing/2014/main" id="{E2CE923D-6FA1-5F44-BC2F-523AC8120E5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56923" y="2003425"/>
              <a:ext cx="2032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Rectangle 10">
            <a:extLst>
              <a:ext uri="{FF2B5EF4-FFF2-40B4-BE49-F238E27FC236}">
                <a16:creationId xmlns:a16="http://schemas.microsoft.com/office/drawing/2014/main" id="{32DCA824-60D3-C544-BC19-97D4DB8F13BC}"/>
              </a:ext>
            </a:extLst>
          </p:cNvPr>
          <p:cNvSpPr/>
          <p:nvPr/>
        </p:nvSpPr>
        <p:spPr>
          <a:xfrm>
            <a:off x="649681" y="3021339"/>
            <a:ext cx="2018501" cy="338554"/>
          </a:xfrm>
          <a:prstGeom prst="rect">
            <a:avLst/>
          </a:prstGeom>
        </p:spPr>
        <p:txBody>
          <a:bodyPr wrap="none">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95918F"/>
                </a:solidFill>
                <a:effectLst/>
                <a:uLnTx/>
                <a:uFillTx/>
                <a:latin typeface="Arial"/>
                <a:ea typeface="+mn-ea"/>
                <a:cs typeface="+mn-cs"/>
              </a:rPr>
              <a:t>Modern applications</a:t>
            </a:r>
          </a:p>
        </p:txBody>
      </p:sp>
    </p:spTree>
    <p:extLst>
      <p:ext uri="{BB962C8B-B14F-4D97-AF65-F5344CB8AC3E}">
        <p14:creationId xmlns:p14="http://schemas.microsoft.com/office/powerpoint/2010/main" val="642052938"/>
      </p:ext>
    </p:extLst>
  </p:cSld>
  <p:clrMapOvr>
    <a:masterClrMapping/>
  </p:clrMapOvr>
  <p:transition spd="slow">
    <p:circl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3">
            <a:extLst>
              <a:ext uri="{FF2B5EF4-FFF2-40B4-BE49-F238E27FC236}">
                <a16:creationId xmlns:a16="http://schemas.microsoft.com/office/drawing/2014/main" id="{541CA37F-DA34-487F-B708-E6BDC279EAA3}"/>
              </a:ext>
            </a:extLst>
          </p:cNvPr>
          <p:cNvSpPr>
            <a:spLocks noGrp="1" noChangeArrowheads="1"/>
          </p:cNvSpPr>
          <p:nvPr>
            <p:ph type="ctrTitle"/>
          </p:nvPr>
        </p:nvSpPr>
        <p:spPr>
          <a:xfrm>
            <a:off x="803275" y="2046288"/>
            <a:ext cx="7772400" cy="1298575"/>
          </a:xfrm>
        </p:spPr>
        <p:txBody>
          <a:bodyPr/>
          <a:lstStyle/>
          <a:p>
            <a:pPr eaLnBrk="1" hangingPunct="1"/>
            <a:br>
              <a:rPr lang="en-US" altLang="en-US" dirty="0"/>
            </a:br>
            <a:r>
              <a:rPr lang="en-US" altLang="en-US" dirty="0"/>
              <a:t>Thank You</a:t>
            </a:r>
          </a:p>
        </p:txBody>
      </p:sp>
    </p:spTree>
    <p:extLst>
      <p:ext uri="{BB962C8B-B14F-4D97-AF65-F5344CB8AC3E}">
        <p14:creationId xmlns:p14="http://schemas.microsoft.com/office/powerpoint/2010/main" val="216101856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FlexPod_Angle1.png">
            <a:extLst>
              <a:ext uri="{FF2B5EF4-FFF2-40B4-BE49-F238E27FC236}">
                <a16:creationId xmlns:a16="http://schemas.microsoft.com/office/drawing/2014/main" id="{9ADD30F2-5D17-BA4F-A26C-3D887C4788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1427"/>
          <a:stretch/>
        </p:blipFill>
        <p:spPr>
          <a:xfrm>
            <a:off x="1528538" y="0"/>
            <a:ext cx="7954913" cy="5143500"/>
          </a:xfrm>
          <a:prstGeom prst="rect">
            <a:avLst/>
          </a:prstGeom>
        </p:spPr>
      </p:pic>
      <p:sp>
        <p:nvSpPr>
          <p:cNvPr id="6" name="Content Placeholder 5">
            <a:extLst>
              <a:ext uri="{FF2B5EF4-FFF2-40B4-BE49-F238E27FC236}">
                <a16:creationId xmlns:a16="http://schemas.microsoft.com/office/drawing/2014/main" id="{7DD6C0B3-A816-974C-A5B9-4AC97CE537DF}"/>
              </a:ext>
            </a:extLst>
          </p:cNvPr>
          <p:cNvSpPr>
            <a:spLocks noGrp="1"/>
          </p:cNvSpPr>
          <p:nvPr>
            <p:ph sz="quarter" idx="10"/>
          </p:nvPr>
        </p:nvSpPr>
        <p:spPr>
          <a:xfrm>
            <a:off x="228755" y="1597354"/>
            <a:ext cx="5277240" cy="2871283"/>
          </a:xfrm>
        </p:spPr>
        <p:txBody>
          <a:bodyPr/>
          <a:lstStyle/>
          <a:p>
            <a:pPr marL="0" indent="0">
              <a:spcAft>
                <a:spcPts val="1200"/>
              </a:spcAft>
              <a:buNone/>
            </a:pPr>
            <a:r>
              <a:rPr lang="en-US" b="1" dirty="0">
                <a:solidFill>
                  <a:srgbClr val="4CABD6"/>
                </a:solidFill>
              </a:rPr>
              <a:t>Power modern AI and enterprise applications </a:t>
            </a:r>
            <a:r>
              <a:rPr lang="en-US" dirty="0"/>
              <a:t>with the latest platform innovations</a:t>
            </a:r>
          </a:p>
          <a:p>
            <a:pPr marL="0" indent="0">
              <a:spcAft>
                <a:spcPts val="1200"/>
              </a:spcAft>
              <a:buNone/>
            </a:pPr>
            <a:r>
              <a:rPr lang="en-US" b="1" dirty="0">
                <a:solidFill>
                  <a:srgbClr val="4CABD6"/>
                </a:solidFill>
              </a:rPr>
              <a:t>Embrace the cloud with confidence </a:t>
            </a:r>
            <a:br>
              <a:rPr lang="en-US" b="1" dirty="0"/>
            </a:br>
            <a:r>
              <a:rPr lang="en-US" dirty="0"/>
              <a:t>for unmatched versatility</a:t>
            </a:r>
          </a:p>
          <a:p>
            <a:pPr marL="0" indent="0">
              <a:spcAft>
                <a:spcPts val="1200"/>
              </a:spcAft>
              <a:buNone/>
            </a:pPr>
            <a:r>
              <a:rPr lang="en-US" b="1" dirty="0">
                <a:solidFill>
                  <a:srgbClr val="4CABD6"/>
                </a:solidFill>
              </a:rPr>
              <a:t>Deliver a better customer experience </a:t>
            </a:r>
            <a:br>
              <a:rPr lang="en-US" b="1" dirty="0"/>
            </a:br>
            <a:r>
              <a:rPr lang="en-US" dirty="0"/>
              <a:t>with a platform trusted worldwide</a:t>
            </a:r>
          </a:p>
          <a:p>
            <a:pPr>
              <a:spcAft>
                <a:spcPts val="1200"/>
              </a:spcAft>
            </a:pPr>
            <a:endParaRPr lang="en-US" dirty="0"/>
          </a:p>
          <a:p>
            <a:pPr>
              <a:spcAft>
                <a:spcPts val="1200"/>
              </a:spcAft>
            </a:pPr>
            <a:endParaRPr lang="en-US" dirty="0"/>
          </a:p>
          <a:p>
            <a:pPr>
              <a:spcAft>
                <a:spcPts val="1200"/>
              </a:spcAft>
            </a:pPr>
            <a:endParaRPr lang="en-US" dirty="0"/>
          </a:p>
          <a:p>
            <a:pPr>
              <a:spcAft>
                <a:spcPts val="1200"/>
              </a:spcAft>
            </a:pPr>
            <a:endParaRPr lang="en-US" dirty="0"/>
          </a:p>
          <a:p>
            <a:pPr>
              <a:spcAft>
                <a:spcPts val="1200"/>
              </a:spcAft>
            </a:pPr>
            <a:endParaRPr lang="en-US" dirty="0"/>
          </a:p>
          <a:p>
            <a:pPr>
              <a:spcAft>
                <a:spcPts val="1200"/>
              </a:spcAft>
            </a:pPr>
            <a:endParaRPr lang="en-US" dirty="0"/>
          </a:p>
          <a:p>
            <a:pPr>
              <a:spcAft>
                <a:spcPts val="1200"/>
              </a:spcAft>
            </a:pPr>
            <a:endParaRPr lang="en-US" dirty="0"/>
          </a:p>
          <a:p>
            <a:pPr>
              <a:spcAft>
                <a:spcPts val="1200"/>
              </a:spcAft>
            </a:pPr>
            <a:endParaRPr lang="en-US" dirty="0"/>
          </a:p>
        </p:txBody>
      </p:sp>
      <p:sp>
        <p:nvSpPr>
          <p:cNvPr id="4" name="Title 3">
            <a:extLst>
              <a:ext uri="{FF2B5EF4-FFF2-40B4-BE49-F238E27FC236}">
                <a16:creationId xmlns:a16="http://schemas.microsoft.com/office/drawing/2014/main" id="{258440A9-DD82-CE47-9658-1369F05CA34D}"/>
              </a:ext>
            </a:extLst>
          </p:cNvPr>
          <p:cNvSpPr>
            <a:spLocks noGrp="1"/>
          </p:cNvSpPr>
          <p:nvPr>
            <p:ph type="title"/>
          </p:nvPr>
        </p:nvSpPr>
        <p:spPr/>
        <p:txBody>
          <a:bodyPr/>
          <a:lstStyle/>
          <a:p>
            <a:r>
              <a:rPr lang="en-US" dirty="0"/>
              <a:t>Confidently Power Modern Workloads</a:t>
            </a:r>
          </a:p>
        </p:txBody>
      </p:sp>
    </p:spTree>
    <p:extLst>
      <p:ext uri="{BB962C8B-B14F-4D97-AF65-F5344CB8AC3E}">
        <p14:creationId xmlns:p14="http://schemas.microsoft.com/office/powerpoint/2010/main" val="376420877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2">
            <a:extLst>
              <a:ext uri="{FF2B5EF4-FFF2-40B4-BE49-F238E27FC236}">
                <a16:creationId xmlns:a16="http://schemas.microsoft.com/office/drawing/2014/main" id="{37EE86F9-0C26-45F9-A32F-C48B1C0B3115}"/>
              </a:ext>
            </a:extLst>
          </p:cNvPr>
          <p:cNvSpPr txBox="1">
            <a:spLocks/>
          </p:cNvSpPr>
          <p:nvPr/>
        </p:nvSpPr>
        <p:spPr>
          <a:xfrm>
            <a:off x="294413" y="6238647"/>
            <a:ext cx="10374996" cy="215444"/>
          </a:xfrm>
          <a:prstGeom prst="rect">
            <a:avLst/>
          </a:prstGeom>
        </p:spPr>
        <p:txBody>
          <a:bodyPr vert="horz" wrap="square" lIns="91521" tIns="45761" rIns="91521" bIns="45761" rtlCol="0" anchor="ctr">
            <a:noAutofit/>
          </a:bodyPr>
          <a:lstStyle>
            <a:lvl1pPr marL="0" indent="0" algn="l" defTabSz="915216" rtl="0" eaLnBrk="1" latinLnBrk="0" hangingPunct="1">
              <a:lnSpc>
                <a:spcPct val="100000"/>
              </a:lnSpc>
              <a:spcBef>
                <a:spcPts val="0"/>
              </a:spcBef>
              <a:spcAft>
                <a:spcPts val="0"/>
              </a:spcAft>
              <a:buClr>
                <a:schemeClr val="accent1"/>
              </a:buClr>
              <a:buFontTx/>
              <a:buNone/>
              <a:defRPr sz="800" kern="1200" baseline="0">
                <a:solidFill>
                  <a:schemeClr val="bg2"/>
                </a:solidFill>
                <a:latin typeface="+mn-lt"/>
                <a:ea typeface="+mn-ea"/>
                <a:cs typeface="+mn-cs"/>
              </a:defRPr>
            </a:lvl1pPr>
            <a:lvl2pPr marL="228804" indent="0" algn="l" defTabSz="915216" rtl="0" eaLnBrk="1" latinLnBrk="0" hangingPunct="1">
              <a:lnSpc>
                <a:spcPct val="90000"/>
              </a:lnSpc>
              <a:spcBef>
                <a:spcPts val="200"/>
              </a:spcBef>
              <a:spcAft>
                <a:spcPts val="400"/>
              </a:spcAft>
              <a:buClr>
                <a:schemeClr val="tx1">
                  <a:lumMod val="65000"/>
                  <a:lumOff val="35000"/>
                </a:schemeClr>
              </a:buClr>
              <a:buFontTx/>
              <a:buNone/>
              <a:defRPr sz="800" kern="1200">
                <a:solidFill>
                  <a:schemeClr val="bg2"/>
                </a:solidFill>
                <a:latin typeface="+mn-lt"/>
                <a:ea typeface="+mn-ea"/>
                <a:cs typeface="+mn-cs"/>
              </a:defRPr>
            </a:lvl2pPr>
            <a:lvl3pPr marL="457608" indent="0" algn="l" defTabSz="915216" rtl="0" eaLnBrk="1" latinLnBrk="0" hangingPunct="1">
              <a:lnSpc>
                <a:spcPct val="85000"/>
              </a:lnSpc>
              <a:spcBef>
                <a:spcPts val="200"/>
              </a:spcBef>
              <a:spcAft>
                <a:spcPts val="400"/>
              </a:spcAft>
              <a:buClr>
                <a:schemeClr val="tx1">
                  <a:lumMod val="65000"/>
                  <a:lumOff val="35000"/>
                </a:schemeClr>
              </a:buClr>
              <a:buFontTx/>
              <a:buNone/>
              <a:defRPr sz="800" kern="1200">
                <a:solidFill>
                  <a:schemeClr val="bg2"/>
                </a:solidFill>
                <a:latin typeface="+mn-lt"/>
                <a:ea typeface="+mn-ea"/>
                <a:cs typeface="+mn-cs"/>
              </a:defRPr>
            </a:lvl3pPr>
            <a:lvl4pPr marL="686412" indent="0" algn="l" defTabSz="915216" rtl="0" eaLnBrk="1" latinLnBrk="0" hangingPunct="1">
              <a:lnSpc>
                <a:spcPct val="85000"/>
              </a:lnSpc>
              <a:spcBef>
                <a:spcPts val="200"/>
              </a:spcBef>
              <a:spcAft>
                <a:spcPts val="400"/>
              </a:spcAft>
              <a:buClr>
                <a:schemeClr val="tx1">
                  <a:lumMod val="65000"/>
                  <a:lumOff val="35000"/>
                </a:schemeClr>
              </a:buClr>
              <a:buFontTx/>
              <a:buNone/>
              <a:defRPr sz="800" kern="1200">
                <a:solidFill>
                  <a:schemeClr val="bg2"/>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Tx/>
              <a:buNone/>
              <a:tabLst/>
              <a:defRPr lang="en-US" sz="800" kern="1200">
                <a:solidFill>
                  <a:schemeClr val="bg2"/>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5216" rtl="0" eaLnBrk="1" fontAlgn="auto" latinLnBrk="0" hangingPunct="1">
              <a:lnSpc>
                <a:spcPct val="100000"/>
              </a:lnSpc>
              <a:spcBef>
                <a:spcPts val="0"/>
              </a:spcBef>
              <a:spcAft>
                <a:spcPts val="0"/>
              </a:spcAft>
              <a:buClr>
                <a:srgbClr val="0067C5"/>
              </a:buClr>
              <a:buSzTx/>
              <a:buFontTx/>
              <a:buNone/>
              <a:tabLst/>
              <a:defRPr/>
            </a:pPr>
            <a:r>
              <a:rPr kumimoji="0" lang="en-US" sz="800" b="0" i="0" u="none" strike="noStrike" kern="1200" cap="none" spc="0" normalizeH="0" baseline="0" noProof="0">
                <a:ln>
                  <a:noFill/>
                </a:ln>
                <a:solidFill>
                  <a:srgbClr val="9EA2A2"/>
                </a:solidFill>
                <a:effectLst/>
                <a:uLnTx/>
                <a:uFillTx/>
                <a:latin typeface="Arial"/>
                <a:ea typeface="+mn-ea"/>
                <a:cs typeface="+mn-cs"/>
              </a:rPr>
              <a:t>Source: IDC Customer Survey published in 2019</a:t>
            </a:r>
            <a:endParaRPr kumimoji="0" lang="en-US" sz="800" b="0" i="0" u="none" strike="noStrike" kern="1200" cap="none" spc="0" normalizeH="0" baseline="0" noProof="0" dirty="0">
              <a:ln>
                <a:noFill/>
              </a:ln>
              <a:solidFill>
                <a:srgbClr val="9EA2A2"/>
              </a:solidFill>
              <a:effectLst/>
              <a:uLnTx/>
              <a:uFillTx/>
              <a:latin typeface="Arial"/>
              <a:ea typeface="+mn-ea"/>
              <a:cs typeface="+mn-cs"/>
            </a:endParaRPr>
          </a:p>
        </p:txBody>
      </p:sp>
      <p:sp>
        <p:nvSpPr>
          <p:cNvPr id="77" name="Text Placeholder 2">
            <a:extLst>
              <a:ext uri="{FF2B5EF4-FFF2-40B4-BE49-F238E27FC236}">
                <a16:creationId xmlns:a16="http://schemas.microsoft.com/office/drawing/2014/main" id="{C52DD4E1-5B8F-462B-A048-3C0BAC9FCFC6}"/>
              </a:ext>
            </a:extLst>
          </p:cNvPr>
          <p:cNvSpPr txBox="1">
            <a:spLocks/>
          </p:cNvSpPr>
          <p:nvPr/>
        </p:nvSpPr>
        <p:spPr>
          <a:xfrm>
            <a:off x="222001" y="4678985"/>
            <a:ext cx="7781247" cy="161583"/>
          </a:xfrm>
          <a:prstGeom prst="rect">
            <a:avLst/>
          </a:prstGeom>
        </p:spPr>
        <p:txBody>
          <a:bodyPr vert="horz" wrap="square" lIns="91521" tIns="45761" rIns="91521" bIns="45761" rtlCol="0" anchor="ctr">
            <a:noAutofit/>
          </a:bodyPr>
          <a:lstStyle>
            <a:lvl1pPr marL="0" indent="0" algn="l" defTabSz="686412" rtl="0" eaLnBrk="1" latinLnBrk="0" hangingPunct="1">
              <a:lnSpc>
                <a:spcPct val="100000"/>
              </a:lnSpc>
              <a:spcBef>
                <a:spcPts val="0"/>
              </a:spcBef>
              <a:spcAft>
                <a:spcPts val="0"/>
              </a:spcAft>
              <a:buClr>
                <a:schemeClr val="accent1"/>
              </a:buClr>
              <a:buFontTx/>
              <a:buNone/>
              <a:defRPr sz="600" kern="1200" baseline="0">
                <a:solidFill>
                  <a:schemeClr val="bg2"/>
                </a:solidFill>
                <a:latin typeface="+mn-lt"/>
                <a:ea typeface="+mn-ea"/>
                <a:cs typeface="+mn-cs"/>
              </a:defRPr>
            </a:lvl1pPr>
            <a:lvl2pPr marL="171603" indent="0" algn="l" defTabSz="686412" rtl="0" eaLnBrk="1" latinLnBrk="0" hangingPunct="1">
              <a:lnSpc>
                <a:spcPct val="90000"/>
              </a:lnSpc>
              <a:spcBef>
                <a:spcPts val="150"/>
              </a:spcBef>
              <a:spcAft>
                <a:spcPts val="300"/>
              </a:spcAft>
              <a:buClr>
                <a:schemeClr val="tx1">
                  <a:lumMod val="65000"/>
                  <a:lumOff val="35000"/>
                </a:schemeClr>
              </a:buClr>
              <a:buFontTx/>
              <a:buNone/>
              <a:defRPr sz="600" kern="1200">
                <a:solidFill>
                  <a:schemeClr val="bg2"/>
                </a:solidFill>
                <a:latin typeface="+mn-lt"/>
                <a:ea typeface="+mn-ea"/>
                <a:cs typeface="+mn-cs"/>
              </a:defRPr>
            </a:lvl2pPr>
            <a:lvl3pPr marL="343206" indent="0" algn="l" defTabSz="686412" rtl="0" eaLnBrk="1" latinLnBrk="0" hangingPunct="1">
              <a:lnSpc>
                <a:spcPct val="85000"/>
              </a:lnSpc>
              <a:spcBef>
                <a:spcPts val="150"/>
              </a:spcBef>
              <a:spcAft>
                <a:spcPts val="300"/>
              </a:spcAft>
              <a:buClr>
                <a:schemeClr val="tx1">
                  <a:lumMod val="65000"/>
                  <a:lumOff val="35000"/>
                </a:schemeClr>
              </a:buClr>
              <a:buFontTx/>
              <a:buNone/>
              <a:defRPr sz="600" kern="1200">
                <a:solidFill>
                  <a:schemeClr val="bg2"/>
                </a:solidFill>
                <a:latin typeface="+mn-lt"/>
                <a:ea typeface="+mn-ea"/>
                <a:cs typeface="+mn-cs"/>
              </a:defRPr>
            </a:lvl3pPr>
            <a:lvl4pPr marL="514809" indent="0" algn="l" defTabSz="686412" rtl="0" eaLnBrk="1" latinLnBrk="0" hangingPunct="1">
              <a:lnSpc>
                <a:spcPct val="85000"/>
              </a:lnSpc>
              <a:spcBef>
                <a:spcPts val="150"/>
              </a:spcBef>
              <a:spcAft>
                <a:spcPts val="300"/>
              </a:spcAft>
              <a:buClr>
                <a:schemeClr val="tx1">
                  <a:lumMod val="65000"/>
                  <a:lumOff val="35000"/>
                </a:schemeClr>
              </a:buClr>
              <a:buFontTx/>
              <a:buNone/>
              <a:defRPr sz="600" kern="1200">
                <a:solidFill>
                  <a:schemeClr val="bg2"/>
                </a:solidFill>
                <a:latin typeface="+mn-lt"/>
                <a:ea typeface="+mn-ea"/>
                <a:cs typeface="+mn-cs"/>
              </a:defRPr>
            </a:lvl4pPr>
            <a:lvl5pPr marL="815114" marR="0" indent="-128702" algn="l" defTabSz="686412" rtl="0" eaLnBrk="1" fontAlgn="auto" latinLnBrk="0" hangingPunct="1">
              <a:lnSpc>
                <a:spcPct val="85000"/>
              </a:lnSpc>
              <a:spcBef>
                <a:spcPts val="150"/>
              </a:spcBef>
              <a:spcAft>
                <a:spcPts val="300"/>
              </a:spcAft>
              <a:buClr>
                <a:schemeClr val="tx1">
                  <a:lumMod val="65000"/>
                  <a:lumOff val="35000"/>
                </a:schemeClr>
              </a:buClr>
              <a:buSzTx/>
              <a:buFontTx/>
              <a:buNone/>
              <a:tabLst/>
              <a:defRPr lang="en-US" sz="600" kern="1200">
                <a:solidFill>
                  <a:schemeClr val="bg2"/>
                </a:solidFill>
                <a:latin typeface="+mn-lt"/>
                <a:ea typeface="+mn-ea"/>
                <a:cs typeface="+mn-cs"/>
              </a:defRPr>
            </a:lvl5pPr>
            <a:lvl6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858014" indent="-171603" algn="l" defTabSz="686412"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6412" rtl="0" eaLnBrk="1" fontAlgn="auto" latinLnBrk="0" hangingPunct="1">
              <a:lnSpc>
                <a:spcPct val="100000"/>
              </a:lnSpc>
              <a:spcBef>
                <a:spcPts val="0"/>
              </a:spcBef>
              <a:spcAft>
                <a:spcPts val="0"/>
              </a:spcAft>
              <a:buClr>
                <a:srgbClr val="0067C5"/>
              </a:buClr>
              <a:buSzTx/>
              <a:buFontTx/>
              <a:buNone/>
              <a:tabLst/>
              <a:defRPr/>
            </a:pPr>
            <a:r>
              <a:rPr kumimoji="0" lang="en-US" sz="600" b="0" i="0" u="none" strike="noStrike" kern="1200" cap="none" spc="0" normalizeH="0" baseline="0" noProof="0">
                <a:ln>
                  <a:noFill/>
                </a:ln>
                <a:solidFill>
                  <a:srgbClr val="9EA2A2"/>
                </a:solidFill>
                <a:effectLst/>
                <a:uLnTx/>
                <a:uFillTx/>
                <a:latin typeface="Arial"/>
                <a:ea typeface="+mn-ea"/>
                <a:cs typeface="+mn-cs"/>
              </a:rPr>
              <a:t>Source: IDC Customer Survey published in 2019</a:t>
            </a:r>
            <a:endParaRPr kumimoji="0" lang="en-US" sz="600" b="0" i="0" u="none" strike="noStrike" kern="1200" cap="none" spc="0" normalizeH="0" baseline="0" noProof="0" dirty="0">
              <a:ln>
                <a:noFill/>
              </a:ln>
              <a:solidFill>
                <a:srgbClr val="9EA2A2"/>
              </a:solidFill>
              <a:effectLst/>
              <a:uLnTx/>
              <a:uFillTx/>
              <a:latin typeface="Arial"/>
              <a:ea typeface="+mn-ea"/>
              <a:cs typeface="+mn-cs"/>
            </a:endParaRPr>
          </a:p>
        </p:txBody>
      </p:sp>
      <p:cxnSp>
        <p:nvCxnSpPr>
          <p:cNvPr id="78" name="Straight Connector 77">
            <a:extLst>
              <a:ext uri="{FF2B5EF4-FFF2-40B4-BE49-F238E27FC236}">
                <a16:creationId xmlns:a16="http://schemas.microsoft.com/office/drawing/2014/main" id="{1C5AFCFE-BE28-421E-89D6-90F7AEABD596}"/>
              </a:ext>
            </a:extLst>
          </p:cNvPr>
          <p:cNvCxnSpPr>
            <a:cxnSpLocks/>
          </p:cNvCxnSpPr>
          <p:nvPr/>
        </p:nvCxnSpPr>
        <p:spPr>
          <a:xfrm>
            <a:off x="2462771" y="1459997"/>
            <a:ext cx="0" cy="2737788"/>
          </a:xfrm>
          <a:prstGeom prst="line">
            <a:avLst/>
          </a:prstGeom>
          <a:noFill/>
          <a:ln w="9525" cap="flat" cmpd="sng" algn="ctr">
            <a:solidFill>
              <a:srgbClr val="9EA2A2">
                <a:lumMod val="75000"/>
              </a:srgbClr>
            </a:solidFill>
            <a:prstDash val="solid"/>
          </a:ln>
          <a:effectLst/>
        </p:spPr>
      </p:cxnSp>
      <p:cxnSp>
        <p:nvCxnSpPr>
          <p:cNvPr id="79" name="Straight Connector 78">
            <a:extLst>
              <a:ext uri="{FF2B5EF4-FFF2-40B4-BE49-F238E27FC236}">
                <a16:creationId xmlns:a16="http://schemas.microsoft.com/office/drawing/2014/main" id="{6A1BC8D6-5BF3-4B15-8BFB-F90E25DECB40}"/>
              </a:ext>
            </a:extLst>
          </p:cNvPr>
          <p:cNvCxnSpPr>
            <a:cxnSpLocks/>
          </p:cNvCxnSpPr>
          <p:nvPr/>
        </p:nvCxnSpPr>
        <p:spPr>
          <a:xfrm>
            <a:off x="274346" y="2762084"/>
            <a:ext cx="4615081" cy="0"/>
          </a:xfrm>
          <a:prstGeom prst="line">
            <a:avLst/>
          </a:prstGeom>
          <a:noFill/>
          <a:ln w="9525" cap="flat" cmpd="sng" algn="ctr">
            <a:solidFill>
              <a:srgbClr val="9EA2A2">
                <a:lumMod val="75000"/>
              </a:srgbClr>
            </a:solidFill>
            <a:prstDash val="solid"/>
          </a:ln>
          <a:effectLst/>
        </p:spPr>
      </p:cxnSp>
      <p:grpSp>
        <p:nvGrpSpPr>
          <p:cNvPr id="80" name="Group 79">
            <a:extLst>
              <a:ext uri="{FF2B5EF4-FFF2-40B4-BE49-F238E27FC236}">
                <a16:creationId xmlns:a16="http://schemas.microsoft.com/office/drawing/2014/main" id="{7838D39A-7AA8-4656-9744-66F2FE1C3C90}"/>
              </a:ext>
            </a:extLst>
          </p:cNvPr>
          <p:cNvGrpSpPr/>
          <p:nvPr/>
        </p:nvGrpSpPr>
        <p:grpSpPr>
          <a:xfrm>
            <a:off x="75795" y="1398547"/>
            <a:ext cx="2509365" cy="1139943"/>
            <a:chOff x="363234" y="1859830"/>
            <a:chExt cx="3472785" cy="1433909"/>
          </a:xfrm>
        </p:grpSpPr>
        <p:sp>
          <p:nvSpPr>
            <p:cNvPr id="81" name="TextBox 80">
              <a:extLst>
                <a:ext uri="{FF2B5EF4-FFF2-40B4-BE49-F238E27FC236}">
                  <a16:creationId xmlns:a16="http://schemas.microsoft.com/office/drawing/2014/main" id="{B1993A7F-743E-4006-8BB9-D77C61BE869F}"/>
                </a:ext>
              </a:extLst>
            </p:cNvPr>
            <p:cNvSpPr txBox="1"/>
            <p:nvPr/>
          </p:nvSpPr>
          <p:spPr>
            <a:xfrm>
              <a:off x="1090540" y="1859830"/>
              <a:ext cx="2745479" cy="1433909"/>
            </a:xfrm>
            <a:prstGeom prst="rect">
              <a:avLst/>
            </a:prstGeom>
          </p:spPr>
          <p:txBody>
            <a:bodyPr vert="horz" wrap="square" lIns="91416" tIns="45708" rIns="91416" bIns="45708" rtlCol="0" anchor="t">
              <a:noAutofit/>
            </a:bodyPr>
            <a:lstStyle/>
            <a:p>
              <a:pPr defTabSz="914103" fontAlgn="auto">
                <a:lnSpc>
                  <a:spcPct val="95000"/>
                </a:lnSpc>
                <a:spcBef>
                  <a:spcPts val="0"/>
                </a:spcBef>
                <a:spcAft>
                  <a:spcPts val="225"/>
                </a:spcAft>
                <a:buClr>
                  <a:srgbClr val="0067C5"/>
                </a:buClr>
              </a:pPr>
              <a:r>
                <a:rPr lang="en-US" sz="1799" b="1">
                  <a:solidFill>
                    <a:prstClr val="black">
                      <a:lumMod val="65000"/>
                      <a:lumOff val="35000"/>
                    </a:prstClr>
                  </a:solidFill>
                  <a:latin typeface="Arial"/>
                </a:rPr>
                <a:t>Efficiency</a:t>
              </a:r>
            </a:p>
            <a:p>
              <a:pPr defTabSz="914103" fontAlgn="auto">
                <a:lnSpc>
                  <a:spcPct val="95000"/>
                </a:lnSpc>
                <a:spcBef>
                  <a:spcPts val="0"/>
                </a:spcBef>
                <a:spcAft>
                  <a:spcPts val="225"/>
                </a:spcAft>
                <a:buClr>
                  <a:srgbClr val="0067C5"/>
                </a:buClr>
              </a:pPr>
              <a:r>
                <a:rPr lang="en-US" sz="1799" b="1">
                  <a:solidFill>
                    <a:srgbClr val="0067C5"/>
                  </a:solidFill>
                  <a:latin typeface="Arial"/>
                </a:rPr>
                <a:t>29% – 33%</a:t>
              </a:r>
            </a:p>
            <a:p>
              <a:pPr defTabSz="914103" fontAlgn="auto">
                <a:lnSpc>
                  <a:spcPct val="95000"/>
                </a:lnSpc>
                <a:spcBef>
                  <a:spcPts val="0"/>
                </a:spcBef>
                <a:spcAft>
                  <a:spcPts val="225"/>
                </a:spcAft>
                <a:buClr>
                  <a:srgbClr val="0067C5"/>
                </a:buClr>
              </a:pPr>
              <a:r>
                <a:rPr lang="en-US" sz="1424">
                  <a:solidFill>
                    <a:srgbClr val="9EA2A2">
                      <a:lumMod val="75000"/>
                    </a:srgbClr>
                  </a:solidFill>
                  <a:latin typeface="Arial"/>
                </a:rPr>
                <a:t>Efficiency gain after deploying </a:t>
              </a:r>
              <a:r>
                <a:rPr lang="en-US" sz="1424" err="1">
                  <a:solidFill>
                    <a:srgbClr val="9EA2A2">
                      <a:lumMod val="75000"/>
                    </a:srgbClr>
                  </a:solidFill>
                  <a:latin typeface="Arial"/>
                </a:rPr>
                <a:t>FlexPod</a:t>
              </a:r>
              <a:endParaRPr lang="en-US" sz="1424">
                <a:solidFill>
                  <a:srgbClr val="9EA2A2">
                    <a:lumMod val="75000"/>
                  </a:srgbClr>
                </a:solidFill>
                <a:latin typeface="Arial"/>
              </a:endParaRPr>
            </a:p>
          </p:txBody>
        </p:sp>
        <p:pic>
          <p:nvPicPr>
            <p:cNvPr id="82" name="Graphic 81" descr="Target">
              <a:extLst>
                <a:ext uri="{FF2B5EF4-FFF2-40B4-BE49-F238E27FC236}">
                  <a16:creationId xmlns:a16="http://schemas.microsoft.com/office/drawing/2014/main" id="{1554535A-0F93-4F60-B0F8-E6DF7D617941}"/>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110" t="5646" r="6276" b="6354"/>
            <a:stretch/>
          </p:blipFill>
          <p:spPr>
            <a:xfrm>
              <a:off x="363234" y="1946276"/>
              <a:ext cx="720725" cy="723900"/>
            </a:xfrm>
            <a:prstGeom prst="rect">
              <a:avLst/>
            </a:prstGeom>
          </p:spPr>
        </p:pic>
      </p:grpSp>
      <p:grpSp>
        <p:nvGrpSpPr>
          <p:cNvPr id="83" name="Group 82">
            <a:extLst>
              <a:ext uri="{FF2B5EF4-FFF2-40B4-BE49-F238E27FC236}">
                <a16:creationId xmlns:a16="http://schemas.microsoft.com/office/drawing/2014/main" id="{F4BDF69C-2388-4DA7-9995-879A4C570B30}"/>
              </a:ext>
            </a:extLst>
          </p:cNvPr>
          <p:cNvGrpSpPr/>
          <p:nvPr/>
        </p:nvGrpSpPr>
        <p:grpSpPr>
          <a:xfrm>
            <a:off x="2651454" y="1386846"/>
            <a:ext cx="2363858" cy="1075147"/>
            <a:chOff x="4323369" y="1859830"/>
            <a:chExt cx="3388764" cy="1433909"/>
          </a:xfrm>
        </p:grpSpPr>
        <p:pic>
          <p:nvPicPr>
            <p:cNvPr id="84" name="Graphic 83" descr="Hourglass">
              <a:extLst>
                <a:ext uri="{FF2B5EF4-FFF2-40B4-BE49-F238E27FC236}">
                  <a16:creationId xmlns:a16="http://schemas.microsoft.com/office/drawing/2014/main" id="{12A675FD-7F0D-402A-ACA0-558FCCF27D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23369" y="2017006"/>
              <a:ext cx="642985" cy="642985"/>
            </a:xfrm>
            <a:prstGeom prst="rect">
              <a:avLst/>
            </a:prstGeom>
          </p:spPr>
        </p:pic>
        <p:sp>
          <p:nvSpPr>
            <p:cNvPr id="85" name="TextBox 84">
              <a:extLst>
                <a:ext uri="{FF2B5EF4-FFF2-40B4-BE49-F238E27FC236}">
                  <a16:creationId xmlns:a16="http://schemas.microsoft.com/office/drawing/2014/main" id="{9FBAAC82-B5E9-4C61-8722-2FF0EF4349F5}"/>
                </a:ext>
              </a:extLst>
            </p:cNvPr>
            <p:cNvSpPr txBox="1"/>
            <p:nvPr/>
          </p:nvSpPr>
          <p:spPr>
            <a:xfrm>
              <a:off x="4966654" y="1859830"/>
              <a:ext cx="2745479" cy="1433909"/>
            </a:xfrm>
            <a:prstGeom prst="rect">
              <a:avLst/>
            </a:prstGeom>
          </p:spPr>
          <p:txBody>
            <a:bodyPr vert="horz" wrap="square" lIns="91416" tIns="45708" rIns="91416" bIns="45708" rtlCol="0" anchor="t">
              <a:noAutofit/>
            </a:bodyPr>
            <a:lstStyle/>
            <a:p>
              <a:pPr defTabSz="914103" fontAlgn="auto">
                <a:lnSpc>
                  <a:spcPct val="95000"/>
                </a:lnSpc>
                <a:spcBef>
                  <a:spcPts val="0"/>
                </a:spcBef>
                <a:spcAft>
                  <a:spcPts val="225"/>
                </a:spcAft>
                <a:buClr>
                  <a:srgbClr val="0067C5"/>
                </a:buClr>
              </a:pPr>
              <a:r>
                <a:rPr lang="en-US" sz="1799" b="1">
                  <a:solidFill>
                    <a:prstClr val="black">
                      <a:lumMod val="65000"/>
                      <a:lumOff val="35000"/>
                    </a:prstClr>
                  </a:solidFill>
                  <a:latin typeface="Arial"/>
                </a:rPr>
                <a:t>Risk Mitigation</a:t>
              </a:r>
            </a:p>
            <a:p>
              <a:pPr defTabSz="914103" fontAlgn="auto">
                <a:lnSpc>
                  <a:spcPct val="95000"/>
                </a:lnSpc>
                <a:spcBef>
                  <a:spcPts val="0"/>
                </a:spcBef>
                <a:spcAft>
                  <a:spcPts val="225"/>
                </a:spcAft>
                <a:buClr>
                  <a:srgbClr val="0067C5"/>
                </a:buClr>
              </a:pPr>
              <a:r>
                <a:rPr lang="en-US" sz="1799" b="1">
                  <a:solidFill>
                    <a:srgbClr val="0067C5"/>
                  </a:solidFill>
                  <a:latin typeface="Arial"/>
                </a:rPr>
                <a:t>41% – 60%</a:t>
              </a:r>
            </a:p>
            <a:p>
              <a:pPr defTabSz="914103" fontAlgn="auto">
                <a:lnSpc>
                  <a:spcPct val="95000"/>
                </a:lnSpc>
                <a:spcBef>
                  <a:spcPts val="0"/>
                </a:spcBef>
                <a:spcAft>
                  <a:spcPts val="225"/>
                </a:spcAft>
                <a:buClr>
                  <a:srgbClr val="0067C5"/>
                </a:buClr>
              </a:pPr>
              <a:r>
                <a:rPr lang="en-US" sz="1424">
                  <a:solidFill>
                    <a:srgbClr val="9EA2A2">
                      <a:lumMod val="75000"/>
                    </a:srgbClr>
                  </a:solidFill>
                  <a:latin typeface="Arial"/>
                </a:rPr>
                <a:t>Reduction in downtime</a:t>
              </a:r>
            </a:p>
          </p:txBody>
        </p:sp>
      </p:grpSp>
      <p:grpSp>
        <p:nvGrpSpPr>
          <p:cNvPr id="86" name="Group 85">
            <a:extLst>
              <a:ext uri="{FF2B5EF4-FFF2-40B4-BE49-F238E27FC236}">
                <a16:creationId xmlns:a16="http://schemas.microsoft.com/office/drawing/2014/main" id="{1718BDF8-5805-400D-815C-8CE774987681}"/>
              </a:ext>
            </a:extLst>
          </p:cNvPr>
          <p:cNvGrpSpPr/>
          <p:nvPr/>
        </p:nvGrpSpPr>
        <p:grpSpPr>
          <a:xfrm>
            <a:off x="2655928" y="3111865"/>
            <a:ext cx="2363860" cy="1056296"/>
            <a:chOff x="4368800" y="3962400"/>
            <a:chExt cx="3343334" cy="1433909"/>
          </a:xfrm>
        </p:grpSpPr>
        <p:pic>
          <p:nvPicPr>
            <p:cNvPr id="87" name="Graphic 86" descr="Upward trend">
              <a:extLst>
                <a:ext uri="{FF2B5EF4-FFF2-40B4-BE49-F238E27FC236}">
                  <a16:creationId xmlns:a16="http://schemas.microsoft.com/office/drawing/2014/main" id="{76685653-C527-4AE7-8DD4-FBDE020AA0C7}"/>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559" t="13584" r="13096" b="13490"/>
            <a:stretch/>
          </p:blipFill>
          <p:spPr>
            <a:xfrm>
              <a:off x="4368800" y="4152900"/>
              <a:ext cx="555626" cy="552450"/>
            </a:xfrm>
            <a:prstGeom prst="rect">
              <a:avLst/>
            </a:prstGeom>
          </p:spPr>
        </p:pic>
        <p:sp>
          <p:nvSpPr>
            <p:cNvPr id="88" name="TextBox 87">
              <a:extLst>
                <a:ext uri="{FF2B5EF4-FFF2-40B4-BE49-F238E27FC236}">
                  <a16:creationId xmlns:a16="http://schemas.microsoft.com/office/drawing/2014/main" id="{539FA6D9-6D58-4E43-8AFD-76CD7F68F5C4}"/>
                </a:ext>
              </a:extLst>
            </p:cNvPr>
            <p:cNvSpPr txBox="1"/>
            <p:nvPr/>
          </p:nvSpPr>
          <p:spPr>
            <a:xfrm>
              <a:off x="4966655" y="3962400"/>
              <a:ext cx="2745479" cy="1433909"/>
            </a:xfrm>
            <a:prstGeom prst="rect">
              <a:avLst/>
            </a:prstGeom>
          </p:spPr>
          <p:txBody>
            <a:bodyPr vert="horz" wrap="square" lIns="91416" tIns="45708" rIns="91416" bIns="45708" rtlCol="0" anchor="t">
              <a:noAutofit/>
            </a:bodyPr>
            <a:lstStyle/>
            <a:p>
              <a:pPr defTabSz="914103" fontAlgn="auto">
                <a:lnSpc>
                  <a:spcPct val="95000"/>
                </a:lnSpc>
                <a:spcBef>
                  <a:spcPts val="0"/>
                </a:spcBef>
                <a:spcAft>
                  <a:spcPts val="225"/>
                </a:spcAft>
                <a:buClr>
                  <a:srgbClr val="0067C5"/>
                </a:buClr>
              </a:pPr>
              <a:r>
                <a:rPr lang="en-US" sz="1799" b="1">
                  <a:solidFill>
                    <a:prstClr val="black">
                      <a:lumMod val="65000"/>
                      <a:lumOff val="35000"/>
                    </a:prstClr>
                  </a:solidFill>
                  <a:latin typeface="Arial"/>
                </a:rPr>
                <a:t>Performance</a:t>
              </a:r>
            </a:p>
            <a:p>
              <a:pPr defTabSz="914103" fontAlgn="auto">
                <a:lnSpc>
                  <a:spcPct val="95000"/>
                </a:lnSpc>
                <a:spcBef>
                  <a:spcPts val="0"/>
                </a:spcBef>
                <a:spcAft>
                  <a:spcPts val="225"/>
                </a:spcAft>
                <a:buClr>
                  <a:srgbClr val="0067C5"/>
                </a:buClr>
              </a:pPr>
              <a:r>
                <a:rPr lang="en-US" sz="1799" b="1">
                  <a:solidFill>
                    <a:srgbClr val="0067C5"/>
                  </a:solidFill>
                  <a:latin typeface="Arial"/>
                </a:rPr>
                <a:t>41% – 62%</a:t>
              </a:r>
            </a:p>
            <a:p>
              <a:pPr defTabSz="914103" fontAlgn="auto">
                <a:lnSpc>
                  <a:spcPct val="95000"/>
                </a:lnSpc>
                <a:spcBef>
                  <a:spcPts val="0"/>
                </a:spcBef>
                <a:spcAft>
                  <a:spcPts val="225"/>
                </a:spcAft>
                <a:buClr>
                  <a:srgbClr val="0067C5"/>
                </a:buClr>
              </a:pPr>
              <a:r>
                <a:rPr lang="en-US" sz="1424">
                  <a:solidFill>
                    <a:srgbClr val="9EA2A2">
                      <a:lumMod val="75000"/>
                    </a:srgbClr>
                  </a:solidFill>
                  <a:latin typeface="Arial"/>
                </a:rPr>
                <a:t>Reported performance gains in multiple areas</a:t>
              </a:r>
            </a:p>
          </p:txBody>
        </p:sp>
      </p:grpSp>
      <p:grpSp>
        <p:nvGrpSpPr>
          <p:cNvPr id="89" name="Group 88">
            <a:extLst>
              <a:ext uri="{FF2B5EF4-FFF2-40B4-BE49-F238E27FC236}">
                <a16:creationId xmlns:a16="http://schemas.microsoft.com/office/drawing/2014/main" id="{8983CA41-0AE3-41A1-87D1-629053D7BF15}"/>
              </a:ext>
            </a:extLst>
          </p:cNvPr>
          <p:cNvGrpSpPr/>
          <p:nvPr/>
        </p:nvGrpSpPr>
        <p:grpSpPr>
          <a:xfrm>
            <a:off x="150956" y="3145432"/>
            <a:ext cx="2391492" cy="1056305"/>
            <a:chOff x="444878" y="3962400"/>
            <a:chExt cx="3391141" cy="1433909"/>
          </a:xfrm>
        </p:grpSpPr>
        <p:sp>
          <p:nvSpPr>
            <p:cNvPr id="90" name="TextBox 89">
              <a:extLst>
                <a:ext uri="{FF2B5EF4-FFF2-40B4-BE49-F238E27FC236}">
                  <a16:creationId xmlns:a16="http://schemas.microsoft.com/office/drawing/2014/main" id="{7F6080D9-7CA6-416D-8CA3-9A08ACB61F7A}"/>
                </a:ext>
              </a:extLst>
            </p:cNvPr>
            <p:cNvSpPr txBox="1"/>
            <p:nvPr/>
          </p:nvSpPr>
          <p:spPr>
            <a:xfrm>
              <a:off x="1090540" y="3962400"/>
              <a:ext cx="2745479" cy="1433909"/>
            </a:xfrm>
            <a:prstGeom prst="rect">
              <a:avLst/>
            </a:prstGeom>
          </p:spPr>
          <p:txBody>
            <a:bodyPr vert="horz" wrap="square" lIns="91416" tIns="45708" rIns="91416" bIns="45708" rtlCol="0" anchor="t">
              <a:noAutofit/>
            </a:bodyPr>
            <a:lstStyle/>
            <a:p>
              <a:pPr defTabSz="914103" fontAlgn="auto">
                <a:lnSpc>
                  <a:spcPct val="95000"/>
                </a:lnSpc>
                <a:spcBef>
                  <a:spcPts val="0"/>
                </a:spcBef>
                <a:spcAft>
                  <a:spcPts val="225"/>
                </a:spcAft>
                <a:buClr>
                  <a:srgbClr val="0067C5"/>
                </a:buClr>
              </a:pPr>
              <a:r>
                <a:rPr lang="en-US" sz="1799" b="1">
                  <a:solidFill>
                    <a:prstClr val="black">
                      <a:lumMod val="65000"/>
                      <a:lumOff val="35000"/>
                    </a:prstClr>
                  </a:solidFill>
                  <a:latin typeface="Arial"/>
                </a:rPr>
                <a:t>Savings</a:t>
              </a:r>
            </a:p>
            <a:p>
              <a:pPr defTabSz="914103" fontAlgn="auto">
                <a:lnSpc>
                  <a:spcPct val="95000"/>
                </a:lnSpc>
                <a:spcBef>
                  <a:spcPts val="0"/>
                </a:spcBef>
                <a:spcAft>
                  <a:spcPts val="225"/>
                </a:spcAft>
                <a:buClr>
                  <a:srgbClr val="0067C5"/>
                </a:buClr>
              </a:pPr>
              <a:r>
                <a:rPr lang="en-US" sz="1799" b="1">
                  <a:solidFill>
                    <a:srgbClr val="0067C5"/>
                  </a:solidFill>
                  <a:latin typeface="Arial"/>
                </a:rPr>
                <a:t>24% – 34%</a:t>
              </a:r>
            </a:p>
            <a:p>
              <a:pPr defTabSz="914103" fontAlgn="auto">
                <a:lnSpc>
                  <a:spcPct val="95000"/>
                </a:lnSpc>
                <a:spcBef>
                  <a:spcPts val="0"/>
                </a:spcBef>
                <a:spcAft>
                  <a:spcPts val="225"/>
                </a:spcAft>
                <a:buClr>
                  <a:srgbClr val="0067C5"/>
                </a:buClr>
              </a:pPr>
              <a:r>
                <a:rPr lang="en-US" sz="1424">
                  <a:solidFill>
                    <a:srgbClr val="9EA2A2">
                      <a:lumMod val="75000"/>
                    </a:srgbClr>
                  </a:solidFill>
                  <a:latin typeface="Arial"/>
                </a:rPr>
                <a:t>Reduction in </a:t>
              </a:r>
              <a:r>
                <a:rPr lang="en-US" sz="1424" err="1">
                  <a:solidFill>
                    <a:srgbClr val="9EA2A2">
                      <a:lumMod val="75000"/>
                    </a:srgbClr>
                  </a:solidFill>
                  <a:latin typeface="Arial"/>
                </a:rPr>
                <a:t>Opex</a:t>
              </a:r>
              <a:r>
                <a:rPr lang="en-US" sz="1424">
                  <a:solidFill>
                    <a:srgbClr val="9EA2A2">
                      <a:lumMod val="75000"/>
                    </a:srgbClr>
                  </a:solidFill>
                  <a:latin typeface="Arial"/>
                </a:rPr>
                <a:t> </a:t>
              </a:r>
              <a:br>
                <a:rPr lang="en-US" sz="1424">
                  <a:solidFill>
                    <a:srgbClr val="9EA2A2">
                      <a:lumMod val="75000"/>
                    </a:srgbClr>
                  </a:solidFill>
                  <a:latin typeface="Arial"/>
                </a:rPr>
              </a:br>
              <a:r>
                <a:rPr lang="en-US" sz="1424">
                  <a:solidFill>
                    <a:srgbClr val="9EA2A2">
                      <a:lumMod val="75000"/>
                    </a:srgbClr>
                  </a:solidFill>
                  <a:latin typeface="Arial"/>
                </a:rPr>
                <a:t>and Capex</a:t>
              </a:r>
            </a:p>
          </p:txBody>
        </p:sp>
        <p:grpSp>
          <p:nvGrpSpPr>
            <p:cNvPr id="91" name="Group 90">
              <a:extLst>
                <a:ext uri="{FF2B5EF4-FFF2-40B4-BE49-F238E27FC236}">
                  <a16:creationId xmlns:a16="http://schemas.microsoft.com/office/drawing/2014/main" id="{4863CB24-5F35-4FDF-A507-7795A5903AC4}"/>
                </a:ext>
              </a:extLst>
            </p:cNvPr>
            <p:cNvGrpSpPr/>
            <p:nvPr/>
          </p:nvGrpSpPr>
          <p:grpSpPr>
            <a:xfrm>
              <a:off x="444878" y="3981449"/>
              <a:ext cx="558800" cy="723901"/>
              <a:chOff x="444878" y="3981449"/>
              <a:chExt cx="558800" cy="723901"/>
            </a:xfrm>
          </p:grpSpPr>
          <p:pic>
            <p:nvPicPr>
              <p:cNvPr id="92" name="Graphic 91" descr="Money">
                <a:extLst>
                  <a:ext uri="{FF2B5EF4-FFF2-40B4-BE49-F238E27FC236}">
                    <a16:creationId xmlns:a16="http://schemas.microsoft.com/office/drawing/2014/main" id="{F804447C-DF3E-44FC-96BC-1BC0E305CC0C}"/>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942" t="12373" r="3215" b="15575"/>
              <a:stretch/>
            </p:blipFill>
            <p:spPr>
              <a:xfrm>
                <a:off x="444878" y="4318000"/>
                <a:ext cx="558800" cy="387350"/>
              </a:xfrm>
              <a:prstGeom prst="rect">
                <a:avLst/>
              </a:prstGeom>
            </p:spPr>
          </p:pic>
          <p:pic>
            <p:nvPicPr>
              <p:cNvPr id="93" name="Picture 92">
                <a:extLst>
                  <a:ext uri="{FF2B5EF4-FFF2-40B4-BE49-F238E27FC236}">
                    <a16:creationId xmlns:a16="http://schemas.microsoft.com/office/drawing/2014/main" id="{23F2A08D-CB32-4B59-93AF-BEE5B1354C9C}"/>
                  </a:ext>
                </a:extLst>
              </p:cNvPr>
              <p:cNvPicPr>
                <a:picLocks noChangeAspect="1"/>
              </p:cNvPicPr>
              <p:nvPr/>
            </p:nvPicPr>
            <p:blipFill rotWithShape="1">
              <a:blip r:embed="rId10"/>
              <a:srcRect l="28604" t="3636" r="26713" b="4697"/>
              <a:stretch/>
            </p:blipFill>
            <p:spPr>
              <a:xfrm>
                <a:off x="489328" y="3981449"/>
                <a:ext cx="261034" cy="488951"/>
              </a:xfrm>
              <a:prstGeom prst="rect">
                <a:avLst/>
              </a:prstGeom>
            </p:spPr>
          </p:pic>
        </p:grpSp>
      </p:grpSp>
      <p:pic>
        <p:nvPicPr>
          <p:cNvPr id="94" name="Picture 93">
            <a:hlinkClick r:id="rId11"/>
            <a:extLst>
              <a:ext uri="{FF2B5EF4-FFF2-40B4-BE49-F238E27FC236}">
                <a16:creationId xmlns:a16="http://schemas.microsoft.com/office/drawing/2014/main" id="{4C88F857-E0F0-4FCE-B963-CC2B6262C2C7}"/>
              </a:ext>
            </a:extLst>
          </p:cNvPr>
          <p:cNvPicPr>
            <a:picLocks noChangeAspect="1"/>
          </p:cNvPicPr>
          <p:nvPr/>
        </p:nvPicPr>
        <p:blipFill>
          <a:blip r:embed="rId12"/>
          <a:stretch>
            <a:fillRect/>
          </a:stretch>
        </p:blipFill>
        <p:spPr>
          <a:xfrm>
            <a:off x="6016537" y="1646280"/>
            <a:ext cx="2363859" cy="3060189"/>
          </a:xfrm>
          <a:prstGeom prst="rect">
            <a:avLst/>
          </a:prstGeom>
        </p:spPr>
      </p:pic>
      <p:sp>
        <p:nvSpPr>
          <p:cNvPr id="95" name="TextBox 94">
            <a:extLst>
              <a:ext uri="{FF2B5EF4-FFF2-40B4-BE49-F238E27FC236}">
                <a16:creationId xmlns:a16="http://schemas.microsoft.com/office/drawing/2014/main" id="{16384126-C4A2-45A1-9373-4CCB52E289F9}"/>
              </a:ext>
            </a:extLst>
          </p:cNvPr>
          <p:cNvSpPr txBox="1"/>
          <p:nvPr/>
        </p:nvSpPr>
        <p:spPr>
          <a:xfrm>
            <a:off x="5616676" y="827785"/>
            <a:ext cx="3053852" cy="726328"/>
          </a:xfrm>
          <a:prstGeom prst="rect">
            <a:avLst/>
          </a:prstGeom>
        </p:spPr>
        <p:txBody>
          <a:bodyPr vert="horz" wrap="square" lIns="89131" tIns="45708" rIns="91416" bIns="45708" rtlCol="0" anchor="t">
            <a:spAutoFit/>
          </a:bodyPr>
          <a:lstStyle/>
          <a:p>
            <a:pPr algn="ctr" defTabSz="914103" fontAlgn="auto">
              <a:lnSpc>
                <a:spcPct val="95000"/>
              </a:lnSpc>
              <a:spcBef>
                <a:spcPts val="0"/>
              </a:spcBef>
              <a:spcAft>
                <a:spcPts val="0"/>
              </a:spcAft>
              <a:buClr>
                <a:srgbClr val="0067C5"/>
              </a:buClr>
            </a:pPr>
            <a:r>
              <a:rPr lang="en-US" sz="1424" dirty="0">
                <a:solidFill>
                  <a:prstClr val="white"/>
                </a:solidFill>
                <a:latin typeface="Arial"/>
              </a:rPr>
              <a:t>“Agile and Efficient – How </a:t>
            </a:r>
            <a:r>
              <a:rPr lang="en-US" sz="1424" dirty="0" err="1">
                <a:solidFill>
                  <a:prstClr val="white"/>
                </a:solidFill>
                <a:latin typeface="Arial"/>
              </a:rPr>
              <a:t>FlexPod</a:t>
            </a:r>
            <a:br>
              <a:rPr lang="en-US" sz="1424" dirty="0">
                <a:solidFill>
                  <a:prstClr val="white"/>
                </a:solidFill>
                <a:latin typeface="Arial"/>
              </a:rPr>
            </a:br>
            <a:r>
              <a:rPr lang="en-US" sz="1424" dirty="0">
                <a:solidFill>
                  <a:prstClr val="white"/>
                </a:solidFill>
                <a:latin typeface="Arial"/>
              </a:rPr>
              <a:t>Drives Datacenter Modernization”</a:t>
            </a:r>
          </a:p>
          <a:p>
            <a:pPr algn="ctr" defTabSz="914103" fontAlgn="auto">
              <a:lnSpc>
                <a:spcPct val="95000"/>
              </a:lnSpc>
              <a:spcBef>
                <a:spcPts val="450"/>
              </a:spcBef>
              <a:spcAft>
                <a:spcPts val="0"/>
              </a:spcAft>
              <a:buClr>
                <a:srgbClr val="0067C5"/>
              </a:buClr>
            </a:pPr>
            <a:r>
              <a:rPr lang="en-US" sz="1050" dirty="0">
                <a:solidFill>
                  <a:prstClr val="white"/>
                </a:solidFill>
                <a:latin typeface="Arial"/>
                <a:hlinkClick r:id="rId11">
                  <a:extLst>
                    <a:ext uri="{A12FA001-AC4F-418D-AE19-62706E023703}">
                      <ahyp:hlinkClr xmlns:ahyp="http://schemas.microsoft.com/office/drawing/2018/hyperlinkcolor" val="tx"/>
                    </a:ext>
                  </a:extLst>
                </a:hlinkClick>
              </a:rPr>
              <a:t>Download the white paper</a:t>
            </a:r>
            <a:endParaRPr lang="en-US" sz="1050" dirty="0">
              <a:solidFill>
                <a:prstClr val="white"/>
              </a:solidFill>
              <a:latin typeface="Arial"/>
            </a:endParaRPr>
          </a:p>
        </p:txBody>
      </p:sp>
      <p:sp>
        <p:nvSpPr>
          <p:cNvPr id="108" name="Title 3">
            <a:extLst>
              <a:ext uri="{FF2B5EF4-FFF2-40B4-BE49-F238E27FC236}">
                <a16:creationId xmlns:a16="http://schemas.microsoft.com/office/drawing/2014/main" id="{7390CBF1-0146-4F15-BC53-6F93F1295A77}"/>
              </a:ext>
            </a:extLst>
          </p:cNvPr>
          <p:cNvSpPr>
            <a:spLocks noGrp="1"/>
          </p:cNvSpPr>
          <p:nvPr>
            <p:ph type="title"/>
          </p:nvPr>
        </p:nvSpPr>
        <p:spPr>
          <a:xfrm>
            <a:off x="228600" y="476893"/>
            <a:ext cx="8534399" cy="535781"/>
          </a:xfrm>
        </p:spPr>
        <p:txBody>
          <a:bodyPr/>
          <a:lstStyle/>
          <a:p>
            <a:r>
              <a:rPr lang="en-US" dirty="0"/>
              <a:t>Why Customers Choose </a:t>
            </a:r>
            <a:br>
              <a:rPr lang="en-US" dirty="0"/>
            </a:br>
            <a:r>
              <a:rPr lang="en-US" dirty="0"/>
              <a:t>FlexPod</a:t>
            </a:r>
          </a:p>
        </p:txBody>
      </p:sp>
    </p:spTree>
    <p:extLst>
      <p:ext uri="{BB962C8B-B14F-4D97-AF65-F5344CB8AC3E}">
        <p14:creationId xmlns:p14="http://schemas.microsoft.com/office/powerpoint/2010/main" val="190698756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CEBC17-0FF1-464F-84E5-3822F26670FB}"/>
              </a:ext>
            </a:extLst>
          </p:cNvPr>
          <p:cNvSpPr>
            <a:spLocks noGrp="1"/>
          </p:cNvSpPr>
          <p:nvPr>
            <p:ph type="title" idx="4294967295"/>
          </p:nvPr>
        </p:nvSpPr>
        <p:spPr>
          <a:xfrm>
            <a:off x="19050" y="369888"/>
            <a:ext cx="8337550" cy="534987"/>
          </a:xfrm>
        </p:spPr>
        <p:txBody>
          <a:bodyPr/>
          <a:lstStyle/>
          <a:p>
            <a:r>
              <a:rPr lang="en-US" dirty="0"/>
              <a:t>The History of Innovation Continues</a:t>
            </a:r>
          </a:p>
        </p:txBody>
      </p:sp>
      <p:sp>
        <p:nvSpPr>
          <p:cNvPr id="457" name="Rectangle 456">
            <a:extLst>
              <a:ext uri="{FF2B5EF4-FFF2-40B4-BE49-F238E27FC236}">
                <a16:creationId xmlns:a16="http://schemas.microsoft.com/office/drawing/2014/main" id="{B5E080EA-CE0C-664B-B9D9-9755B6E9D616}"/>
              </a:ext>
            </a:extLst>
          </p:cNvPr>
          <p:cNvSpPr/>
          <p:nvPr/>
        </p:nvSpPr>
        <p:spPr bwMode="auto">
          <a:xfrm>
            <a:off x="12700" y="1095925"/>
            <a:ext cx="1746250" cy="3664988"/>
          </a:xfrm>
          <a:prstGeom prst="rect">
            <a:avLst/>
          </a:prstGeom>
          <a:solidFill>
            <a:srgbClr val="9EA2A2">
              <a:lumMod val="20000"/>
              <a:lumOff val="80000"/>
              <a:alpha val="50000"/>
            </a:srgbClr>
          </a:solidFill>
          <a:ln w="9525" cap="flat" cmpd="sng" algn="ctr">
            <a:noFill/>
            <a:prstDash val="solid"/>
            <a:round/>
            <a:headEnd type="none" w="med" len="med"/>
            <a:tailEnd type="none" w="med" len="med"/>
          </a:ln>
          <a:effectLst/>
        </p:spPr>
        <p:txBody>
          <a:bodyPr wrap="none" lIns="91392" tIns="45696" rIns="91392" bIns="45696" anchor="ctr"/>
          <a:lstStyle/>
          <a:p>
            <a:pPr marL="0" marR="0" lvl="0" indent="0" algn="ctr" defTabSz="913943" eaLnBrk="0" fontAlgn="auto" latinLnBrk="0" hangingPunct="0">
              <a:lnSpc>
                <a:spcPct val="100000"/>
              </a:lnSpc>
              <a:spcBef>
                <a:spcPts val="0"/>
              </a:spcBef>
              <a:spcAft>
                <a:spcPts val="0"/>
              </a:spcAft>
              <a:buClr>
                <a:srgbClr val="8DC8E8"/>
              </a:buClr>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8" name="Rectangle 457">
            <a:extLst>
              <a:ext uri="{FF2B5EF4-FFF2-40B4-BE49-F238E27FC236}">
                <a16:creationId xmlns:a16="http://schemas.microsoft.com/office/drawing/2014/main" id="{17AFBB74-5475-424B-AE21-73234C529E6E}"/>
              </a:ext>
            </a:extLst>
          </p:cNvPr>
          <p:cNvSpPr/>
          <p:nvPr/>
        </p:nvSpPr>
        <p:spPr bwMode="auto">
          <a:xfrm>
            <a:off x="1758950" y="1095925"/>
            <a:ext cx="2686050" cy="3664988"/>
          </a:xfrm>
          <a:prstGeom prst="rect">
            <a:avLst/>
          </a:prstGeom>
          <a:solidFill>
            <a:srgbClr val="8DC8E8">
              <a:lumMod val="40000"/>
              <a:lumOff val="60000"/>
              <a:alpha val="50000"/>
            </a:srgbClr>
          </a:solidFill>
          <a:ln w="9525" cap="flat" cmpd="sng" algn="ctr">
            <a:noFill/>
            <a:prstDash val="solid"/>
            <a:round/>
            <a:headEnd type="none" w="med" len="med"/>
            <a:tailEnd type="none" w="med" len="med"/>
          </a:ln>
          <a:effectLst/>
        </p:spPr>
        <p:txBody>
          <a:bodyPr wrap="none" lIns="91392" tIns="45696" rIns="91392" bIns="45696" anchor="ctr"/>
          <a:lstStyle/>
          <a:p>
            <a:pPr marL="0" marR="0" lvl="0" indent="0" algn="ctr" defTabSz="913943" eaLnBrk="0" fontAlgn="auto" latinLnBrk="0" hangingPunct="0">
              <a:lnSpc>
                <a:spcPct val="100000"/>
              </a:lnSpc>
              <a:spcBef>
                <a:spcPts val="0"/>
              </a:spcBef>
              <a:spcAft>
                <a:spcPts val="0"/>
              </a:spcAft>
              <a:buClr>
                <a:srgbClr val="8DC8E8"/>
              </a:buClr>
              <a:buSzTx/>
              <a:buFontTx/>
              <a:buNone/>
              <a:tabLst/>
              <a:defRPr/>
            </a:pPr>
            <a:endParaRPr kumimoji="0" lang="en-US" sz="1800" b="0" i="0" u="none" strike="noStrike" kern="0" cap="none" spc="0" normalizeH="0" baseline="0" noProof="0">
              <a:ln>
                <a:noFill/>
              </a:ln>
              <a:solidFill>
                <a:srgbClr val="C8102E"/>
              </a:solidFill>
              <a:effectLst/>
              <a:uLnTx/>
              <a:uFillTx/>
            </a:endParaRPr>
          </a:p>
        </p:txBody>
      </p:sp>
      <p:sp>
        <p:nvSpPr>
          <p:cNvPr id="459" name="Rectangle 458">
            <a:extLst>
              <a:ext uri="{FF2B5EF4-FFF2-40B4-BE49-F238E27FC236}">
                <a16:creationId xmlns:a16="http://schemas.microsoft.com/office/drawing/2014/main" id="{4A0D4070-61BA-F647-81BC-D0156E950A45}"/>
              </a:ext>
            </a:extLst>
          </p:cNvPr>
          <p:cNvSpPr/>
          <p:nvPr/>
        </p:nvSpPr>
        <p:spPr bwMode="auto">
          <a:xfrm>
            <a:off x="4445000" y="1095925"/>
            <a:ext cx="2352675" cy="3664988"/>
          </a:xfrm>
          <a:prstGeom prst="rect">
            <a:avLst/>
          </a:prstGeom>
          <a:solidFill>
            <a:srgbClr val="8DC8E8">
              <a:lumMod val="60000"/>
              <a:lumOff val="40000"/>
              <a:alpha val="50000"/>
            </a:srgbClr>
          </a:solidFill>
          <a:ln w="9525" cap="flat" cmpd="sng" algn="ctr">
            <a:noFill/>
            <a:prstDash val="solid"/>
            <a:round/>
            <a:headEnd type="none" w="med" len="med"/>
            <a:tailEnd type="none" w="med" len="med"/>
          </a:ln>
          <a:effectLst/>
        </p:spPr>
        <p:txBody>
          <a:bodyPr wrap="none" lIns="91392" tIns="45696" rIns="91392" bIns="45696" anchor="ctr"/>
          <a:lstStyle/>
          <a:p>
            <a:pPr marL="0" marR="0" lvl="0" indent="0" algn="ctr" defTabSz="913943" eaLnBrk="0" fontAlgn="auto" latinLnBrk="0" hangingPunct="0">
              <a:lnSpc>
                <a:spcPct val="100000"/>
              </a:lnSpc>
              <a:spcBef>
                <a:spcPts val="0"/>
              </a:spcBef>
              <a:spcAft>
                <a:spcPts val="0"/>
              </a:spcAft>
              <a:buClr>
                <a:srgbClr val="8DC8E8"/>
              </a:buClr>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0" name="Rectangle 459">
            <a:extLst>
              <a:ext uri="{FF2B5EF4-FFF2-40B4-BE49-F238E27FC236}">
                <a16:creationId xmlns:a16="http://schemas.microsoft.com/office/drawing/2014/main" id="{F1F38346-1857-CA47-AAF2-7ABC57564E38}"/>
              </a:ext>
            </a:extLst>
          </p:cNvPr>
          <p:cNvSpPr/>
          <p:nvPr/>
        </p:nvSpPr>
        <p:spPr bwMode="auto">
          <a:xfrm>
            <a:off x="6800850" y="1095925"/>
            <a:ext cx="2333625" cy="3664988"/>
          </a:xfrm>
          <a:prstGeom prst="rect">
            <a:avLst/>
          </a:prstGeom>
          <a:solidFill>
            <a:srgbClr val="8DC8E8">
              <a:lumMod val="75000"/>
              <a:alpha val="50000"/>
            </a:srgbClr>
          </a:solidFill>
          <a:ln w="9525" cap="flat" cmpd="sng" algn="ctr">
            <a:noFill/>
            <a:prstDash val="solid"/>
            <a:round/>
            <a:headEnd type="none" w="med" len="med"/>
            <a:tailEnd type="none" w="med" len="med"/>
          </a:ln>
          <a:effectLst/>
        </p:spPr>
        <p:txBody>
          <a:bodyPr wrap="none" lIns="91392" tIns="45696" rIns="91392" bIns="45696" anchor="ctr"/>
          <a:lstStyle/>
          <a:p>
            <a:pPr marL="0" marR="0" lvl="0" indent="0" algn="ctr" defTabSz="913943" eaLnBrk="0" fontAlgn="auto" latinLnBrk="0" hangingPunct="0">
              <a:lnSpc>
                <a:spcPct val="100000"/>
              </a:lnSpc>
              <a:spcBef>
                <a:spcPts val="0"/>
              </a:spcBef>
              <a:spcAft>
                <a:spcPts val="0"/>
              </a:spcAft>
              <a:buClr>
                <a:srgbClr val="8DC8E8"/>
              </a:buClr>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1" name="Pentagon 460">
            <a:extLst>
              <a:ext uri="{FF2B5EF4-FFF2-40B4-BE49-F238E27FC236}">
                <a16:creationId xmlns:a16="http://schemas.microsoft.com/office/drawing/2014/main" id="{4D5C8520-CF2A-1142-B4C1-853F7B3BD110}"/>
              </a:ext>
            </a:extLst>
          </p:cNvPr>
          <p:cNvSpPr/>
          <p:nvPr/>
        </p:nvSpPr>
        <p:spPr>
          <a:xfrm>
            <a:off x="27900" y="2591437"/>
            <a:ext cx="9109750" cy="912256"/>
          </a:xfrm>
          <a:prstGeom prst="homePlate">
            <a:avLst>
              <a:gd name="adj" fmla="val 42500"/>
            </a:avLst>
          </a:prstGeom>
          <a:solidFill>
            <a:srgbClr val="2D98D3"/>
          </a:solidFill>
          <a:ln w="158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462" name="TextBox 96">
            <a:extLst>
              <a:ext uri="{FF2B5EF4-FFF2-40B4-BE49-F238E27FC236}">
                <a16:creationId xmlns:a16="http://schemas.microsoft.com/office/drawing/2014/main" id="{DB697F78-A49C-0348-AB8F-EE04DDF3A702}"/>
              </a:ext>
            </a:extLst>
          </p:cNvPr>
          <p:cNvSpPr txBox="1">
            <a:spLocks noChangeArrowheads="1"/>
          </p:cNvSpPr>
          <p:nvPr/>
        </p:nvSpPr>
        <p:spPr bwMode="auto">
          <a:xfrm>
            <a:off x="2135004" y="3700449"/>
            <a:ext cx="551673"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Select</a:t>
            </a:r>
          </a:p>
        </p:txBody>
      </p:sp>
      <p:sp>
        <p:nvSpPr>
          <p:cNvPr id="463" name="TextBox 38">
            <a:extLst>
              <a:ext uri="{FF2B5EF4-FFF2-40B4-BE49-F238E27FC236}">
                <a16:creationId xmlns:a16="http://schemas.microsoft.com/office/drawing/2014/main" id="{AA8CBC4F-0EEA-FF46-8DA1-115787F8539E}"/>
              </a:ext>
            </a:extLst>
          </p:cNvPr>
          <p:cNvSpPr txBox="1">
            <a:spLocks noChangeArrowheads="1"/>
          </p:cNvSpPr>
          <p:nvPr/>
        </p:nvSpPr>
        <p:spPr bwMode="auto">
          <a:xfrm>
            <a:off x="2917649" y="1106156"/>
            <a:ext cx="628650"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Unified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inancing</a:t>
            </a:r>
          </a:p>
        </p:txBody>
      </p:sp>
      <p:sp>
        <p:nvSpPr>
          <p:cNvPr id="464" name="TextBox 116">
            <a:extLst>
              <a:ext uri="{FF2B5EF4-FFF2-40B4-BE49-F238E27FC236}">
                <a16:creationId xmlns:a16="http://schemas.microsoft.com/office/drawing/2014/main" id="{00928E79-73B8-9F47-AAA4-E1010D4A48AB}"/>
              </a:ext>
            </a:extLst>
          </p:cNvPr>
          <p:cNvSpPr txBox="1">
            <a:spLocks noChangeArrowheads="1"/>
          </p:cNvSpPr>
          <p:nvPr/>
        </p:nvSpPr>
        <p:spPr bwMode="auto">
          <a:xfrm>
            <a:off x="2715697" y="3758926"/>
            <a:ext cx="715346" cy="68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itrix in cooperative support </a:t>
            </a:r>
            <a:endPar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cs typeface="Arial" panose="020B0604020202020204" pitchFamily="34" charset="0"/>
            </a:endParaRPr>
          </a:p>
        </p:txBody>
      </p:sp>
      <p:sp>
        <p:nvSpPr>
          <p:cNvPr id="465" name="TextBox 48">
            <a:extLst>
              <a:ext uri="{FF2B5EF4-FFF2-40B4-BE49-F238E27FC236}">
                <a16:creationId xmlns:a16="http://schemas.microsoft.com/office/drawing/2014/main" id="{6231BA2E-D483-004C-B609-C6BD50E36718}"/>
              </a:ext>
            </a:extLst>
          </p:cNvPr>
          <p:cNvSpPr txBox="1">
            <a:spLocks noChangeArrowheads="1"/>
          </p:cNvSpPr>
          <p:nvPr/>
        </p:nvSpPr>
        <p:spPr bwMode="auto">
          <a:xfrm>
            <a:off x="2155969" y="1287221"/>
            <a:ext cx="775563" cy="39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algn="ctr" eaLnBrk="0" hangingPunct="0">
              <a:lnSpc>
                <a:spcPct val="95000"/>
              </a:lnSpc>
              <a:defRPr/>
            </a:pPr>
            <a:r>
              <a:rPr lang="en-US" altLang="en-US" sz="1000" dirty="0">
                <a:solidFill>
                  <a:srgbClr val="233E85"/>
                </a:solidFill>
                <a:cs typeface="Arial" panose="020B0604020202020204" pitchFamily="34" charset="0"/>
              </a:rPr>
              <a:t>OpenStack</a:t>
            </a:r>
          </a:p>
        </p:txBody>
      </p:sp>
      <p:sp>
        <p:nvSpPr>
          <p:cNvPr id="466" name="TextBox 46">
            <a:extLst>
              <a:ext uri="{FF2B5EF4-FFF2-40B4-BE49-F238E27FC236}">
                <a16:creationId xmlns:a16="http://schemas.microsoft.com/office/drawing/2014/main" id="{A6236E37-5CB4-C744-9CB0-D039A46F8CC9}"/>
              </a:ext>
            </a:extLst>
          </p:cNvPr>
          <p:cNvSpPr txBox="1">
            <a:spLocks noChangeArrowheads="1"/>
          </p:cNvSpPr>
          <p:nvPr/>
        </p:nvSpPr>
        <p:spPr bwMode="auto">
          <a:xfrm>
            <a:off x="3399453" y="1768497"/>
            <a:ext cx="508686"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Metro</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luster</a:t>
            </a:r>
          </a:p>
        </p:txBody>
      </p:sp>
      <p:sp>
        <p:nvSpPr>
          <p:cNvPr id="467" name="TextBox 49">
            <a:extLst>
              <a:ext uri="{FF2B5EF4-FFF2-40B4-BE49-F238E27FC236}">
                <a16:creationId xmlns:a16="http://schemas.microsoft.com/office/drawing/2014/main" id="{E3FB6C67-6909-0340-9265-402C0ED466C9}"/>
              </a:ext>
            </a:extLst>
          </p:cNvPr>
          <p:cNvSpPr txBox="1">
            <a:spLocks noChangeArrowheads="1"/>
          </p:cNvSpPr>
          <p:nvPr/>
        </p:nvSpPr>
        <p:spPr bwMode="auto">
          <a:xfrm>
            <a:off x="3224271" y="4311302"/>
            <a:ext cx="482396"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isco  </a:t>
            </a:r>
            <a:b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b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VMDC</a:t>
            </a:r>
          </a:p>
        </p:txBody>
      </p:sp>
      <p:sp>
        <p:nvSpPr>
          <p:cNvPr id="468" name="TextBox 55">
            <a:extLst>
              <a:ext uri="{FF2B5EF4-FFF2-40B4-BE49-F238E27FC236}">
                <a16:creationId xmlns:a16="http://schemas.microsoft.com/office/drawing/2014/main" id="{14C359D1-76EE-6C4A-BEE2-85D7D46326F1}"/>
              </a:ext>
            </a:extLst>
          </p:cNvPr>
          <p:cNvSpPr txBox="1">
            <a:spLocks noChangeArrowheads="1"/>
          </p:cNvSpPr>
          <p:nvPr/>
        </p:nvSpPr>
        <p:spPr bwMode="auto">
          <a:xfrm>
            <a:off x="2622325" y="1718807"/>
            <a:ext cx="532573"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w/Oracle</a:t>
            </a:r>
          </a:p>
        </p:txBody>
      </p:sp>
      <p:sp>
        <p:nvSpPr>
          <p:cNvPr id="469" name="TextBox 82">
            <a:extLst>
              <a:ext uri="{FF2B5EF4-FFF2-40B4-BE49-F238E27FC236}">
                <a16:creationId xmlns:a16="http://schemas.microsoft.com/office/drawing/2014/main" id="{058E6EB9-781F-B843-B306-694499476332}"/>
              </a:ext>
            </a:extLst>
          </p:cNvPr>
          <p:cNvSpPr txBox="1">
            <a:spLocks noChangeArrowheads="1"/>
          </p:cNvSpPr>
          <p:nvPr/>
        </p:nvSpPr>
        <p:spPr bwMode="auto">
          <a:xfrm>
            <a:off x="100212" y="3758926"/>
            <a:ext cx="515938" cy="68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Secure</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multi-</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tenancy</a:t>
            </a:r>
          </a:p>
        </p:txBody>
      </p:sp>
      <p:sp>
        <p:nvSpPr>
          <p:cNvPr id="470" name="TextBox 83">
            <a:extLst>
              <a:ext uri="{FF2B5EF4-FFF2-40B4-BE49-F238E27FC236}">
                <a16:creationId xmlns:a16="http://schemas.microsoft.com/office/drawing/2014/main" id="{765BA151-D078-0948-B3FB-BA72B249A8E9}"/>
              </a:ext>
            </a:extLst>
          </p:cNvPr>
          <p:cNvSpPr txBox="1">
            <a:spLocks noChangeArrowheads="1"/>
          </p:cNvSpPr>
          <p:nvPr/>
        </p:nvSpPr>
        <p:spPr bwMode="auto">
          <a:xfrm>
            <a:off x="1499233" y="4325266"/>
            <a:ext cx="531811"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Express</a:t>
            </a:r>
          </a:p>
        </p:txBody>
      </p:sp>
      <p:sp>
        <p:nvSpPr>
          <p:cNvPr id="471" name="TextBox 84">
            <a:extLst>
              <a:ext uri="{FF2B5EF4-FFF2-40B4-BE49-F238E27FC236}">
                <a16:creationId xmlns:a16="http://schemas.microsoft.com/office/drawing/2014/main" id="{1380891A-7162-2E41-BE8D-D4C8EE2CA48E}"/>
              </a:ext>
            </a:extLst>
          </p:cNvPr>
          <p:cNvSpPr txBox="1">
            <a:spLocks noChangeArrowheads="1"/>
          </p:cNvSpPr>
          <p:nvPr/>
        </p:nvSpPr>
        <p:spPr bwMode="auto">
          <a:xfrm>
            <a:off x="977184" y="1737507"/>
            <a:ext cx="1052513" cy="68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lustered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Data ONTAP</a:t>
            </a:r>
            <a:r>
              <a:rPr kumimoji="0" lang="en-US" altLang="en-US" sz="1000" b="0" i="0" u="none" strike="noStrike" kern="0" cap="none" spc="0" normalizeH="0" baseline="30000" noProof="0" dirty="0">
                <a:ln>
                  <a:noFill/>
                </a:ln>
                <a:solidFill>
                  <a:srgbClr val="233E85"/>
                </a:solidFill>
                <a:effectLst/>
                <a:uLnTx/>
                <a:uFillTx/>
                <a:latin typeface="Arial" panose="020B0604020202020204" pitchFamily="34" charset="0"/>
              </a:rPr>
              <a:t>®</a:t>
            </a:r>
          </a:p>
        </p:txBody>
      </p:sp>
      <p:sp>
        <p:nvSpPr>
          <p:cNvPr id="472" name="TextBox 91">
            <a:extLst>
              <a:ext uri="{FF2B5EF4-FFF2-40B4-BE49-F238E27FC236}">
                <a16:creationId xmlns:a16="http://schemas.microsoft.com/office/drawing/2014/main" id="{E361323B-5CCF-044D-A172-F5C2C67D092B}"/>
              </a:ext>
            </a:extLst>
          </p:cNvPr>
          <p:cNvSpPr txBox="1">
            <a:spLocks noChangeArrowheads="1"/>
          </p:cNvSpPr>
          <p:nvPr/>
        </p:nvSpPr>
        <p:spPr bwMode="auto">
          <a:xfrm>
            <a:off x="498811" y="4321108"/>
            <a:ext cx="698969"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w/Microsoft </a:t>
            </a:r>
          </a:p>
        </p:txBody>
      </p:sp>
      <p:sp>
        <p:nvSpPr>
          <p:cNvPr id="473" name="TextBox 94">
            <a:extLst>
              <a:ext uri="{FF2B5EF4-FFF2-40B4-BE49-F238E27FC236}">
                <a16:creationId xmlns:a16="http://schemas.microsoft.com/office/drawing/2014/main" id="{10E9AB3C-83D0-AD4B-B32D-8F2540B90991}"/>
              </a:ext>
            </a:extLst>
          </p:cNvPr>
          <p:cNvSpPr txBox="1">
            <a:spLocks noChangeArrowheads="1"/>
          </p:cNvSpPr>
          <p:nvPr/>
        </p:nvSpPr>
        <p:spPr bwMode="auto">
          <a:xfrm>
            <a:off x="1024549" y="3758926"/>
            <a:ext cx="488951"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w/Citrix</a:t>
            </a:r>
          </a:p>
        </p:txBody>
      </p:sp>
      <p:sp>
        <p:nvSpPr>
          <p:cNvPr id="474" name="TextBox 95">
            <a:extLst>
              <a:ext uri="{FF2B5EF4-FFF2-40B4-BE49-F238E27FC236}">
                <a16:creationId xmlns:a16="http://schemas.microsoft.com/office/drawing/2014/main" id="{3F2A6AD1-1557-1645-89C4-7ED7DC45C9C2}"/>
              </a:ext>
            </a:extLst>
          </p:cNvPr>
          <p:cNvSpPr txBox="1">
            <a:spLocks noChangeArrowheads="1"/>
          </p:cNvSpPr>
          <p:nvPr/>
        </p:nvSpPr>
        <p:spPr bwMode="auto">
          <a:xfrm>
            <a:off x="246684" y="1814360"/>
            <a:ext cx="515936"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400"/>
              </a:spcBef>
              <a:spcAft>
                <a:spcPts val="200"/>
              </a:spcAft>
              <a:buClrTx/>
              <a:buSzTx/>
              <a:buFontTx/>
              <a:buNone/>
              <a:tabLst/>
              <a:defRPr/>
            </a:pPr>
            <a:r>
              <a:rPr kumimoji="0" lang="en-US" altLang="en-US" sz="1000" b="0" i="0" u="none" strike="noStrike" kern="0" cap="none" spc="0" normalizeH="0" baseline="0" noProof="0" dirty="0" err="1">
                <a:ln>
                  <a:noFill/>
                </a:ln>
                <a:solidFill>
                  <a:srgbClr val="233E85"/>
                </a:solidFill>
                <a:effectLst/>
                <a:uLnTx/>
                <a:uFillTx/>
                <a:latin typeface="Arial" panose="020B0604020202020204" pitchFamily="34" charset="0"/>
              </a:rPr>
              <a:t>FlexPod</a:t>
            </a:r>
            <a:b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b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launched</a:t>
            </a:r>
          </a:p>
        </p:txBody>
      </p:sp>
      <p:sp>
        <p:nvSpPr>
          <p:cNvPr id="475" name="TextBox 105">
            <a:extLst>
              <a:ext uri="{FF2B5EF4-FFF2-40B4-BE49-F238E27FC236}">
                <a16:creationId xmlns:a16="http://schemas.microsoft.com/office/drawing/2014/main" id="{D9F0A6C5-9826-9447-8C53-3824FE3850B7}"/>
              </a:ext>
            </a:extLst>
          </p:cNvPr>
          <p:cNvSpPr txBox="1">
            <a:spLocks noChangeArrowheads="1"/>
          </p:cNvSpPr>
          <p:nvPr/>
        </p:nvSpPr>
        <p:spPr bwMode="auto">
          <a:xfrm>
            <a:off x="1662186" y="1737507"/>
            <a:ext cx="1052513" cy="68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3-year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strategic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agreement</a:t>
            </a:r>
          </a:p>
        </p:txBody>
      </p:sp>
      <p:sp>
        <p:nvSpPr>
          <p:cNvPr id="476" name="TextBox 120">
            <a:extLst>
              <a:ext uri="{FF2B5EF4-FFF2-40B4-BE49-F238E27FC236}">
                <a16:creationId xmlns:a16="http://schemas.microsoft.com/office/drawing/2014/main" id="{FB1C2323-56D3-5E41-9C5D-217D46614B15}"/>
              </a:ext>
            </a:extLst>
          </p:cNvPr>
          <p:cNvSpPr txBox="1">
            <a:spLocks noChangeArrowheads="1"/>
          </p:cNvSpPr>
          <p:nvPr/>
        </p:nvSpPr>
        <p:spPr bwMode="auto">
          <a:xfrm>
            <a:off x="800809" y="1213963"/>
            <a:ext cx="496888"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w/SAP</a:t>
            </a:r>
          </a:p>
        </p:txBody>
      </p:sp>
      <p:sp>
        <p:nvSpPr>
          <p:cNvPr id="477" name="TextBox 122">
            <a:extLst>
              <a:ext uri="{FF2B5EF4-FFF2-40B4-BE49-F238E27FC236}">
                <a16:creationId xmlns:a16="http://schemas.microsoft.com/office/drawing/2014/main" id="{E1C95984-F918-764F-BAA5-6B9F128CECCB}"/>
              </a:ext>
            </a:extLst>
          </p:cNvPr>
          <p:cNvSpPr txBox="1">
            <a:spLocks noChangeArrowheads="1"/>
          </p:cNvSpPr>
          <p:nvPr/>
        </p:nvSpPr>
        <p:spPr bwMode="auto">
          <a:xfrm>
            <a:off x="2430081" y="4316338"/>
            <a:ext cx="515938"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UCS Director</a:t>
            </a:r>
          </a:p>
        </p:txBody>
      </p:sp>
      <p:sp>
        <p:nvSpPr>
          <p:cNvPr id="478" name="TextBox 141">
            <a:extLst>
              <a:ext uri="{FF2B5EF4-FFF2-40B4-BE49-F238E27FC236}">
                <a16:creationId xmlns:a16="http://schemas.microsoft.com/office/drawing/2014/main" id="{DF391AC0-0258-5842-878B-5DF20DC67D50}"/>
              </a:ext>
            </a:extLst>
          </p:cNvPr>
          <p:cNvSpPr txBox="1">
            <a:spLocks noChangeArrowheads="1"/>
          </p:cNvSpPr>
          <p:nvPr/>
        </p:nvSpPr>
        <p:spPr bwMode="auto">
          <a:xfrm>
            <a:off x="4265734" y="4311272"/>
            <a:ext cx="444255"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isco ACI</a:t>
            </a:r>
          </a:p>
        </p:txBody>
      </p:sp>
      <p:sp>
        <p:nvSpPr>
          <p:cNvPr id="479" name="TextBox 121">
            <a:extLst>
              <a:ext uri="{FF2B5EF4-FFF2-40B4-BE49-F238E27FC236}">
                <a16:creationId xmlns:a16="http://schemas.microsoft.com/office/drawing/2014/main" id="{C89FAAA1-CE29-B84D-874C-B55E97005A83}"/>
              </a:ext>
            </a:extLst>
          </p:cNvPr>
          <p:cNvSpPr txBox="1">
            <a:spLocks noChangeArrowheads="1"/>
          </p:cNvSpPr>
          <p:nvPr/>
        </p:nvSpPr>
        <p:spPr bwMode="auto">
          <a:xfrm>
            <a:off x="3439614" y="3767195"/>
            <a:ext cx="896938" cy="684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Microsoft in cooperative support</a:t>
            </a:r>
          </a:p>
        </p:txBody>
      </p:sp>
      <p:sp>
        <p:nvSpPr>
          <p:cNvPr id="480" name="TextBox 112">
            <a:extLst>
              <a:ext uri="{FF2B5EF4-FFF2-40B4-BE49-F238E27FC236}">
                <a16:creationId xmlns:a16="http://schemas.microsoft.com/office/drawing/2014/main" id="{D1554963-DE7E-D44E-B589-EC3D1BEB4DAA}"/>
              </a:ext>
            </a:extLst>
          </p:cNvPr>
          <p:cNvSpPr txBox="1">
            <a:spLocks noChangeArrowheads="1"/>
          </p:cNvSpPr>
          <p:nvPr/>
        </p:nvSpPr>
        <p:spPr bwMode="auto">
          <a:xfrm>
            <a:off x="4512806" y="1769572"/>
            <a:ext cx="619918"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actory integration</a:t>
            </a:r>
          </a:p>
        </p:txBody>
      </p:sp>
      <p:sp>
        <p:nvSpPr>
          <p:cNvPr id="481" name="TextBox 76">
            <a:extLst>
              <a:ext uri="{FF2B5EF4-FFF2-40B4-BE49-F238E27FC236}">
                <a16:creationId xmlns:a16="http://schemas.microsoft.com/office/drawing/2014/main" id="{D2E38CB9-EBEB-F148-820A-31E969BADE58}"/>
              </a:ext>
            </a:extLst>
          </p:cNvPr>
          <p:cNvSpPr txBox="1">
            <a:spLocks noChangeArrowheads="1"/>
          </p:cNvSpPr>
          <p:nvPr/>
        </p:nvSpPr>
        <p:spPr bwMode="auto">
          <a:xfrm>
            <a:off x="5139693" y="1177074"/>
            <a:ext cx="429692" cy="53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70" rIns="0" bIns="121670">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algn="ctr" eaLnBrk="0" hangingPunct="0">
              <a:lnSpc>
                <a:spcPct val="95000"/>
              </a:lnSpc>
              <a:defRPr/>
            </a:pPr>
            <a:r>
              <a:rPr lang="en-US" altLang="en-US" sz="1000" dirty="0">
                <a:solidFill>
                  <a:srgbClr val="233E85"/>
                </a:solidFill>
                <a:cs typeface="Arial" panose="020B0604020202020204" pitchFamily="34" charset="0"/>
              </a:rPr>
              <a:t>All </a:t>
            </a:r>
            <a:br>
              <a:rPr lang="en-US" altLang="en-US" sz="1000" dirty="0">
                <a:solidFill>
                  <a:srgbClr val="233E85"/>
                </a:solidFill>
                <a:cs typeface="Arial" panose="020B0604020202020204" pitchFamily="34" charset="0"/>
              </a:rPr>
            </a:br>
            <a:r>
              <a:rPr lang="en-US" altLang="en-US" sz="1000" dirty="0">
                <a:solidFill>
                  <a:srgbClr val="233E85"/>
                </a:solidFill>
                <a:cs typeface="Arial" panose="020B0604020202020204" pitchFamily="34" charset="0"/>
              </a:rPr>
              <a:t>Flash</a:t>
            </a:r>
          </a:p>
        </p:txBody>
      </p:sp>
      <p:sp>
        <p:nvSpPr>
          <p:cNvPr id="482" name="TextBox 72">
            <a:extLst>
              <a:ext uri="{FF2B5EF4-FFF2-40B4-BE49-F238E27FC236}">
                <a16:creationId xmlns:a16="http://schemas.microsoft.com/office/drawing/2014/main" id="{82B79DC1-E202-3443-90DD-6CC1D6CC9DAF}"/>
              </a:ext>
            </a:extLst>
          </p:cNvPr>
          <p:cNvSpPr txBox="1">
            <a:spLocks noChangeArrowheads="1"/>
          </p:cNvSpPr>
          <p:nvPr/>
        </p:nvSpPr>
        <p:spPr bwMode="auto">
          <a:xfrm>
            <a:off x="5006169" y="3766507"/>
            <a:ext cx="344487"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UCS mini</a:t>
            </a:r>
          </a:p>
        </p:txBody>
      </p:sp>
      <p:sp>
        <p:nvSpPr>
          <p:cNvPr id="483" name="TextBox 81">
            <a:extLst>
              <a:ext uri="{FF2B5EF4-FFF2-40B4-BE49-F238E27FC236}">
                <a16:creationId xmlns:a16="http://schemas.microsoft.com/office/drawing/2014/main" id="{1972821C-C76F-8845-A5A0-388B52B648FC}"/>
              </a:ext>
            </a:extLst>
          </p:cNvPr>
          <p:cNvSpPr txBox="1">
            <a:spLocks noChangeArrowheads="1"/>
          </p:cNvSpPr>
          <p:nvPr/>
        </p:nvSpPr>
        <p:spPr bwMode="auto">
          <a:xfrm>
            <a:off x="5676628" y="971812"/>
            <a:ext cx="1074737" cy="684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 with infrastructure automation</a:t>
            </a:r>
          </a:p>
        </p:txBody>
      </p:sp>
      <p:sp>
        <p:nvSpPr>
          <p:cNvPr id="484" name="TextBox 114">
            <a:extLst>
              <a:ext uri="{FF2B5EF4-FFF2-40B4-BE49-F238E27FC236}">
                <a16:creationId xmlns:a16="http://schemas.microsoft.com/office/drawing/2014/main" id="{AE5EE6AC-716F-2B4B-85C2-996E95F967EE}"/>
              </a:ext>
            </a:extLst>
          </p:cNvPr>
          <p:cNvSpPr txBox="1">
            <a:spLocks noChangeArrowheads="1"/>
          </p:cNvSpPr>
          <p:nvPr/>
        </p:nvSpPr>
        <p:spPr bwMode="auto">
          <a:xfrm>
            <a:off x="5547901" y="1919131"/>
            <a:ext cx="540543" cy="3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algn="ctr" eaLnBrk="0" hangingPunct="0">
              <a:lnSpc>
                <a:spcPct val="95000"/>
              </a:lnSpc>
              <a:defRPr/>
            </a:pPr>
            <a:r>
              <a:rPr lang="en-US" altLang="en-US" sz="1000" dirty="0">
                <a:solidFill>
                  <a:srgbClr val="233E85"/>
                </a:solidFill>
                <a:cs typeface="Arial" panose="020B0604020202020204" pitchFamily="34" charset="0"/>
              </a:rPr>
              <a:t>LCM</a:t>
            </a:r>
          </a:p>
        </p:txBody>
      </p:sp>
      <p:sp>
        <p:nvSpPr>
          <p:cNvPr id="485" name="TextBox 125">
            <a:extLst>
              <a:ext uri="{FF2B5EF4-FFF2-40B4-BE49-F238E27FC236}">
                <a16:creationId xmlns:a16="http://schemas.microsoft.com/office/drawing/2014/main" id="{E0DB1CA1-7925-B14C-8FF5-2F17326AA83B}"/>
              </a:ext>
            </a:extLst>
          </p:cNvPr>
          <p:cNvSpPr txBox="1">
            <a:spLocks noChangeArrowheads="1"/>
          </p:cNvSpPr>
          <p:nvPr/>
        </p:nvSpPr>
        <p:spPr bwMode="auto">
          <a:xfrm>
            <a:off x="3614261" y="1177074"/>
            <a:ext cx="1162999"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Secure enclave</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architecture</a:t>
            </a:r>
          </a:p>
        </p:txBody>
      </p:sp>
      <p:sp>
        <p:nvSpPr>
          <p:cNvPr id="486" name="TextBox 146">
            <a:extLst>
              <a:ext uri="{FF2B5EF4-FFF2-40B4-BE49-F238E27FC236}">
                <a16:creationId xmlns:a16="http://schemas.microsoft.com/office/drawing/2014/main" id="{8B6D4B41-5549-E642-8F5C-5EDD0E661E34}"/>
              </a:ext>
            </a:extLst>
          </p:cNvPr>
          <p:cNvSpPr txBox="1">
            <a:spLocks noChangeArrowheads="1"/>
          </p:cNvSpPr>
          <p:nvPr/>
        </p:nvSpPr>
        <p:spPr bwMode="auto">
          <a:xfrm>
            <a:off x="6352379" y="1826944"/>
            <a:ext cx="432578"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40G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abric</a:t>
            </a:r>
          </a:p>
        </p:txBody>
      </p:sp>
      <p:sp>
        <p:nvSpPr>
          <p:cNvPr id="487" name="TextBox 150">
            <a:extLst>
              <a:ext uri="{FF2B5EF4-FFF2-40B4-BE49-F238E27FC236}">
                <a16:creationId xmlns:a16="http://schemas.microsoft.com/office/drawing/2014/main" id="{84179FA4-2314-CC44-8B54-307559ECFAAC}"/>
              </a:ext>
            </a:extLst>
          </p:cNvPr>
          <p:cNvSpPr txBox="1">
            <a:spLocks noChangeArrowheads="1"/>
          </p:cNvSpPr>
          <p:nvPr/>
        </p:nvSpPr>
        <p:spPr bwMode="auto">
          <a:xfrm>
            <a:off x="6503932" y="3687798"/>
            <a:ext cx="444022" cy="3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PaaS </a:t>
            </a:r>
          </a:p>
        </p:txBody>
      </p:sp>
      <p:sp>
        <p:nvSpPr>
          <p:cNvPr id="488" name="TextBox 154">
            <a:extLst>
              <a:ext uri="{FF2B5EF4-FFF2-40B4-BE49-F238E27FC236}">
                <a16:creationId xmlns:a16="http://schemas.microsoft.com/office/drawing/2014/main" id="{0662705A-EE4A-D144-8F2B-9CA5881A1AFD}"/>
              </a:ext>
            </a:extLst>
          </p:cNvPr>
          <p:cNvSpPr txBox="1">
            <a:spLocks noChangeArrowheads="1"/>
          </p:cNvSpPr>
          <p:nvPr/>
        </p:nvSpPr>
        <p:spPr bwMode="auto">
          <a:xfrm>
            <a:off x="6629919" y="1293925"/>
            <a:ext cx="535590" cy="3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Docker</a:t>
            </a:r>
          </a:p>
        </p:txBody>
      </p:sp>
      <p:sp>
        <p:nvSpPr>
          <p:cNvPr id="489" name="TextBox 158">
            <a:extLst>
              <a:ext uri="{FF2B5EF4-FFF2-40B4-BE49-F238E27FC236}">
                <a16:creationId xmlns:a16="http://schemas.microsoft.com/office/drawing/2014/main" id="{DE62C474-5142-1D48-9B8D-158CA2DF809F}"/>
              </a:ext>
            </a:extLst>
          </p:cNvPr>
          <p:cNvSpPr txBox="1">
            <a:spLocks noChangeArrowheads="1"/>
          </p:cNvSpPr>
          <p:nvPr/>
        </p:nvSpPr>
        <p:spPr bwMode="auto">
          <a:xfrm>
            <a:off x="5809202" y="3747900"/>
            <a:ext cx="444254"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AltaVault</a:t>
            </a:r>
          </a:p>
        </p:txBody>
      </p:sp>
      <p:sp>
        <p:nvSpPr>
          <p:cNvPr id="490" name="TextBox 163">
            <a:extLst>
              <a:ext uri="{FF2B5EF4-FFF2-40B4-BE49-F238E27FC236}">
                <a16:creationId xmlns:a16="http://schemas.microsoft.com/office/drawing/2014/main" id="{9788FABA-0B5C-1D4D-A0CC-7C1199817A23}"/>
              </a:ext>
            </a:extLst>
          </p:cNvPr>
          <p:cNvSpPr txBox="1">
            <a:spLocks noChangeArrowheads="1"/>
          </p:cNvSpPr>
          <p:nvPr/>
        </p:nvSpPr>
        <p:spPr bwMode="auto">
          <a:xfrm>
            <a:off x="7063244" y="1779615"/>
            <a:ext cx="540544"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Hybrid</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cloud</a:t>
            </a:r>
          </a:p>
        </p:txBody>
      </p:sp>
      <p:sp>
        <p:nvSpPr>
          <p:cNvPr id="491" name="TextBox 168">
            <a:extLst>
              <a:ext uri="{FF2B5EF4-FFF2-40B4-BE49-F238E27FC236}">
                <a16:creationId xmlns:a16="http://schemas.microsoft.com/office/drawing/2014/main" id="{4FBB98D3-F8FC-9B43-BCF9-219650C7369F}"/>
              </a:ext>
            </a:extLst>
          </p:cNvPr>
          <p:cNvSpPr txBox="1">
            <a:spLocks noChangeArrowheads="1"/>
          </p:cNvSpPr>
          <p:nvPr/>
        </p:nvSpPr>
        <p:spPr bwMode="auto">
          <a:xfrm>
            <a:off x="6257956" y="4368255"/>
            <a:ext cx="288925" cy="3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HEC</a:t>
            </a:r>
          </a:p>
        </p:txBody>
      </p:sp>
      <p:sp>
        <p:nvSpPr>
          <p:cNvPr id="492" name="TextBox 165">
            <a:extLst>
              <a:ext uri="{FF2B5EF4-FFF2-40B4-BE49-F238E27FC236}">
                <a16:creationId xmlns:a16="http://schemas.microsoft.com/office/drawing/2014/main" id="{B7AC1A2C-7429-A84A-B98A-4F8FC4C9FCF9}"/>
              </a:ext>
            </a:extLst>
          </p:cNvPr>
          <p:cNvSpPr txBox="1">
            <a:spLocks noChangeArrowheads="1"/>
          </p:cNvSpPr>
          <p:nvPr/>
        </p:nvSpPr>
        <p:spPr bwMode="auto">
          <a:xfrm>
            <a:off x="6535642" y="4320826"/>
            <a:ext cx="1076325"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MPC</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Healthcare</a:t>
            </a:r>
          </a:p>
        </p:txBody>
      </p:sp>
      <p:sp>
        <p:nvSpPr>
          <p:cNvPr id="493" name="TextBox 492">
            <a:extLst>
              <a:ext uri="{FF2B5EF4-FFF2-40B4-BE49-F238E27FC236}">
                <a16:creationId xmlns:a16="http://schemas.microsoft.com/office/drawing/2014/main" id="{425CFBA7-63D6-AE43-907C-3BA7F4567EA5}"/>
              </a:ext>
            </a:extLst>
          </p:cNvPr>
          <p:cNvSpPr txBox="1">
            <a:spLocks noChangeArrowheads="1"/>
          </p:cNvSpPr>
          <p:nvPr/>
        </p:nvSpPr>
        <p:spPr bwMode="auto">
          <a:xfrm>
            <a:off x="471588" y="2659821"/>
            <a:ext cx="142106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Infrastructure</a:t>
            </a:r>
          </a:p>
        </p:txBody>
      </p:sp>
      <p:sp>
        <p:nvSpPr>
          <p:cNvPr id="494" name="TextBox 62">
            <a:extLst>
              <a:ext uri="{FF2B5EF4-FFF2-40B4-BE49-F238E27FC236}">
                <a16:creationId xmlns:a16="http://schemas.microsoft.com/office/drawing/2014/main" id="{C77D0FA8-FE67-6F45-9479-26EF5B2DFFCF}"/>
              </a:ext>
            </a:extLst>
          </p:cNvPr>
          <p:cNvSpPr txBox="1">
            <a:spLocks noChangeArrowheads="1"/>
          </p:cNvSpPr>
          <p:nvPr/>
        </p:nvSpPr>
        <p:spPr bwMode="auto">
          <a:xfrm>
            <a:off x="268239" y="3201525"/>
            <a:ext cx="771574" cy="190500"/>
          </a:xfrm>
          <a:prstGeom prst="rect">
            <a:avLst/>
          </a:prstGeom>
          <a:no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 2011</a:t>
            </a:r>
          </a:p>
        </p:txBody>
      </p:sp>
      <p:sp>
        <p:nvSpPr>
          <p:cNvPr id="495" name="TextBox 64">
            <a:extLst>
              <a:ext uri="{FF2B5EF4-FFF2-40B4-BE49-F238E27FC236}">
                <a16:creationId xmlns:a16="http://schemas.microsoft.com/office/drawing/2014/main" id="{7EF115F5-525D-4A41-8CEF-62985FACD07B}"/>
              </a:ext>
            </a:extLst>
          </p:cNvPr>
          <p:cNvSpPr txBox="1">
            <a:spLocks noChangeArrowheads="1"/>
          </p:cNvSpPr>
          <p:nvPr/>
        </p:nvSpPr>
        <p:spPr bwMode="auto">
          <a:xfrm>
            <a:off x="1036108" y="3201525"/>
            <a:ext cx="898525" cy="212725"/>
          </a:xfrm>
          <a:prstGeom prst="rect">
            <a:avLst/>
          </a:prstGeom>
          <a:no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2</a:t>
            </a:r>
          </a:p>
        </p:txBody>
      </p:sp>
      <p:sp>
        <p:nvSpPr>
          <p:cNvPr id="496" name="TextBox 78">
            <a:extLst>
              <a:ext uri="{FF2B5EF4-FFF2-40B4-BE49-F238E27FC236}">
                <a16:creationId xmlns:a16="http://schemas.microsoft.com/office/drawing/2014/main" id="{8FEBC0D8-6E29-8B4F-847F-6D8767ACD05D}"/>
              </a:ext>
            </a:extLst>
          </p:cNvPr>
          <p:cNvSpPr txBox="1">
            <a:spLocks noChangeArrowheads="1"/>
          </p:cNvSpPr>
          <p:nvPr/>
        </p:nvSpPr>
        <p:spPr bwMode="auto">
          <a:xfrm>
            <a:off x="4571544" y="3201525"/>
            <a:ext cx="762000" cy="165100"/>
          </a:xfrm>
          <a:prstGeom prst="rect">
            <a:avLst/>
          </a:prstGeom>
          <a:no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5</a:t>
            </a:r>
          </a:p>
        </p:txBody>
      </p:sp>
      <p:grpSp>
        <p:nvGrpSpPr>
          <p:cNvPr id="497" name="Group 496">
            <a:extLst>
              <a:ext uri="{FF2B5EF4-FFF2-40B4-BE49-F238E27FC236}">
                <a16:creationId xmlns:a16="http://schemas.microsoft.com/office/drawing/2014/main" id="{A1B6A8A2-C804-7143-9BBA-92C02C4D89D0}"/>
              </a:ext>
            </a:extLst>
          </p:cNvPr>
          <p:cNvGrpSpPr/>
          <p:nvPr/>
        </p:nvGrpSpPr>
        <p:grpSpPr>
          <a:xfrm rot="10800000">
            <a:off x="501308" y="2256911"/>
            <a:ext cx="85891" cy="808052"/>
            <a:chOff x="338835" y="2536302"/>
            <a:chExt cx="85891" cy="808052"/>
          </a:xfrm>
          <a:solidFill>
            <a:srgbClr val="00C6A5"/>
          </a:solidFill>
        </p:grpSpPr>
        <p:sp>
          <p:nvSpPr>
            <p:cNvPr id="498" name="Line 28">
              <a:extLst>
                <a:ext uri="{FF2B5EF4-FFF2-40B4-BE49-F238E27FC236}">
                  <a16:creationId xmlns:a16="http://schemas.microsoft.com/office/drawing/2014/main" id="{19CB039B-EFC7-7F4E-B69E-5D523D333A3C}"/>
                </a:ext>
              </a:extLst>
            </p:cNvPr>
            <p:cNvSpPr>
              <a:spLocks noChangeShapeType="1"/>
            </p:cNvSpPr>
            <p:nvPr/>
          </p:nvSpPr>
          <p:spPr bwMode="auto">
            <a:xfrm flipV="1">
              <a:off x="381780" y="2580817"/>
              <a:ext cx="0" cy="763537"/>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233E85"/>
                </a:solidFill>
                <a:latin typeface="Arial" panose="020B0604020202020204" pitchFamily="34" charset="0"/>
              </a:endParaRPr>
            </a:p>
          </p:txBody>
        </p:sp>
        <p:sp>
          <p:nvSpPr>
            <p:cNvPr id="499" name="Oval 498">
              <a:extLst>
                <a:ext uri="{FF2B5EF4-FFF2-40B4-BE49-F238E27FC236}">
                  <a16:creationId xmlns:a16="http://schemas.microsoft.com/office/drawing/2014/main" id="{2E6F421B-F857-7C4C-897F-661AAF866359}"/>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233E85"/>
                </a:solidFill>
                <a:latin typeface="Arial" panose="020B0604020202020204" pitchFamily="34" charset="0"/>
              </a:endParaRPr>
            </a:p>
          </p:txBody>
        </p:sp>
      </p:grpSp>
      <p:grpSp>
        <p:nvGrpSpPr>
          <p:cNvPr id="500" name="Group 499">
            <a:extLst>
              <a:ext uri="{FF2B5EF4-FFF2-40B4-BE49-F238E27FC236}">
                <a16:creationId xmlns:a16="http://schemas.microsoft.com/office/drawing/2014/main" id="{1EC8605A-20CC-A34F-B277-4856F6CDB679}"/>
              </a:ext>
            </a:extLst>
          </p:cNvPr>
          <p:cNvGrpSpPr/>
          <p:nvPr/>
        </p:nvGrpSpPr>
        <p:grpSpPr>
          <a:xfrm rot="10800000">
            <a:off x="1432625" y="2260390"/>
            <a:ext cx="85891" cy="804573"/>
            <a:chOff x="338835" y="2536302"/>
            <a:chExt cx="85891" cy="804573"/>
          </a:xfrm>
          <a:solidFill>
            <a:srgbClr val="00C6A5"/>
          </a:solidFill>
        </p:grpSpPr>
        <p:sp>
          <p:nvSpPr>
            <p:cNvPr id="501" name="Line 28">
              <a:extLst>
                <a:ext uri="{FF2B5EF4-FFF2-40B4-BE49-F238E27FC236}">
                  <a16:creationId xmlns:a16="http://schemas.microsoft.com/office/drawing/2014/main" id="{DE0164A7-BFE0-C245-AE91-A2FF7ACCF029}"/>
                </a:ext>
              </a:extLst>
            </p:cNvPr>
            <p:cNvSpPr>
              <a:spLocks noChangeShapeType="1"/>
            </p:cNvSpPr>
            <p:nvPr/>
          </p:nvSpPr>
          <p:spPr bwMode="auto">
            <a:xfrm flipV="1">
              <a:off x="381780" y="2580817"/>
              <a:ext cx="0" cy="760058"/>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02" name="Oval 501">
              <a:extLst>
                <a:ext uri="{FF2B5EF4-FFF2-40B4-BE49-F238E27FC236}">
                  <a16:creationId xmlns:a16="http://schemas.microsoft.com/office/drawing/2014/main" id="{DD73EBF7-5BE9-2149-B1AB-C0771872F7AC}"/>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03" name="Group 502">
            <a:extLst>
              <a:ext uri="{FF2B5EF4-FFF2-40B4-BE49-F238E27FC236}">
                <a16:creationId xmlns:a16="http://schemas.microsoft.com/office/drawing/2014/main" id="{8AD5CEF1-9C6A-2249-B709-BED26F02598C}"/>
              </a:ext>
            </a:extLst>
          </p:cNvPr>
          <p:cNvGrpSpPr/>
          <p:nvPr/>
        </p:nvGrpSpPr>
        <p:grpSpPr>
          <a:xfrm rot="10800000">
            <a:off x="2128039" y="2249638"/>
            <a:ext cx="85891" cy="815324"/>
            <a:chOff x="338835" y="2536302"/>
            <a:chExt cx="85891" cy="815324"/>
          </a:xfrm>
          <a:solidFill>
            <a:srgbClr val="00C6A5"/>
          </a:solidFill>
        </p:grpSpPr>
        <p:sp>
          <p:nvSpPr>
            <p:cNvPr id="504" name="Line 28">
              <a:extLst>
                <a:ext uri="{FF2B5EF4-FFF2-40B4-BE49-F238E27FC236}">
                  <a16:creationId xmlns:a16="http://schemas.microsoft.com/office/drawing/2014/main" id="{F61037B6-1BB3-7F4F-96E6-C5717E0CB18E}"/>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05" name="Oval 504">
              <a:extLst>
                <a:ext uri="{FF2B5EF4-FFF2-40B4-BE49-F238E27FC236}">
                  <a16:creationId xmlns:a16="http://schemas.microsoft.com/office/drawing/2014/main" id="{D390D8A8-4B95-A34D-9F2C-BDF8C2B88738}"/>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06" name="TextBox 149">
            <a:extLst>
              <a:ext uri="{FF2B5EF4-FFF2-40B4-BE49-F238E27FC236}">
                <a16:creationId xmlns:a16="http://schemas.microsoft.com/office/drawing/2014/main" id="{03A4BBA5-C766-E244-822B-50D9504BA333}"/>
              </a:ext>
            </a:extLst>
          </p:cNvPr>
          <p:cNvSpPr txBox="1">
            <a:spLocks noChangeArrowheads="1"/>
          </p:cNvSpPr>
          <p:nvPr/>
        </p:nvSpPr>
        <p:spPr bwMode="auto">
          <a:xfrm>
            <a:off x="2024045" y="2659821"/>
            <a:ext cx="1225787" cy="292388"/>
          </a:xfrm>
          <a:prstGeom prst="rect">
            <a:avLst/>
          </a:prstGeom>
          <a:solidFill>
            <a:srgbClr val="2D98D3"/>
          </a:solidFill>
          <a:ln>
            <a:noFill/>
          </a:ln>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Application</a:t>
            </a:r>
          </a:p>
        </p:txBody>
      </p:sp>
      <p:grpSp>
        <p:nvGrpSpPr>
          <p:cNvPr id="507" name="Group 506">
            <a:extLst>
              <a:ext uri="{FF2B5EF4-FFF2-40B4-BE49-F238E27FC236}">
                <a16:creationId xmlns:a16="http://schemas.microsoft.com/office/drawing/2014/main" id="{3F70DD00-5DC9-AB45-9188-7606C2DACF14}"/>
              </a:ext>
            </a:extLst>
          </p:cNvPr>
          <p:cNvGrpSpPr/>
          <p:nvPr/>
        </p:nvGrpSpPr>
        <p:grpSpPr>
          <a:xfrm rot="10800000">
            <a:off x="2485725" y="1582031"/>
            <a:ext cx="85891" cy="1476302"/>
            <a:chOff x="338835" y="2536302"/>
            <a:chExt cx="85891" cy="1476302"/>
          </a:xfrm>
          <a:solidFill>
            <a:srgbClr val="00C6A5"/>
          </a:solidFill>
        </p:grpSpPr>
        <p:sp>
          <p:nvSpPr>
            <p:cNvPr id="508" name="Line 28">
              <a:extLst>
                <a:ext uri="{FF2B5EF4-FFF2-40B4-BE49-F238E27FC236}">
                  <a16:creationId xmlns:a16="http://schemas.microsoft.com/office/drawing/2014/main" id="{0DE3C2C2-1BBA-864F-8F8F-F867198DA55C}"/>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09" name="Oval 508">
              <a:extLst>
                <a:ext uri="{FF2B5EF4-FFF2-40B4-BE49-F238E27FC236}">
                  <a16:creationId xmlns:a16="http://schemas.microsoft.com/office/drawing/2014/main" id="{9489008D-E7AD-E840-8E51-3A9C39195050}"/>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10" name="Group 509">
            <a:extLst>
              <a:ext uri="{FF2B5EF4-FFF2-40B4-BE49-F238E27FC236}">
                <a16:creationId xmlns:a16="http://schemas.microsoft.com/office/drawing/2014/main" id="{6D85994A-7245-354A-9CC2-B0BFF320B453}"/>
              </a:ext>
            </a:extLst>
          </p:cNvPr>
          <p:cNvGrpSpPr/>
          <p:nvPr/>
        </p:nvGrpSpPr>
        <p:grpSpPr>
          <a:xfrm>
            <a:off x="2351705" y="2982417"/>
            <a:ext cx="85891" cy="815324"/>
            <a:chOff x="338835" y="2536302"/>
            <a:chExt cx="85891" cy="815324"/>
          </a:xfrm>
          <a:solidFill>
            <a:srgbClr val="00C6A5"/>
          </a:solidFill>
        </p:grpSpPr>
        <p:sp>
          <p:nvSpPr>
            <p:cNvPr id="511" name="Line 28">
              <a:extLst>
                <a:ext uri="{FF2B5EF4-FFF2-40B4-BE49-F238E27FC236}">
                  <a16:creationId xmlns:a16="http://schemas.microsoft.com/office/drawing/2014/main" id="{292F1F5B-2056-DF4E-ACA0-878DABED5D56}"/>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12" name="Oval 511">
              <a:extLst>
                <a:ext uri="{FF2B5EF4-FFF2-40B4-BE49-F238E27FC236}">
                  <a16:creationId xmlns:a16="http://schemas.microsoft.com/office/drawing/2014/main" id="{799D5841-C8C0-2044-A535-C14DCBC3191C}"/>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13" name="Group 512">
            <a:extLst>
              <a:ext uri="{FF2B5EF4-FFF2-40B4-BE49-F238E27FC236}">
                <a16:creationId xmlns:a16="http://schemas.microsoft.com/office/drawing/2014/main" id="{F8464172-871C-3443-BBA0-0F351E1ABEB8}"/>
              </a:ext>
            </a:extLst>
          </p:cNvPr>
          <p:cNvGrpSpPr/>
          <p:nvPr/>
        </p:nvGrpSpPr>
        <p:grpSpPr>
          <a:xfrm>
            <a:off x="1233616" y="2982417"/>
            <a:ext cx="85891" cy="815324"/>
            <a:chOff x="338835" y="2536302"/>
            <a:chExt cx="85891" cy="815324"/>
          </a:xfrm>
          <a:solidFill>
            <a:srgbClr val="00C6A5"/>
          </a:solidFill>
        </p:grpSpPr>
        <p:sp>
          <p:nvSpPr>
            <p:cNvPr id="514" name="Line 28">
              <a:extLst>
                <a:ext uri="{FF2B5EF4-FFF2-40B4-BE49-F238E27FC236}">
                  <a16:creationId xmlns:a16="http://schemas.microsoft.com/office/drawing/2014/main" id="{9AB0A918-3D16-734A-B50C-4865B3EB2C84}"/>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15" name="Oval 514">
              <a:extLst>
                <a:ext uri="{FF2B5EF4-FFF2-40B4-BE49-F238E27FC236}">
                  <a16:creationId xmlns:a16="http://schemas.microsoft.com/office/drawing/2014/main" id="{9958EB08-55C1-4849-9B9F-CC1722709F84}"/>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16" name="Group 515">
            <a:extLst>
              <a:ext uri="{FF2B5EF4-FFF2-40B4-BE49-F238E27FC236}">
                <a16:creationId xmlns:a16="http://schemas.microsoft.com/office/drawing/2014/main" id="{56392751-53CC-414E-A975-4AD620A11942}"/>
              </a:ext>
            </a:extLst>
          </p:cNvPr>
          <p:cNvGrpSpPr/>
          <p:nvPr/>
        </p:nvGrpSpPr>
        <p:grpSpPr>
          <a:xfrm>
            <a:off x="337583" y="2989712"/>
            <a:ext cx="85891" cy="815324"/>
            <a:chOff x="338835" y="2536302"/>
            <a:chExt cx="85891" cy="815324"/>
          </a:xfrm>
          <a:solidFill>
            <a:srgbClr val="00C6A5"/>
          </a:solidFill>
        </p:grpSpPr>
        <p:sp>
          <p:nvSpPr>
            <p:cNvPr id="517" name="Line 28">
              <a:extLst>
                <a:ext uri="{FF2B5EF4-FFF2-40B4-BE49-F238E27FC236}">
                  <a16:creationId xmlns:a16="http://schemas.microsoft.com/office/drawing/2014/main" id="{69E8366F-CB2D-2C4C-A88F-C4E749C7DEB6}"/>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233E85"/>
                </a:solidFill>
                <a:latin typeface="Arial" panose="020B0604020202020204" pitchFamily="34" charset="0"/>
              </a:endParaRPr>
            </a:p>
          </p:txBody>
        </p:sp>
        <p:sp>
          <p:nvSpPr>
            <p:cNvPr id="518" name="Oval 517">
              <a:extLst>
                <a:ext uri="{FF2B5EF4-FFF2-40B4-BE49-F238E27FC236}">
                  <a16:creationId xmlns:a16="http://schemas.microsoft.com/office/drawing/2014/main" id="{3CFB1F39-BDEB-F64E-8D68-1E2125A5A687}"/>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233E85"/>
                </a:solidFill>
                <a:latin typeface="Arial" panose="020B0604020202020204" pitchFamily="34" charset="0"/>
              </a:endParaRPr>
            </a:p>
          </p:txBody>
        </p:sp>
      </p:grpSp>
      <p:grpSp>
        <p:nvGrpSpPr>
          <p:cNvPr id="519" name="Group 518">
            <a:extLst>
              <a:ext uri="{FF2B5EF4-FFF2-40B4-BE49-F238E27FC236}">
                <a16:creationId xmlns:a16="http://schemas.microsoft.com/office/drawing/2014/main" id="{BE455303-7949-A54D-82D7-58965B172055}"/>
              </a:ext>
            </a:extLst>
          </p:cNvPr>
          <p:cNvGrpSpPr/>
          <p:nvPr/>
        </p:nvGrpSpPr>
        <p:grpSpPr>
          <a:xfrm rot="10800000">
            <a:off x="2845340" y="2243009"/>
            <a:ext cx="85891" cy="815324"/>
            <a:chOff x="338835" y="2536302"/>
            <a:chExt cx="85891" cy="815324"/>
          </a:xfrm>
          <a:solidFill>
            <a:srgbClr val="00C6A5"/>
          </a:solidFill>
        </p:grpSpPr>
        <p:sp>
          <p:nvSpPr>
            <p:cNvPr id="520" name="Line 28">
              <a:extLst>
                <a:ext uri="{FF2B5EF4-FFF2-40B4-BE49-F238E27FC236}">
                  <a16:creationId xmlns:a16="http://schemas.microsoft.com/office/drawing/2014/main" id="{A52CDFAE-57DF-E340-AA84-657EFC1D5F68}"/>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21" name="Oval 520">
              <a:extLst>
                <a:ext uri="{FF2B5EF4-FFF2-40B4-BE49-F238E27FC236}">
                  <a16:creationId xmlns:a16="http://schemas.microsoft.com/office/drawing/2014/main" id="{78313602-6DD9-494A-B455-99B6B0349278}"/>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22" name="Group 521">
            <a:extLst>
              <a:ext uri="{FF2B5EF4-FFF2-40B4-BE49-F238E27FC236}">
                <a16:creationId xmlns:a16="http://schemas.microsoft.com/office/drawing/2014/main" id="{828A37F1-EB5D-B44E-9442-3D358137C6AF}"/>
              </a:ext>
            </a:extLst>
          </p:cNvPr>
          <p:cNvGrpSpPr/>
          <p:nvPr/>
        </p:nvGrpSpPr>
        <p:grpSpPr>
          <a:xfrm rot="10800000">
            <a:off x="3197574" y="1574006"/>
            <a:ext cx="85891" cy="1476304"/>
            <a:chOff x="338835" y="2536302"/>
            <a:chExt cx="85891" cy="1476304"/>
          </a:xfrm>
          <a:solidFill>
            <a:srgbClr val="00C6A5"/>
          </a:solidFill>
        </p:grpSpPr>
        <p:sp>
          <p:nvSpPr>
            <p:cNvPr id="523" name="Line 28">
              <a:extLst>
                <a:ext uri="{FF2B5EF4-FFF2-40B4-BE49-F238E27FC236}">
                  <a16:creationId xmlns:a16="http://schemas.microsoft.com/office/drawing/2014/main" id="{EF501187-2FA0-294B-9A7D-C91ABF9623F3}"/>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24" name="Oval 523">
              <a:extLst>
                <a:ext uri="{FF2B5EF4-FFF2-40B4-BE49-F238E27FC236}">
                  <a16:creationId xmlns:a16="http://schemas.microsoft.com/office/drawing/2014/main" id="{4E93A5C1-47A7-F44C-8607-C2F2C74047BE}"/>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25" name="Group 524">
            <a:extLst>
              <a:ext uri="{FF2B5EF4-FFF2-40B4-BE49-F238E27FC236}">
                <a16:creationId xmlns:a16="http://schemas.microsoft.com/office/drawing/2014/main" id="{55EEA037-562B-B04D-A171-9B33DE75B013}"/>
              </a:ext>
            </a:extLst>
          </p:cNvPr>
          <p:cNvGrpSpPr/>
          <p:nvPr/>
        </p:nvGrpSpPr>
        <p:grpSpPr>
          <a:xfrm>
            <a:off x="3010402" y="2974394"/>
            <a:ext cx="85891" cy="815324"/>
            <a:chOff x="338835" y="2536302"/>
            <a:chExt cx="85891" cy="815324"/>
          </a:xfrm>
          <a:solidFill>
            <a:srgbClr val="00C6A5"/>
          </a:solidFill>
        </p:grpSpPr>
        <p:sp>
          <p:nvSpPr>
            <p:cNvPr id="526" name="Line 28">
              <a:extLst>
                <a:ext uri="{FF2B5EF4-FFF2-40B4-BE49-F238E27FC236}">
                  <a16:creationId xmlns:a16="http://schemas.microsoft.com/office/drawing/2014/main" id="{7A612D75-793D-AE44-B3DC-E6E2F005DC69}"/>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27" name="Oval 526">
              <a:extLst>
                <a:ext uri="{FF2B5EF4-FFF2-40B4-BE49-F238E27FC236}">
                  <a16:creationId xmlns:a16="http://schemas.microsoft.com/office/drawing/2014/main" id="{B1506F62-0743-574F-B17F-BFF21B10A251}"/>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28" name="TextBox 61">
            <a:extLst>
              <a:ext uri="{FF2B5EF4-FFF2-40B4-BE49-F238E27FC236}">
                <a16:creationId xmlns:a16="http://schemas.microsoft.com/office/drawing/2014/main" id="{38712057-A9F7-A441-82B1-B49E49F95CE8}"/>
              </a:ext>
            </a:extLst>
          </p:cNvPr>
          <p:cNvSpPr txBox="1">
            <a:spLocks noChangeArrowheads="1"/>
          </p:cNvSpPr>
          <p:nvPr/>
        </p:nvSpPr>
        <p:spPr bwMode="auto">
          <a:xfrm>
            <a:off x="1952736" y="3201525"/>
            <a:ext cx="896938" cy="188912"/>
          </a:xfrm>
          <a:prstGeom prst="rect">
            <a:avLst/>
          </a:prstGeom>
          <a:solidFill>
            <a:srgbClr val="2D98D3"/>
          </a:solid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3</a:t>
            </a:r>
          </a:p>
        </p:txBody>
      </p:sp>
      <p:grpSp>
        <p:nvGrpSpPr>
          <p:cNvPr id="529" name="Group 528">
            <a:extLst>
              <a:ext uri="{FF2B5EF4-FFF2-40B4-BE49-F238E27FC236}">
                <a16:creationId xmlns:a16="http://schemas.microsoft.com/office/drawing/2014/main" id="{6D3DC4A2-0248-E047-A076-0FBA757D47D2}"/>
              </a:ext>
            </a:extLst>
          </p:cNvPr>
          <p:cNvGrpSpPr/>
          <p:nvPr/>
        </p:nvGrpSpPr>
        <p:grpSpPr>
          <a:xfrm>
            <a:off x="2640787" y="2974394"/>
            <a:ext cx="85891" cy="1476302"/>
            <a:chOff x="338835" y="2536302"/>
            <a:chExt cx="85891" cy="1476302"/>
          </a:xfrm>
          <a:solidFill>
            <a:srgbClr val="00C6A5"/>
          </a:solidFill>
        </p:grpSpPr>
        <p:sp>
          <p:nvSpPr>
            <p:cNvPr id="530" name="Line 28">
              <a:extLst>
                <a:ext uri="{FF2B5EF4-FFF2-40B4-BE49-F238E27FC236}">
                  <a16:creationId xmlns:a16="http://schemas.microsoft.com/office/drawing/2014/main" id="{836973E6-3312-914B-A9AC-19BDCF6480C1}"/>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233E85"/>
                </a:solidFill>
                <a:latin typeface="Arial" panose="020B0604020202020204" pitchFamily="34" charset="0"/>
              </a:endParaRPr>
            </a:p>
          </p:txBody>
        </p:sp>
        <p:sp>
          <p:nvSpPr>
            <p:cNvPr id="531" name="Oval 530">
              <a:extLst>
                <a:ext uri="{FF2B5EF4-FFF2-40B4-BE49-F238E27FC236}">
                  <a16:creationId xmlns:a16="http://schemas.microsoft.com/office/drawing/2014/main" id="{C430D61A-65D4-FC41-B65E-AFD2621A560B}"/>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233E85"/>
                </a:solidFill>
                <a:latin typeface="Arial" panose="020B0604020202020204" pitchFamily="34" charset="0"/>
              </a:endParaRPr>
            </a:p>
          </p:txBody>
        </p:sp>
      </p:grpSp>
      <p:grpSp>
        <p:nvGrpSpPr>
          <p:cNvPr id="532" name="Group 531">
            <a:extLst>
              <a:ext uri="{FF2B5EF4-FFF2-40B4-BE49-F238E27FC236}">
                <a16:creationId xmlns:a16="http://schemas.microsoft.com/office/drawing/2014/main" id="{5E37C803-4E2F-C343-9B33-92CEB5A90430}"/>
              </a:ext>
            </a:extLst>
          </p:cNvPr>
          <p:cNvGrpSpPr/>
          <p:nvPr/>
        </p:nvGrpSpPr>
        <p:grpSpPr>
          <a:xfrm>
            <a:off x="3422327" y="2966544"/>
            <a:ext cx="85891" cy="1476302"/>
            <a:chOff x="338835" y="2536302"/>
            <a:chExt cx="85891" cy="1476302"/>
          </a:xfrm>
          <a:solidFill>
            <a:srgbClr val="00C6A5"/>
          </a:solidFill>
        </p:grpSpPr>
        <p:sp>
          <p:nvSpPr>
            <p:cNvPr id="533" name="Line 28">
              <a:extLst>
                <a:ext uri="{FF2B5EF4-FFF2-40B4-BE49-F238E27FC236}">
                  <a16:creationId xmlns:a16="http://schemas.microsoft.com/office/drawing/2014/main" id="{041F2FD9-73BC-F247-B4A0-A33DF0A9FC35}"/>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34" name="Oval 533">
              <a:extLst>
                <a:ext uri="{FF2B5EF4-FFF2-40B4-BE49-F238E27FC236}">
                  <a16:creationId xmlns:a16="http://schemas.microsoft.com/office/drawing/2014/main" id="{88DD6E63-2E5B-CF4B-825A-06369DB3EDC7}"/>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35" name="Group 534">
            <a:extLst>
              <a:ext uri="{FF2B5EF4-FFF2-40B4-BE49-F238E27FC236}">
                <a16:creationId xmlns:a16="http://schemas.microsoft.com/office/drawing/2014/main" id="{F6B6A62D-14C4-6D49-9BE6-A848307FEEAF}"/>
              </a:ext>
            </a:extLst>
          </p:cNvPr>
          <p:cNvGrpSpPr/>
          <p:nvPr/>
        </p:nvGrpSpPr>
        <p:grpSpPr>
          <a:xfrm rot="10800000">
            <a:off x="3603180" y="2234986"/>
            <a:ext cx="85891" cy="815324"/>
            <a:chOff x="338835" y="2536302"/>
            <a:chExt cx="85891" cy="815324"/>
          </a:xfrm>
          <a:solidFill>
            <a:srgbClr val="00C6A5"/>
          </a:solidFill>
        </p:grpSpPr>
        <p:sp>
          <p:nvSpPr>
            <p:cNvPr id="536" name="Line 28">
              <a:extLst>
                <a:ext uri="{FF2B5EF4-FFF2-40B4-BE49-F238E27FC236}">
                  <a16:creationId xmlns:a16="http://schemas.microsoft.com/office/drawing/2014/main" id="{E50C944C-E8D4-2A4E-9EBA-56FE3F973905}"/>
                </a:ext>
              </a:extLst>
            </p:cNvPr>
            <p:cNvSpPr>
              <a:spLocks noChangeShapeType="1"/>
            </p:cNvSpPr>
            <p:nvPr/>
          </p:nvSpPr>
          <p:spPr bwMode="auto">
            <a:xfrm flipH="1" flipV="1">
              <a:off x="370002" y="2612337"/>
              <a:ext cx="11779" cy="73928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37" name="Oval 536">
              <a:extLst>
                <a:ext uri="{FF2B5EF4-FFF2-40B4-BE49-F238E27FC236}">
                  <a16:creationId xmlns:a16="http://schemas.microsoft.com/office/drawing/2014/main" id="{027E6B8B-662F-314E-8BA6-AE3A10F007F5}"/>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38" name="Group 537">
            <a:extLst>
              <a:ext uri="{FF2B5EF4-FFF2-40B4-BE49-F238E27FC236}">
                <a16:creationId xmlns:a16="http://schemas.microsoft.com/office/drawing/2014/main" id="{6F92BBA9-A60C-5B4B-B672-3EF4427D6BF9}"/>
              </a:ext>
            </a:extLst>
          </p:cNvPr>
          <p:cNvGrpSpPr/>
          <p:nvPr/>
        </p:nvGrpSpPr>
        <p:grpSpPr>
          <a:xfrm rot="10800000">
            <a:off x="4161361" y="1574006"/>
            <a:ext cx="85891" cy="1476304"/>
            <a:chOff x="338835" y="2536302"/>
            <a:chExt cx="85891" cy="1476304"/>
          </a:xfrm>
          <a:solidFill>
            <a:srgbClr val="00C6A5"/>
          </a:solidFill>
        </p:grpSpPr>
        <p:sp>
          <p:nvSpPr>
            <p:cNvPr id="539" name="Line 28">
              <a:extLst>
                <a:ext uri="{FF2B5EF4-FFF2-40B4-BE49-F238E27FC236}">
                  <a16:creationId xmlns:a16="http://schemas.microsoft.com/office/drawing/2014/main" id="{92F8AB9D-558D-6A4E-BF50-65F0B7AEF75D}"/>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40" name="Oval 539">
              <a:extLst>
                <a:ext uri="{FF2B5EF4-FFF2-40B4-BE49-F238E27FC236}">
                  <a16:creationId xmlns:a16="http://schemas.microsoft.com/office/drawing/2014/main" id="{7E1057F0-0311-9D4B-8891-ABCA60D02C6F}"/>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41" name="TextBox 153">
            <a:extLst>
              <a:ext uri="{FF2B5EF4-FFF2-40B4-BE49-F238E27FC236}">
                <a16:creationId xmlns:a16="http://schemas.microsoft.com/office/drawing/2014/main" id="{1B833948-80CD-424E-BC9A-4B299A54735E}"/>
              </a:ext>
            </a:extLst>
          </p:cNvPr>
          <p:cNvSpPr txBox="1">
            <a:spLocks noChangeArrowheads="1"/>
          </p:cNvSpPr>
          <p:nvPr/>
        </p:nvSpPr>
        <p:spPr bwMode="auto">
          <a:xfrm>
            <a:off x="4062447" y="2628896"/>
            <a:ext cx="1971904" cy="292388"/>
          </a:xfrm>
          <a:prstGeom prst="rect">
            <a:avLst/>
          </a:prstGeom>
          <a:solidFill>
            <a:srgbClr val="2D98D3"/>
          </a:solidFill>
          <a:ln>
            <a:noFill/>
          </a:ln>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Enterprise / Verticals</a:t>
            </a:r>
          </a:p>
        </p:txBody>
      </p:sp>
      <p:grpSp>
        <p:nvGrpSpPr>
          <p:cNvPr id="542" name="Group 541">
            <a:extLst>
              <a:ext uri="{FF2B5EF4-FFF2-40B4-BE49-F238E27FC236}">
                <a16:creationId xmlns:a16="http://schemas.microsoft.com/office/drawing/2014/main" id="{6DDD7A96-4EE1-A94A-9DBE-26A700EC8B69}"/>
              </a:ext>
            </a:extLst>
          </p:cNvPr>
          <p:cNvGrpSpPr/>
          <p:nvPr/>
        </p:nvGrpSpPr>
        <p:grpSpPr>
          <a:xfrm>
            <a:off x="3809426" y="2974394"/>
            <a:ext cx="85891" cy="815324"/>
            <a:chOff x="338835" y="2536302"/>
            <a:chExt cx="85891" cy="815324"/>
          </a:xfrm>
          <a:solidFill>
            <a:srgbClr val="00C6A5"/>
          </a:solidFill>
        </p:grpSpPr>
        <p:sp>
          <p:nvSpPr>
            <p:cNvPr id="543" name="Line 28">
              <a:extLst>
                <a:ext uri="{FF2B5EF4-FFF2-40B4-BE49-F238E27FC236}">
                  <a16:creationId xmlns:a16="http://schemas.microsoft.com/office/drawing/2014/main" id="{001EBC36-677A-D84F-AD1B-5551289CA4CC}"/>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44" name="Oval 543">
              <a:extLst>
                <a:ext uri="{FF2B5EF4-FFF2-40B4-BE49-F238E27FC236}">
                  <a16:creationId xmlns:a16="http://schemas.microsoft.com/office/drawing/2014/main" id="{D366BE34-1B6F-E743-B9AC-2062690FDCD0}"/>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45" name="TextBox 90">
            <a:extLst>
              <a:ext uri="{FF2B5EF4-FFF2-40B4-BE49-F238E27FC236}">
                <a16:creationId xmlns:a16="http://schemas.microsoft.com/office/drawing/2014/main" id="{2E016E69-9CCC-254B-BDCB-E2AB62244289}"/>
              </a:ext>
            </a:extLst>
          </p:cNvPr>
          <p:cNvSpPr txBox="1">
            <a:spLocks noChangeArrowheads="1"/>
          </p:cNvSpPr>
          <p:nvPr/>
        </p:nvSpPr>
        <p:spPr bwMode="auto">
          <a:xfrm>
            <a:off x="3478846" y="3201525"/>
            <a:ext cx="768350" cy="160337"/>
          </a:xfrm>
          <a:prstGeom prst="rect">
            <a:avLst/>
          </a:prstGeom>
          <a:solidFill>
            <a:srgbClr val="2D98D3"/>
          </a:solid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4</a:t>
            </a:r>
          </a:p>
        </p:txBody>
      </p:sp>
      <p:grpSp>
        <p:nvGrpSpPr>
          <p:cNvPr id="546" name="Group 545">
            <a:extLst>
              <a:ext uri="{FF2B5EF4-FFF2-40B4-BE49-F238E27FC236}">
                <a16:creationId xmlns:a16="http://schemas.microsoft.com/office/drawing/2014/main" id="{626EA29D-6462-B04F-9BDF-F1E2255B12B7}"/>
              </a:ext>
            </a:extLst>
          </p:cNvPr>
          <p:cNvGrpSpPr/>
          <p:nvPr/>
        </p:nvGrpSpPr>
        <p:grpSpPr>
          <a:xfrm>
            <a:off x="4444917" y="2961168"/>
            <a:ext cx="85891" cy="1476302"/>
            <a:chOff x="338835" y="2536302"/>
            <a:chExt cx="85891" cy="1476302"/>
          </a:xfrm>
          <a:solidFill>
            <a:srgbClr val="00C6A5"/>
          </a:solidFill>
        </p:grpSpPr>
        <p:sp>
          <p:nvSpPr>
            <p:cNvPr id="547" name="Line 28">
              <a:extLst>
                <a:ext uri="{FF2B5EF4-FFF2-40B4-BE49-F238E27FC236}">
                  <a16:creationId xmlns:a16="http://schemas.microsoft.com/office/drawing/2014/main" id="{6DAB90BA-365C-EF44-89E9-86AAF9686E46}"/>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48" name="Oval 547">
              <a:extLst>
                <a:ext uri="{FF2B5EF4-FFF2-40B4-BE49-F238E27FC236}">
                  <a16:creationId xmlns:a16="http://schemas.microsoft.com/office/drawing/2014/main" id="{6AB7DB88-6193-234F-AF5C-867D8FCA0C63}"/>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49" name="Group 548">
            <a:extLst>
              <a:ext uri="{FF2B5EF4-FFF2-40B4-BE49-F238E27FC236}">
                <a16:creationId xmlns:a16="http://schemas.microsoft.com/office/drawing/2014/main" id="{18AE1E51-03B4-324F-9F57-C2094FE49F2B}"/>
              </a:ext>
            </a:extLst>
          </p:cNvPr>
          <p:cNvGrpSpPr/>
          <p:nvPr/>
        </p:nvGrpSpPr>
        <p:grpSpPr>
          <a:xfrm rot="10800000">
            <a:off x="4770699" y="2242717"/>
            <a:ext cx="85891" cy="815324"/>
            <a:chOff x="338835" y="2536302"/>
            <a:chExt cx="85891" cy="815324"/>
          </a:xfrm>
          <a:solidFill>
            <a:srgbClr val="00C6A5"/>
          </a:solidFill>
        </p:grpSpPr>
        <p:sp>
          <p:nvSpPr>
            <p:cNvPr id="550" name="Line 28">
              <a:extLst>
                <a:ext uri="{FF2B5EF4-FFF2-40B4-BE49-F238E27FC236}">
                  <a16:creationId xmlns:a16="http://schemas.microsoft.com/office/drawing/2014/main" id="{3CEFA283-9FA9-784A-8703-114935123D17}"/>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51" name="Oval 550">
              <a:extLst>
                <a:ext uri="{FF2B5EF4-FFF2-40B4-BE49-F238E27FC236}">
                  <a16:creationId xmlns:a16="http://schemas.microsoft.com/office/drawing/2014/main" id="{3B55100F-0F96-244C-A48C-D44726DF3352}"/>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52" name="Group 551">
            <a:extLst>
              <a:ext uri="{FF2B5EF4-FFF2-40B4-BE49-F238E27FC236}">
                <a16:creationId xmlns:a16="http://schemas.microsoft.com/office/drawing/2014/main" id="{00F86A4F-BBDF-7C4A-AA89-5AC0E7DBE2BE}"/>
              </a:ext>
            </a:extLst>
          </p:cNvPr>
          <p:cNvGrpSpPr/>
          <p:nvPr/>
        </p:nvGrpSpPr>
        <p:grpSpPr>
          <a:xfrm>
            <a:off x="5139693" y="2961168"/>
            <a:ext cx="85891" cy="815324"/>
            <a:chOff x="338835" y="2536302"/>
            <a:chExt cx="85891" cy="815324"/>
          </a:xfrm>
          <a:solidFill>
            <a:srgbClr val="00C6A5"/>
          </a:solidFill>
        </p:grpSpPr>
        <p:sp>
          <p:nvSpPr>
            <p:cNvPr id="553" name="Line 28">
              <a:extLst>
                <a:ext uri="{FF2B5EF4-FFF2-40B4-BE49-F238E27FC236}">
                  <a16:creationId xmlns:a16="http://schemas.microsoft.com/office/drawing/2014/main" id="{CA2002E3-8F3C-6949-85D7-504FF1D86EF8}"/>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54" name="Oval 553">
              <a:extLst>
                <a:ext uri="{FF2B5EF4-FFF2-40B4-BE49-F238E27FC236}">
                  <a16:creationId xmlns:a16="http://schemas.microsoft.com/office/drawing/2014/main" id="{1B4F6929-68E8-694E-8628-56D3C20DAC31}"/>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55" name="Group 554">
            <a:extLst>
              <a:ext uri="{FF2B5EF4-FFF2-40B4-BE49-F238E27FC236}">
                <a16:creationId xmlns:a16="http://schemas.microsoft.com/office/drawing/2014/main" id="{4D45C0F5-4190-EA44-A78E-9DA46F13FF8E}"/>
              </a:ext>
            </a:extLst>
          </p:cNvPr>
          <p:cNvGrpSpPr/>
          <p:nvPr/>
        </p:nvGrpSpPr>
        <p:grpSpPr>
          <a:xfrm rot="10800000">
            <a:off x="5315591" y="1560233"/>
            <a:ext cx="85891" cy="1476304"/>
            <a:chOff x="338835" y="2536302"/>
            <a:chExt cx="85891" cy="1476304"/>
          </a:xfrm>
          <a:solidFill>
            <a:srgbClr val="00C6A5"/>
          </a:solidFill>
        </p:grpSpPr>
        <p:sp>
          <p:nvSpPr>
            <p:cNvPr id="556" name="Line 28">
              <a:extLst>
                <a:ext uri="{FF2B5EF4-FFF2-40B4-BE49-F238E27FC236}">
                  <a16:creationId xmlns:a16="http://schemas.microsoft.com/office/drawing/2014/main" id="{7BAC3374-3EB5-CD46-B592-085C58128D4F}"/>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57" name="Oval 556">
              <a:extLst>
                <a:ext uri="{FF2B5EF4-FFF2-40B4-BE49-F238E27FC236}">
                  <a16:creationId xmlns:a16="http://schemas.microsoft.com/office/drawing/2014/main" id="{2497F71E-42B0-CA47-8EEB-6A71A2B73EE0}"/>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58" name="Group 557">
            <a:extLst>
              <a:ext uri="{FF2B5EF4-FFF2-40B4-BE49-F238E27FC236}">
                <a16:creationId xmlns:a16="http://schemas.microsoft.com/office/drawing/2014/main" id="{05206AFB-AA57-694B-8CF0-4CAF5A91FB34}"/>
              </a:ext>
            </a:extLst>
          </p:cNvPr>
          <p:cNvGrpSpPr/>
          <p:nvPr/>
        </p:nvGrpSpPr>
        <p:grpSpPr>
          <a:xfrm>
            <a:off x="5518673" y="2961168"/>
            <a:ext cx="85891" cy="1476302"/>
            <a:chOff x="338835" y="2536302"/>
            <a:chExt cx="85891" cy="1476302"/>
          </a:xfrm>
          <a:solidFill>
            <a:srgbClr val="00C6A5"/>
          </a:solidFill>
        </p:grpSpPr>
        <p:sp>
          <p:nvSpPr>
            <p:cNvPr id="559" name="Line 28">
              <a:extLst>
                <a:ext uri="{FF2B5EF4-FFF2-40B4-BE49-F238E27FC236}">
                  <a16:creationId xmlns:a16="http://schemas.microsoft.com/office/drawing/2014/main" id="{6995B94D-D821-9B48-AC21-968673BA6D81}"/>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60" name="Oval 559">
              <a:extLst>
                <a:ext uri="{FF2B5EF4-FFF2-40B4-BE49-F238E27FC236}">
                  <a16:creationId xmlns:a16="http://schemas.microsoft.com/office/drawing/2014/main" id="{D00B5668-56D8-7241-B31C-FD839B51F666}"/>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61" name="TextBox 144">
            <a:extLst>
              <a:ext uri="{FF2B5EF4-FFF2-40B4-BE49-F238E27FC236}">
                <a16:creationId xmlns:a16="http://schemas.microsoft.com/office/drawing/2014/main" id="{35B76BED-9556-DA45-845D-92B5E16C8EE6}"/>
              </a:ext>
            </a:extLst>
          </p:cNvPr>
          <p:cNvSpPr txBox="1">
            <a:spLocks noChangeArrowheads="1"/>
          </p:cNvSpPr>
          <p:nvPr/>
        </p:nvSpPr>
        <p:spPr bwMode="auto">
          <a:xfrm>
            <a:off x="5341973" y="3171004"/>
            <a:ext cx="766762" cy="219075"/>
          </a:xfrm>
          <a:prstGeom prst="rect">
            <a:avLst/>
          </a:prstGeom>
          <a:solidFill>
            <a:srgbClr val="2D98D3"/>
          </a:solid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6</a:t>
            </a:r>
          </a:p>
        </p:txBody>
      </p:sp>
      <p:grpSp>
        <p:nvGrpSpPr>
          <p:cNvPr id="562" name="Group 561">
            <a:extLst>
              <a:ext uri="{FF2B5EF4-FFF2-40B4-BE49-F238E27FC236}">
                <a16:creationId xmlns:a16="http://schemas.microsoft.com/office/drawing/2014/main" id="{C56A1A4E-A84A-3442-B321-BF23A44648C3}"/>
              </a:ext>
            </a:extLst>
          </p:cNvPr>
          <p:cNvGrpSpPr/>
          <p:nvPr/>
        </p:nvGrpSpPr>
        <p:grpSpPr>
          <a:xfrm rot="10800000">
            <a:off x="5776787" y="2227935"/>
            <a:ext cx="85891" cy="815324"/>
            <a:chOff x="338835" y="2536302"/>
            <a:chExt cx="85891" cy="815324"/>
          </a:xfrm>
          <a:solidFill>
            <a:srgbClr val="00C6A5"/>
          </a:solidFill>
        </p:grpSpPr>
        <p:sp>
          <p:nvSpPr>
            <p:cNvPr id="563" name="Line 28">
              <a:extLst>
                <a:ext uri="{FF2B5EF4-FFF2-40B4-BE49-F238E27FC236}">
                  <a16:creationId xmlns:a16="http://schemas.microsoft.com/office/drawing/2014/main" id="{329652CA-CFEA-5342-AC73-09F06F52A844}"/>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64" name="Oval 563">
              <a:extLst>
                <a:ext uri="{FF2B5EF4-FFF2-40B4-BE49-F238E27FC236}">
                  <a16:creationId xmlns:a16="http://schemas.microsoft.com/office/drawing/2014/main" id="{733165B0-3E06-374C-921D-CA8DB86C87E4}"/>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65" name="Group 564">
            <a:extLst>
              <a:ext uri="{FF2B5EF4-FFF2-40B4-BE49-F238E27FC236}">
                <a16:creationId xmlns:a16="http://schemas.microsoft.com/office/drawing/2014/main" id="{6CC5D61C-86CF-0142-BDBE-FB9CEF4817E2}"/>
              </a:ext>
            </a:extLst>
          </p:cNvPr>
          <p:cNvGrpSpPr/>
          <p:nvPr/>
        </p:nvGrpSpPr>
        <p:grpSpPr>
          <a:xfrm>
            <a:off x="6018160" y="2961168"/>
            <a:ext cx="85891" cy="815324"/>
            <a:chOff x="338835" y="2536302"/>
            <a:chExt cx="85891" cy="815324"/>
          </a:xfrm>
          <a:solidFill>
            <a:srgbClr val="00C6A5"/>
          </a:solidFill>
        </p:grpSpPr>
        <p:sp>
          <p:nvSpPr>
            <p:cNvPr id="566" name="Line 28">
              <a:extLst>
                <a:ext uri="{FF2B5EF4-FFF2-40B4-BE49-F238E27FC236}">
                  <a16:creationId xmlns:a16="http://schemas.microsoft.com/office/drawing/2014/main" id="{E0317173-D28B-6546-9504-86FE138A594A}"/>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67" name="Oval 566">
              <a:extLst>
                <a:ext uri="{FF2B5EF4-FFF2-40B4-BE49-F238E27FC236}">
                  <a16:creationId xmlns:a16="http://schemas.microsoft.com/office/drawing/2014/main" id="{0EA743D1-6A8A-A44F-84B1-5C216C16092E}"/>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68" name="TextBox 161">
            <a:extLst>
              <a:ext uri="{FF2B5EF4-FFF2-40B4-BE49-F238E27FC236}">
                <a16:creationId xmlns:a16="http://schemas.microsoft.com/office/drawing/2014/main" id="{3AD0E942-4521-0044-8BDD-85270D978E7F}"/>
              </a:ext>
            </a:extLst>
          </p:cNvPr>
          <p:cNvSpPr txBox="1">
            <a:spLocks noChangeArrowheads="1"/>
          </p:cNvSpPr>
          <p:nvPr/>
        </p:nvSpPr>
        <p:spPr bwMode="auto">
          <a:xfrm>
            <a:off x="5948068" y="3190875"/>
            <a:ext cx="777875" cy="190500"/>
          </a:xfrm>
          <a:prstGeom prst="rect">
            <a:avLst/>
          </a:prstGeom>
          <a:solidFill>
            <a:srgbClr val="2D98D3"/>
          </a:solidFill>
          <a:ln>
            <a:noFill/>
          </a:ln>
        </p:spPr>
        <p:txBody>
          <a:bodyPr lIns="12167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7</a:t>
            </a:r>
          </a:p>
        </p:txBody>
      </p:sp>
      <p:grpSp>
        <p:nvGrpSpPr>
          <p:cNvPr id="569" name="Group 568">
            <a:extLst>
              <a:ext uri="{FF2B5EF4-FFF2-40B4-BE49-F238E27FC236}">
                <a16:creationId xmlns:a16="http://schemas.microsoft.com/office/drawing/2014/main" id="{F9126F05-51CE-1643-B121-B6ACC9D87889}"/>
              </a:ext>
            </a:extLst>
          </p:cNvPr>
          <p:cNvGrpSpPr/>
          <p:nvPr/>
        </p:nvGrpSpPr>
        <p:grpSpPr>
          <a:xfrm rot="10800000">
            <a:off x="6179597" y="1566955"/>
            <a:ext cx="85891" cy="1476304"/>
            <a:chOff x="338835" y="2536302"/>
            <a:chExt cx="85891" cy="1476304"/>
          </a:xfrm>
          <a:solidFill>
            <a:srgbClr val="00C6A5"/>
          </a:solidFill>
        </p:grpSpPr>
        <p:sp>
          <p:nvSpPr>
            <p:cNvPr id="570" name="Line 28">
              <a:extLst>
                <a:ext uri="{FF2B5EF4-FFF2-40B4-BE49-F238E27FC236}">
                  <a16:creationId xmlns:a16="http://schemas.microsoft.com/office/drawing/2014/main" id="{B0E86224-9E60-0D46-832E-A5EA735E84CB}"/>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71" name="Oval 570">
              <a:extLst>
                <a:ext uri="{FF2B5EF4-FFF2-40B4-BE49-F238E27FC236}">
                  <a16:creationId xmlns:a16="http://schemas.microsoft.com/office/drawing/2014/main" id="{E07364F5-D2DA-2042-A866-8D96386FC5F7}"/>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72" name="Group 571">
            <a:extLst>
              <a:ext uri="{FF2B5EF4-FFF2-40B4-BE49-F238E27FC236}">
                <a16:creationId xmlns:a16="http://schemas.microsoft.com/office/drawing/2014/main" id="{D8C2867F-F30A-624D-8154-6089E1A1C7AE}"/>
              </a:ext>
            </a:extLst>
          </p:cNvPr>
          <p:cNvGrpSpPr/>
          <p:nvPr/>
        </p:nvGrpSpPr>
        <p:grpSpPr>
          <a:xfrm>
            <a:off x="6345776" y="2952771"/>
            <a:ext cx="85891" cy="1476302"/>
            <a:chOff x="338835" y="2536302"/>
            <a:chExt cx="85891" cy="1476302"/>
          </a:xfrm>
          <a:solidFill>
            <a:srgbClr val="00C6A5"/>
          </a:solidFill>
        </p:grpSpPr>
        <p:sp>
          <p:nvSpPr>
            <p:cNvPr id="573" name="Line 28">
              <a:extLst>
                <a:ext uri="{FF2B5EF4-FFF2-40B4-BE49-F238E27FC236}">
                  <a16:creationId xmlns:a16="http://schemas.microsoft.com/office/drawing/2014/main" id="{CAAC9C2D-8026-014E-9A49-11A6E034FAF0}"/>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74" name="Oval 573">
              <a:extLst>
                <a:ext uri="{FF2B5EF4-FFF2-40B4-BE49-F238E27FC236}">
                  <a16:creationId xmlns:a16="http://schemas.microsoft.com/office/drawing/2014/main" id="{CEAE09DB-4F44-4E49-8FF9-CC9B4EA5F581}"/>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75" name="Group 574">
            <a:extLst>
              <a:ext uri="{FF2B5EF4-FFF2-40B4-BE49-F238E27FC236}">
                <a16:creationId xmlns:a16="http://schemas.microsoft.com/office/drawing/2014/main" id="{4DD47914-606A-4041-B305-C4338E98E8F2}"/>
              </a:ext>
            </a:extLst>
          </p:cNvPr>
          <p:cNvGrpSpPr/>
          <p:nvPr/>
        </p:nvGrpSpPr>
        <p:grpSpPr>
          <a:xfrm rot="10800000">
            <a:off x="6525723" y="2227935"/>
            <a:ext cx="85891" cy="815324"/>
            <a:chOff x="338835" y="2536302"/>
            <a:chExt cx="85891" cy="815324"/>
          </a:xfrm>
          <a:solidFill>
            <a:srgbClr val="00C6A5"/>
          </a:solidFill>
        </p:grpSpPr>
        <p:sp>
          <p:nvSpPr>
            <p:cNvPr id="576" name="Line 28">
              <a:extLst>
                <a:ext uri="{FF2B5EF4-FFF2-40B4-BE49-F238E27FC236}">
                  <a16:creationId xmlns:a16="http://schemas.microsoft.com/office/drawing/2014/main" id="{2E5D4FDD-170C-374D-A49C-6D3034E3184E}"/>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77" name="Oval 576">
              <a:extLst>
                <a:ext uri="{FF2B5EF4-FFF2-40B4-BE49-F238E27FC236}">
                  <a16:creationId xmlns:a16="http://schemas.microsoft.com/office/drawing/2014/main" id="{289ADA3B-DCFE-6646-A42F-FA73CC4A1B40}"/>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78" name="TextBox 157">
            <a:extLst>
              <a:ext uri="{FF2B5EF4-FFF2-40B4-BE49-F238E27FC236}">
                <a16:creationId xmlns:a16="http://schemas.microsoft.com/office/drawing/2014/main" id="{764C52C7-ECA0-B047-AAE4-F0B98896C86C}"/>
              </a:ext>
            </a:extLst>
          </p:cNvPr>
          <p:cNvSpPr txBox="1">
            <a:spLocks noChangeArrowheads="1"/>
          </p:cNvSpPr>
          <p:nvPr/>
        </p:nvSpPr>
        <p:spPr bwMode="auto">
          <a:xfrm>
            <a:off x="5985235" y="2628168"/>
            <a:ext cx="736690" cy="292388"/>
          </a:xfrm>
          <a:prstGeom prst="rect">
            <a:avLst/>
          </a:prstGeom>
          <a:solidFill>
            <a:srgbClr val="2D98D3"/>
          </a:solidFill>
          <a:ln>
            <a:noFill/>
          </a:ln>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Cloud</a:t>
            </a:r>
          </a:p>
        </p:txBody>
      </p:sp>
      <p:grpSp>
        <p:nvGrpSpPr>
          <p:cNvPr id="579" name="Group 578">
            <a:extLst>
              <a:ext uri="{FF2B5EF4-FFF2-40B4-BE49-F238E27FC236}">
                <a16:creationId xmlns:a16="http://schemas.microsoft.com/office/drawing/2014/main" id="{C07A90CB-9E7D-884B-B1FE-463114D58C42}"/>
              </a:ext>
            </a:extLst>
          </p:cNvPr>
          <p:cNvGrpSpPr/>
          <p:nvPr/>
        </p:nvGrpSpPr>
        <p:grpSpPr>
          <a:xfrm>
            <a:off x="6685568" y="2953788"/>
            <a:ext cx="85891" cy="815324"/>
            <a:chOff x="338835" y="2536302"/>
            <a:chExt cx="85891" cy="815324"/>
          </a:xfrm>
          <a:solidFill>
            <a:srgbClr val="00C6A5"/>
          </a:solidFill>
        </p:grpSpPr>
        <p:sp>
          <p:nvSpPr>
            <p:cNvPr id="580" name="Line 28">
              <a:extLst>
                <a:ext uri="{FF2B5EF4-FFF2-40B4-BE49-F238E27FC236}">
                  <a16:creationId xmlns:a16="http://schemas.microsoft.com/office/drawing/2014/main" id="{86C5B1A4-2B36-5C4C-84D2-3136536FD352}"/>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81" name="Oval 580">
              <a:extLst>
                <a:ext uri="{FF2B5EF4-FFF2-40B4-BE49-F238E27FC236}">
                  <a16:creationId xmlns:a16="http://schemas.microsoft.com/office/drawing/2014/main" id="{533D2EC9-ED42-6A4B-958D-7AA61ADF8751}"/>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82" name="Group 581">
            <a:extLst>
              <a:ext uri="{FF2B5EF4-FFF2-40B4-BE49-F238E27FC236}">
                <a16:creationId xmlns:a16="http://schemas.microsoft.com/office/drawing/2014/main" id="{2AF69FD5-2D55-F248-8DF2-02D995941770}"/>
              </a:ext>
            </a:extLst>
          </p:cNvPr>
          <p:cNvGrpSpPr/>
          <p:nvPr/>
        </p:nvGrpSpPr>
        <p:grpSpPr>
          <a:xfrm rot="10800000">
            <a:off x="6854769" y="1559773"/>
            <a:ext cx="85891" cy="1476304"/>
            <a:chOff x="338835" y="2536302"/>
            <a:chExt cx="85891" cy="1476304"/>
          </a:xfrm>
          <a:solidFill>
            <a:srgbClr val="00C6A5"/>
          </a:solidFill>
        </p:grpSpPr>
        <p:sp>
          <p:nvSpPr>
            <p:cNvPr id="583" name="Line 28">
              <a:extLst>
                <a:ext uri="{FF2B5EF4-FFF2-40B4-BE49-F238E27FC236}">
                  <a16:creationId xmlns:a16="http://schemas.microsoft.com/office/drawing/2014/main" id="{F8A6954A-4D10-7148-8ED8-FA109FE37D8C}"/>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84" name="Oval 583">
              <a:extLst>
                <a:ext uri="{FF2B5EF4-FFF2-40B4-BE49-F238E27FC236}">
                  <a16:creationId xmlns:a16="http://schemas.microsoft.com/office/drawing/2014/main" id="{1CC94BC6-545D-F145-817E-7C777AA38E3B}"/>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85" name="Group 584">
            <a:extLst>
              <a:ext uri="{FF2B5EF4-FFF2-40B4-BE49-F238E27FC236}">
                <a16:creationId xmlns:a16="http://schemas.microsoft.com/office/drawing/2014/main" id="{B1185021-DE26-6F46-9EE4-94DE512DE0FA}"/>
              </a:ext>
            </a:extLst>
          </p:cNvPr>
          <p:cNvGrpSpPr/>
          <p:nvPr/>
        </p:nvGrpSpPr>
        <p:grpSpPr>
          <a:xfrm>
            <a:off x="7069584" y="2959763"/>
            <a:ext cx="85891" cy="1476302"/>
            <a:chOff x="338835" y="2536302"/>
            <a:chExt cx="85891" cy="1476302"/>
          </a:xfrm>
          <a:solidFill>
            <a:srgbClr val="00C6A5"/>
          </a:solidFill>
        </p:grpSpPr>
        <p:sp>
          <p:nvSpPr>
            <p:cNvPr id="586" name="Line 28">
              <a:extLst>
                <a:ext uri="{FF2B5EF4-FFF2-40B4-BE49-F238E27FC236}">
                  <a16:creationId xmlns:a16="http://schemas.microsoft.com/office/drawing/2014/main" id="{E3B7BCA1-2EB0-9446-8674-307C74CAC6EA}"/>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87" name="Oval 586">
              <a:extLst>
                <a:ext uri="{FF2B5EF4-FFF2-40B4-BE49-F238E27FC236}">
                  <a16:creationId xmlns:a16="http://schemas.microsoft.com/office/drawing/2014/main" id="{949B2992-C261-A744-B6E4-33B5899C0FF9}"/>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88" name="TextBox 116">
            <a:extLst>
              <a:ext uri="{FF2B5EF4-FFF2-40B4-BE49-F238E27FC236}">
                <a16:creationId xmlns:a16="http://schemas.microsoft.com/office/drawing/2014/main" id="{A24E8016-EC3B-3D44-A7D5-69C7D53C18B3}"/>
              </a:ext>
            </a:extLst>
          </p:cNvPr>
          <p:cNvSpPr txBox="1">
            <a:spLocks noChangeArrowheads="1"/>
          </p:cNvSpPr>
          <p:nvPr/>
        </p:nvSpPr>
        <p:spPr bwMode="auto">
          <a:xfrm>
            <a:off x="6919480" y="3208968"/>
            <a:ext cx="493284" cy="160337"/>
          </a:xfrm>
          <a:prstGeom prst="rect">
            <a:avLst/>
          </a:prstGeom>
          <a:solidFill>
            <a:srgbClr val="2D98D3"/>
          </a:solidFill>
          <a:ln>
            <a:noFill/>
          </a:ln>
        </p:spPr>
        <p:txBody>
          <a:bodyPr lIns="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8</a:t>
            </a:r>
          </a:p>
        </p:txBody>
      </p:sp>
      <p:grpSp>
        <p:nvGrpSpPr>
          <p:cNvPr id="589" name="Group 588">
            <a:extLst>
              <a:ext uri="{FF2B5EF4-FFF2-40B4-BE49-F238E27FC236}">
                <a16:creationId xmlns:a16="http://schemas.microsoft.com/office/drawing/2014/main" id="{C59D9BAA-DCB5-0B48-A57E-82FA73B5087C}"/>
              </a:ext>
            </a:extLst>
          </p:cNvPr>
          <p:cNvGrpSpPr/>
          <p:nvPr/>
        </p:nvGrpSpPr>
        <p:grpSpPr>
          <a:xfrm rot="10800000">
            <a:off x="7290571" y="2227381"/>
            <a:ext cx="85891" cy="815324"/>
            <a:chOff x="338835" y="2536302"/>
            <a:chExt cx="85891" cy="815324"/>
          </a:xfrm>
          <a:solidFill>
            <a:srgbClr val="00C6A5"/>
          </a:solidFill>
        </p:grpSpPr>
        <p:sp>
          <p:nvSpPr>
            <p:cNvPr id="590" name="Line 28">
              <a:extLst>
                <a:ext uri="{FF2B5EF4-FFF2-40B4-BE49-F238E27FC236}">
                  <a16:creationId xmlns:a16="http://schemas.microsoft.com/office/drawing/2014/main" id="{BF03FBA3-E9DE-8448-9E31-9F408A6288F0}"/>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a:solidFill>
                  <a:srgbClr val="000000"/>
                </a:solidFill>
                <a:latin typeface="Arial" panose="020B0604020202020204" pitchFamily="34" charset="0"/>
              </a:endParaRPr>
            </a:p>
          </p:txBody>
        </p:sp>
        <p:sp>
          <p:nvSpPr>
            <p:cNvPr id="591" name="Oval 590">
              <a:extLst>
                <a:ext uri="{FF2B5EF4-FFF2-40B4-BE49-F238E27FC236}">
                  <a16:creationId xmlns:a16="http://schemas.microsoft.com/office/drawing/2014/main" id="{B634FA14-84C0-8547-8747-CAA0AAC3BA99}"/>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92" name="Group 591">
            <a:extLst>
              <a:ext uri="{FF2B5EF4-FFF2-40B4-BE49-F238E27FC236}">
                <a16:creationId xmlns:a16="http://schemas.microsoft.com/office/drawing/2014/main" id="{48B8FC69-C65E-E04A-8FBB-F9570F0E3122}"/>
              </a:ext>
            </a:extLst>
          </p:cNvPr>
          <p:cNvGrpSpPr/>
          <p:nvPr/>
        </p:nvGrpSpPr>
        <p:grpSpPr>
          <a:xfrm>
            <a:off x="759399" y="2997285"/>
            <a:ext cx="85891" cy="1476302"/>
            <a:chOff x="338835" y="2536302"/>
            <a:chExt cx="85891" cy="1476302"/>
          </a:xfrm>
          <a:solidFill>
            <a:srgbClr val="00C6A5"/>
          </a:solidFill>
        </p:grpSpPr>
        <p:sp>
          <p:nvSpPr>
            <p:cNvPr id="593" name="Line 28">
              <a:extLst>
                <a:ext uri="{FF2B5EF4-FFF2-40B4-BE49-F238E27FC236}">
                  <a16:creationId xmlns:a16="http://schemas.microsoft.com/office/drawing/2014/main" id="{FF68E8B2-DD6A-B542-B306-AADD3EF0E0B5}"/>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94" name="Oval 593">
              <a:extLst>
                <a:ext uri="{FF2B5EF4-FFF2-40B4-BE49-F238E27FC236}">
                  <a16:creationId xmlns:a16="http://schemas.microsoft.com/office/drawing/2014/main" id="{3DCB712A-4FFE-D04F-8C01-E9D6A7444E94}"/>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595" name="Group 594">
            <a:extLst>
              <a:ext uri="{FF2B5EF4-FFF2-40B4-BE49-F238E27FC236}">
                <a16:creationId xmlns:a16="http://schemas.microsoft.com/office/drawing/2014/main" id="{F89DAC2A-DF16-2C40-84C1-23C5365113AE}"/>
              </a:ext>
            </a:extLst>
          </p:cNvPr>
          <p:cNvGrpSpPr/>
          <p:nvPr/>
        </p:nvGrpSpPr>
        <p:grpSpPr>
          <a:xfrm>
            <a:off x="1750182" y="2989435"/>
            <a:ext cx="85891" cy="1476302"/>
            <a:chOff x="338835" y="2536302"/>
            <a:chExt cx="85891" cy="1476302"/>
          </a:xfrm>
          <a:solidFill>
            <a:srgbClr val="00C6A5"/>
          </a:solidFill>
        </p:grpSpPr>
        <p:sp>
          <p:nvSpPr>
            <p:cNvPr id="596" name="Line 28">
              <a:extLst>
                <a:ext uri="{FF2B5EF4-FFF2-40B4-BE49-F238E27FC236}">
                  <a16:creationId xmlns:a16="http://schemas.microsoft.com/office/drawing/2014/main" id="{F9637480-67EC-6745-8886-C355CD986FAA}"/>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597" name="Oval 596">
              <a:extLst>
                <a:ext uri="{FF2B5EF4-FFF2-40B4-BE49-F238E27FC236}">
                  <a16:creationId xmlns:a16="http://schemas.microsoft.com/office/drawing/2014/main" id="{F767EB3C-4D81-0246-9A93-6614D629925F}"/>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598" name="TextBox 116">
            <a:extLst>
              <a:ext uri="{FF2B5EF4-FFF2-40B4-BE49-F238E27FC236}">
                <a16:creationId xmlns:a16="http://schemas.microsoft.com/office/drawing/2014/main" id="{AFF5FC12-DBEB-CE49-9A93-872C66E7ACAE}"/>
              </a:ext>
            </a:extLst>
          </p:cNvPr>
          <p:cNvSpPr txBox="1">
            <a:spLocks noChangeArrowheads="1"/>
          </p:cNvSpPr>
          <p:nvPr/>
        </p:nvSpPr>
        <p:spPr bwMode="auto">
          <a:xfrm>
            <a:off x="7646036" y="3212515"/>
            <a:ext cx="493284" cy="160337"/>
          </a:xfrm>
          <a:prstGeom prst="rect">
            <a:avLst/>
          </a:prstGeom>
          <a:solidFill>
            <a:srgbClr val="2D98D3"/>
          </a:solidFill>
          <a:ln>
            <a:noFill/>
          </a:ln>
        </p:spPr>
        <p:txBody>
          <a:bodyPr lIns="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19</a:t>
            </a:r>
          </a:p>
        </p:txBody>
      </p:sp>
      <p:sp>
        <p:nvSpPr>
          <p:cNvPr id="599" name="TextBox 165">
            <a:extLst>
              <a:ext uri="{FF2B5EF4-FFF2-40B4-BE49-F238E27FC236}">
                <a16:creationId xmlns:a16="http://schemas.microsoft.com/office/drawing/2014/main" id="{A9F51C34-D18D-394B-BBDB-A4F9178E97F6}"/>
              </a:ext>
            </a:extLst>
          </p:cNvPr>
          <p:cNvSpPr txBox="1">
            <a:spLocks noChangeArrowheads="1"/>
          </p:cNvSpPr>
          <p:nvPr/>
        </p:nvSpPr>
        <p:spPr bwMode="auto">
          <a:xfrm>
            <a:off x="7214100" y="4306969"/>
            <a:ext cx="1076325"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EPIC EHR</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Healthcare</a:t>
            </a:r>
          </a:p>
        </p:txBody>
      </p:sp>
      <p:grpSp>
        <p:nvGrpSpPr>
          <p:cNvPr id="600" name="Group 599">
            <a:extLst>
              <a:ext uri="{FF2B5EF4-FFF2-40B4-BE49-F238E27FC236}">
                <a16:creationId xmlns:a16="http://schemas.microsoft.com/office/drawing/2014/main" id="{3B99DF04-B5B6-9E4C-9EBF-11310B63DD91}"/>
              </a:ext>
            </a:extLst>
          </p:cNvPr>
          <p:cNvGrpSpPr/>
          <p:nvPr/>
        </p:nvGrpSpPr>
        <p:grpSpPr>
          <a:xfrm>
            <a:off x="7512612" y="2956222"/>
            <a:ext cx="85891" cy="1476302"/>
            <a:chOff x="338835" y="2536302"/>
            <a:chExt cx="85891" cy="1476302"/>
          </a:xfrm>
          <a:solidFill>
            <a:srgbClr val="00C6A5"/>
          </a:solidFill>
        </p:grpSpPr>
        <p:sp>
          <p:nvSpPr>
            <p:cNvPr id="601" name="Line 28">
              <a:extLst>
                <a:ext uri="{FF2B5EF4-FFF2-40B4-BE49-F238E27FC236}">
                  <a16:creationId xmlns:a16="http://schemas.microsoft.com/office/drawing/2014/main" id="{35EAE020-7506-984C-B8FD-071AF98DBB34}"/>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02" name="Oval 601">
              <a:extLst>
                <a:ext uri="{FF2B5EF4-FFF2-40B4-BE49-F238E27FC236}">
                  <a16:creationId xmlns:a16="http://schemas.microsoft.com/office/drawing/2014/main" id="{50B8DA6D-45A0-EF40-A075-A8ADAF688AE3}"/>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603" name="TextBox 602">
            <a:extLst>
              <a:ext uri="{FF2B5EF4-FFF2-40B4-BE49-F238E27FC236}">
                <a16:creationId xmlns:a16="http://schemas.microsoft.com/office/drawing/2014/main" id="{899348B6-E03E-E04B-B6CA-DBA207C6E43C}"/>
              </a:ext>
            </a:extLst>
          </p:cNvPr>
          <p:cNvSpPr txBox="1">
            <a:spLocks noChangeArrowheads="1"/>
          </p:cNvSpPr>
          <p:nvPr/>
        </p:nvSpPr>
        <p:spPr bwMode="auto">
          <a:xfrm>
            <a:off x="7385798" y="1095925"/>
            <a:ext cx="540544"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100</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 </a:t>
            </a:r>
            <a:r>
              <a:rPr kumimoji="0" lang="en-US" altLang="en-US" sz="1000" b="0" i="0" u="none" strike="noStrike" kern="0" cap="none" spc="0" normalizeH="0" baseline="0" noProof="0" dirty="0" err="1">
                <a:ln>
                  <a:noFill/>
                </a:ln>
                <a:solidFill>
                  <a:srgbClr val="233E85"/>
                </a:solidFill>
                <a:effectLst/>
                <a:uLnTx/>
                <a:uFillTx/>
                <a:latin typeface="Arial" panose="020B0604020202020204" pitchFamily="34" charset="0"/>
              </a:rPr>
              <a:t>GbE</a:t>
            </a:r>
            <a:endPar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endParaRPr>
          </a:p>
        </p:txBody>
      </p:sp>
      <p:grpSp>
        <p:nvGrpSpPr>
          <p:cNvPr id="604" name="Group 603">
            <a:extLst>
              <a:ext uri="{FF2B5EF4-FFF2-40B4-BE49-F238E27FC236}">
                <a16:creationId xmlns:a16="http://schemas.microsoft.com/office/drawing/2014/main" id="{3EACD3A0-75F0-E84E-BA56-CB347F6D5D23}"/>
              </a:ext>
            </a:extLst>
          </p:cNvPr>
          <p:cNvGrpSpPr/>
          <p:nvPr/>
        </p:nvGrpSpPr>
        <p:grpSpPr>
          <a:xfrm>
            <a:off x="7794082" y="2950244"/>
            <a:ext cx="85891" cy="815324"/>
            <a:chOff x="338835" y="2536302"/>
            <a:chExt cx="85891" cy="815324"/>
          </a:xfrm>
          <a:solidFill>
            <a:srgbClr val="00C6A5"/>
          </a:solidFill>
        </p:grpSpPr>
        <p:sp>
          <p:nvSpPr>
            <p:cNvPr id="605" name="Line 28">
              <a:extLst>
                <a:ext uri="{FF2B5EF4-FFF2-40B4-BE49-F238E27FC236}">
                  <a16:creationId xmlns:a16="http://schemas.microsoft.com/office/drawing/2014/main" id="{6EC171DC-52F1-284A-9A2E-03C08C812B86}"/>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06" name="Oval 605">
              <a:extLst>
                <a:ext uri="{FF2B5EF4-FFF2-40B4-BE49-F238E27FC236}">
                  <a16:creationId xmlns:a16="http://schemas.microsoft.com/office/drawing/2014/main" id="{551CE2AF-946D-654E-B9B1-075134BBEE7F}"/>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607" name="Group 606">
            <a:extLst>
              <a:ext uri="{FF2B5EF4-FFF2-40B4-BE49-F238E27FC236}">
                <a16:creationId xmlns:a16="http://schemas.microsoft.com/office/drawing/2014/main" id="{CFF142CA-5CCF-FB48-88B3-52F40E6AD2F0}"/>
              </a:ext>
            </a:extLst>
          </p:cNvPr>
          <p:cNvGrpSpPr/>
          <p:nvPr/>
        </p:nvGrpSpPr>
        <p:grpSpPr>
          <a:xfrm rot="10800000">
            <a:off x="7666729" y="1564733"/>
            <a:ext cx="85891" cy="1476304"/>
            <a:chOff x="338835" y="2536302"/>
            <a:chExt cx="85891" cy="1476304"/>
          </a:xfrm>
          <a:solidFill>
            <a:srgbClr val="00C6A5"/>
          </a:solidFill>
        </p:grpSpPr>
        <p:sp>
          <p:nvSpPr>
            <p:cNvPr id="608" name="Line 28">
              <a:extLst>
                <a:ext uri="{FF2B5EF4-FFF2-40B4-BE49-F238E27FC236}">
                  <a16:creationId xmlns:a16="http://schemas.microsoft.com/office/drawing/2014/main" id="{32B8BFDA-68CA-CF46-85BB-B154F9FE99D5}"/>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09" name="Oval 608">
              <a:extLst>
                <a:ext uri="{FF2B5EF4-FFF2-40B4-BE49-F238E27FC236}">
                  <a16:creationId xmlns:a16="http://schemas.microsoft.com/office/drawing/2014/main" id="{1FD12176-F7CB-5742-A8E8-7F7453951BF9}"/>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610" name="Group 609">
            <a:extLst>
              <a:ext uri="{FF2B5EF4-FFF2-40B4-BE49-F238E27FC236}">
                <a16:creationId xmlns:a16="http://schemas.microsoft.com/office/drawing/2014/main" id="{6FA5F30A-2AD0-0342-9C2E-9935581FF2F9}"/>
              </a:ext>
            </a:extLst>
          </p:cNvPr>
          <p:cNvGrpSpPr/>
          <p:nvPr/>
        </p:nvGrpSpPr>
        <p:grpSpPr>
          <a:xfrm rot="10800000">
            <a:off x="7940370" y="1559277"/>
            <a:ext cx="85891" cy="1476304"/>
            <a:chOff x="338835" y="2536302"/>
            <a:chExt cx="85891" cy="1476304"/>
          </a:xfrm>
          <a:solidFill>
            <a:srgbClr val="00C6A5"/>
          </a:solidFill>
        </p:grpSpPr>
        <p:sp>
          <p:nvSpPr>
            <p:cNvPr id="611" name="Line 28">
              <a:extLst>
                <a:ext uri="{FF2B5EF4-FFF2-40B4-BE49-F238E27FC236}">
                  <a16:creationId xmlns:a16="http://schemas.microsoft.com/office/drawing/2014/main" id="{DFC72EBD-FDFE-814D-9E15-56B073348A08}"/>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12" name="Oval 611">
              <a:extLst>
                <a:ext uri="{FF2B5EF4-FFF2-40B4-BE49-F238E27FC236}">
                  <a16:creationId xmlns:a16="http://schemas.microsoft.com/office/drawing/2014/main" id="{4A9B668B-2163-D143-B346-96489A145E2F}"/>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613" name="TextBox 150">
            <a:extLst>
              <a:ext uri="{FF2B5EF4-FFF2-40B4-BE49-F238E27FC236}">
                <a16:creationId xmlns:a16="http://schemas.microsoft.com/office/drawing/2014/main" id="{C422A441-08F2-3146-8E82-02760E76EA72}"/>
              </a:ext>
            </a:extLst>
          </p:cNvPr>
          <p:cNvSpPr txBox="1">
            <a:spLocks noChangeArrowheads="1"/>
          </p:cNvSpPr>
          <p:nvPr/>
        </p:nvSpPr>
        <p:spPr bwMode="auto">
          <a:xfrm>
            <a:off x="7771690" y="993339"/>
            <a:ext cx="444022" cy="684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 end-to-end </a:t>
            </a:r>
            <a:r>
              <a:rPr kumimoji="0" lang="en-US" altLang="en-US" sz="1000" b="0" i="0" u="none" strike="noStrike" kern="0" cap="none" spc="0" normalizeH="0" baseline="0" noProof="0" dirty="0" err="1">
                <a:ln>
                  <a:noFill/>
                </a:ln>
                <a:solidFill>
                  <a:srgbClr val="233E85"/>
                </a:solidFill>
                <a:effectLst/>
                <a:uLnTx/>
                <a:uFillTx/>
                <a:latin typeface="Arial" panose="020B0604020202020204" pitchFamily="34" charset="0"/>
              </a:rPr>
              <a:t>NVMe</a:t>
            </a: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 </a:t>
            </a:r>
          </a:p>
        </p:txBody>
      </p:sp>
      <p:sp>
        <p:nvSpPr>
          <p:cNvPr id="614" name="TextBox 613">
            <a:extLst>
              <a:ext uri="{FF2B5EF4-FFF2-40B4-BE49-F238E27FC236}">
                <a16:creationId xmlns:a16="http://schemas.microsoft.com/office/drawing/2014/main" id="{06AF4E37-F578-6645-8776-F4EF9FD67CD7}"/>
              </a:ext>
            </a:extLst>
          </p:cNvPr>
          <p:cNvSpPr txBox="1">
            <a:spLocks noChangeArrowheads="1"/>
          </p:cNvSpPr>
          <p:nvPr/>
        </p:nvSpPr>
        <p:spPr bwMode="auto">
          <a:xfrm>
            <a:off x="7595783" y="3681202"/>
            <a:ext cx="540544" cy="3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AI/ML</a:t>
            </a:r>
          </a:p>
        </p:txBody>
      </p:sp>
      <p:sp>
        <p:nvSpPr>
          <p:cNvPr id="619" name="TextBox 157">
            <a:extLst>
              <a:ext uri="{FF2B5EF4-FFF2-40B4-BE49-F238E27FC236}">
                <a16:creationId xmlns:a16="http://schemas.microsoft.com/office/drawing/2014/main" id="{C349D428-A1FA-444A-A78B-B9BC1A8F03B1}"/>
              </a:ext>
            </a:extLst>
          </p:cNvPr>
          <p:cNvSpPr txBox="1">
            <a:spLocks noChangeArrowheads="1"/>
          </p:cNvSpPr>
          <p:nvPr/>
        </p:nvSpPr>
        <p:spPr bwMode="auto">
          <a:xfrm>
            <a:off x="6686961" y="2649228"/>
            <a:ext cx="736690" cy="292388"/>
          </a:xfrm>
          <a:prstGeom prst="rect">
            <a:avLst/>
          </a:prstGeom>
          <a:solidFill>
            <a:srgbClr val="2D98D3"/>
          </a:solidFill>
          <a:ln>
            <a:noFill/>
          </a:ln>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EHR</a:t>
            </a:r>
          </a:p>
        </p:txBody>
      </p:sp>
      <p:sp>
        <p:nvSpPr>
          <p:cNvPr id="620" name="TextBox 157">
            <a:extLst>
              <a:ext uri="{FF2B5EF4-FFF2-40B4-BE49-F238E27FC236}">
                <a16:creationId xmlns:a16="http://schemas.microsoft.com/office/drawing/2014/main" id="{B5E376A4-126A-834D-813A-9F389D8CA589}"/>
              </a:ext>
            </a:extLst>
          </p:cNvPr>
          <p:cNvSpPr txBox="1">
            <a:spLocks noChangeArrowheads="1"/>
          </p:cNvSpPr>
          <p:nvPr/>
        </p:nvSpPr>
        <p:spPr bwMode="auto">
          <a:xfrm>
            <a:off x="7345546" y="2646512"/>
            <a:ext cx="736690" cy="292388"/>
          </a:xfrm>
          <a:prstGeom prst="rect">
            <a:avLst/>
          </a:prstGeom>
          <a:solidFill>
            <a:srgbClr val="2D98D3"/>
          </a:solidFill>
          <a:ln>
            <a:noFill/>
          </a:ln>
        </p:spPr>
        <p:txBody>
          <a:bodyPr wrap="square">
            <a:spAutoFit/>
          </a:bodyPr>
          <a:lstStyle>
            <a:lvl1pPr defTabSz="912813">
              <a:defRPr sz="2000">
                <a:solidFill>
                  <a:schemeClr val="tx1"/>
                </a:solidFill>
                <a:latin typeface="Arial" panose="020B0604020202020204" pitchFamily="34" charset="0"/>
              </a:defRPr>
            </a:lvl1pPr>
            <a:lvl2pPr defTabSz="912813">
              <a:defRPr sz="2000">
                <a:solidFill>
                  <a:schemeClr val="tx1"/>
                </a:solidFill>
                <a:latin typeface="Arial" panose="020B0604020202020204" pitchFamily="34" charset="0"/>
              </a:defRPr>
            </a:lvl2pPr>
            <a:lvl3pPr defTabSz="912813">
              <a:defRPr sz="2000">
                <a:solidFill>
                  <a:schemeClr val="tx1"/>
                </a:solidFill>
                <a:latin typeface="Arial" panose="020B0604020202020204" pitchFamily="34" charset="0"/>
              </a:defRPr>
            </a:lvl3pPr>
            <a:lvl4pPr defTabSz="912813">
              <a:defRPr sz="2000">
                <a:solidFill>
                  <a:schemeClr val="tx1"/>
                </a:solidFill>
                <a:latin typeface="Arial" panose="020B0604020202020204" pitchFamily="34" charset="0"/>
              </a:defRPr>
            </a:lvl4pPr>
            <a:lvl5pPr defTabSz="912813">
              <a:defRPr sz="2000">
                <a:solidFill>
                  <a:schemeClr val="tx1"/>
                </a:solidFill>
                <a:latin typeface="Arial" panose="020B0604020202020204" pitchFamily="34" charset="0"/>
              </a:defRPr>
            </a:lvl5pPr>
            <a:lvl6pPr marL="2284413" indent="1588" defTabSz="912813"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2813"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2813"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28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2813" eaLnBrk="0" fontAlgn="auto" latinLnBrk="0" hangingPunct="0">
              <a:lnSpc>
                <a:spcPct val="100000"/>
              </a:lnSpc>
              <a:spcBef>
                <a:spcPts val="0"/>
              </a:spcBef>
              <a:spcAft>
                <a:spcPts val="0"/>
              </a:spcAft>
              <a:buClr>
                <a:srgbClr val="FEDB00"/>
              </a:buClr>
              <a:buSzTx/>
              <a:buFontTx/>
              <a:buNone/>
              <a:tabLst/>
              <a:defRPr/>
            </a:pPr>
            <a:r>
              <a:rPr kumimoji="0" lang="en-US" altLang="en-US" sz="1300" b="1" i="0" u="none" strike="noStrike" kern="0" cap="none" spc="0" normalizeH="0" baseline="0" noProof="0" dirty="0">
                <a:ln>
                  <a:noFill/>
                </a:ln>
                <a:solidFill>
                  <a:srgbClr val="FFFFFF"/>
                </a:solidFill>
                <a:effectLst/>
                <a:uLnTx/>
                <a:uFillTx/>
                <a:latin typeface="Arial" panose="020B0604020202020204" pitchFamily="34" charset="0"/>
              </a:rPr>
              <a:t>AI</a:t>
            </a:r>
          </a:p>
        </p:txBody>
      </p:sp>
      <p:grpSp>
        <p:nvGrpSpPr>
          <p:cNvPr id="622" name="Group 621">
            <a:extLst>
              <a:ext uri="{FF2B5EF4-FFF2-40B4-BE49-F238E27FC236}">
                <a16:creationId xmlns:a16="http://schemas.microsoft.com/office/drawing/2014/main" id="{F945C980-70E7-4944-A87B-C1F5CFE04E61}"/>
              </a:ext>
            </a:extLst>
          </p:cNvPr>
          <p:cNvGrpSpPr/>
          <p:nvPr/>
        </p:nvGrpSpPr>
        <p:grpSpPr>
          <a:xfrm rot="10800000">
            <a:off x="980386" y="1612907"/>
            <a:ext cx="85891" cy="1476302"/>
            <a:chOff x="338835" y="2536302"/>
            <a:chExt cx="85891" cy="1476302"/>
          </a:xfrm>
          <a:solidFill>
            <a:srgbClr val="00C6A5"/>
          </a:solidFill>
        </p:grpSpPr>
        <p:sp>
          <p:nvSpPr>
            <p:cNvPr id="623" name="Line 28">
              <a:extLst>
                <a:ext uri="{FF2B5EF4-FFF2-40B4-BE49-F238E27FC236}">
                  <a16:creationId xmlns:a16="http://schemas.microsoft.com/office/drawing/2014/main" id="{DA9696C0-7110-9446-AC8B-E8B87E3EDE00}"/>
                </a:ext>
              </a:extLst>
            </p:cNvPr>
            <p:cNvSpPr>
              <a:spLocks noChangeShapeType="1"/>
            </p:cNvSpPr>
            <p:nvPr/>
          </p:nvSpPr>
          <p:spPr bwMode="auto">
            <a:xfrm flipV="1">
              <a:off x="381780" y="2580816"/>
              <a:ext cx="0" cy="1431788"/>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24" name="Oval 623">
              <a:extLst>
                <a:ext uri="{FF2B5EF4-FFF2-40B4-BE49-F238E27FC236}">
                  <a16:creationId xmlns:a16="http://schemas.microsoft.com/office/drawing/2014/main" id="{2BD52152-F3DE-704C-A033-9B5ADF526F3E}"/>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625" name="Group 624">
            <a:extLst>
              <a:ext uri="{FF2B5EF4-FFF2-40B4-BE49-F238E27FC236}">
                <a16:creationId xmlns:a16="http://schemas.microsoft.com/office/drawing/2014/main" id="{44CFBD37-A5D1-044A-8671-79EE6D74BC91}"/>
              </a:ext>
            </a:extLst>
          </p:cNvPr>
          <p:cNvGrpSpPr/>
          <p:nvPr/>
        </p:nvGrpSpPr>
        <p:grpSpPr>
          <a:xfrm rot="10800000">
            <a:off x="8256901" y="2227381"/>
            <a:ext cx="45719" cy="793620"/>
            <a:chOff x="338835" y="2536302"/>
            <a:chExt cx="85891" cy="1476304"/>
          </a:xfrm>
          <a:solidFill>
            <a:srgbClr val="00C6A5"/>
          </a:solidFill>
        </p:grpSpPr>
        <p:sp>
          <p:nvSpPr>
            <p:cNvPr id="626" name="Line 28">
              <a:extLst>
                <a:ext uri="{FF2B5EF4-FFF2-40B4-BE49-F238E27FC236}">
                  <a16:creationId xmlns:a16="http://schemas.microsoft.com/office/drawing/2014/main" id="{4DE269E6-2989-3E4F-88BD-A80A0867EBA6}"/>
                </a:ext>
              </a:extLst>
            </p:cNvPr>
            <p:cNvSpPr>
              <a:spLocks noChangeShapeType="1"/>
            </p:cNvSpPr>
            <p:nvPr/>
          </p:nvSpPr>
          <p:spPr bwMode="auto">
            <a:xfrm flipH="1" flipV="1">
              <a:off x="381780" y="2580817"/>
              <a:ext cx="8546" cy="143178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27" name="Oval 626">
              <a:extLst>
                <a:ext uri="{FF2B5EF4-FFF2-40B4-BE49-F238E27FC236}">
                  <a16:creationId xmlns:a16="http://schemas.microsoft.com/office/drawing/2014/main" id="{32B6CC30-25AD-7741-816D-E2A6D47F187A}"/>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grpSp>
        <p:nvGrpSpPr>
          <p:cNvPr id="631" name="Group 630">
            <a:extLst>
              <a:ext uri="{FF2B5EF4-FFF2-40B4-BE49-F238E27FC236}">
                <a16:creationId xmlns:a16="http://schemas.microsoft.com/office/drawing/2014/main" id="{78E5241D-6DA3-5145-BAE1-3D8EE7414CAD}"/>
              </a:ext>
            </a:extLst>
          </p:cNvPr>
          <p:cNvGrpSpPr/>
          <p:nvPr/>
        </p:nvGrpSpPr>
        <p:grpSpPr>
          <a:xfrm>
            <a:off x="8402094" y="2957271"/>
            <a:ext cx="112680" cy="1281282"/>
            <a:chOff x="338835" y="2536302"/>
            <a:chExt cx="85891" cy="815324"/>
          </a:xfrm>
          <a:solidFill>
            <a:srgbClr val="00C6A5"/>
          </a:solidFill>
        </p:grpSpPr>
        <p:sp>
          <p:nvSpPr>
            <p:cNvPr id="632" name="Line 28">
              <a:extLst>
                <a:ext uri="{FF2B5EF4-FFF2-40B4-BE49-F238E27FC236}">
                  <a16:creationId xmlns:a16="http://schemas.microsoft.com/office/drawing/2014/main" id="{E6DE2C85-66F0-E84E-B3E9-7665F744446D}"/>
                </a:ext>
              </a:extLst>
            </p:cNvPr>
            <p:cNvSpPr>
              <a:spLocks noChangeShapeType="1"/>
            </p:cNvSpPr>
            <p:nvPr/>
          </p:nvSpPr>
          <p:spPr bwMode="auto">
            <a:xfrm flipV="1">
              <a:off x="381780" y="2580817"/>
              <a:ext cx="0" cy="770809"/>
            </a:xfrm>
            <a:prstGeom prst="line">
              <a:avLst/>
            </a:prstGeom>
            <a:grpFill/>
            <a:ln w="19050">
              <a:solidFill>
                <a:srgbClr val="233E85"/>
              </a:solidFill>
              <a:round/>
              <a:headEnd/>
              <a:tailEnd/>
            </a:ln>
            <a:effectLst/>
          </p:spPr>
          <p:txBody>
            <a:bodyPr wrap="none" anchor="ctr"/>
            <a:lstStyle/>
            <a:p>
              <a:pPr eaLnBrk="0" hangingPunct="0">
                <a:defRPr/>
              </a:pPr>
              <a:endParaRPr lang="en-US" dirty="0">
                <a:solidFill>
                  <a:srgbClr val="000000"/>
                </a:solidFill>
                <a:latin typeface="Arial" panose="020B0604020202020204" pitchFamily="34" charset="0"/>
              </a:endParaRPr>
            </a:p>
          </p:txBody>
        </p:sp>
        <p:sp>
          <p:nvSpPr>
            <p:cNvPr id="633" name="Oval 632">
              <a:extLst>
                <a:ext uri="{FF2B5EF4-FFF2-40B4-BE49-F238E27FC236}">
                  <a16:creationId xmlns:a16="http://schemas.microsoft.com/office/drawing/2014/main" id="{942F1A25-CD59-3D49-B210-BD198946EF61}"/>
                </a:ext>
              </a:extLst>
            </p:cNvPr>
            <p:cNvSpPr>
              <a:spLocks noChangeArrowheads="1"/>
            </p:cNvSpPr>
            <p:nvPr/>
          </p:nvSpPr>
          <p:spPr bwMode="auto">
            <a:xfrm>
              <a:off x="338835" y="2536302"/>
              <a:ext cx="85891" cy="83766"/>
            </a:xfrm>
            <a:prstGeom prst="ellipse">
              <a:avLst/>
            </a:prstGeom>
            <a:grpFill/>
            <a:ln w="12700" algn="ctr">
              <a:solidFill>
                <a:srgbClr val="233E85"/>
              </a:solidFill>
              <a:round/>
              <a:headEnd/>
              <a:tailEnd/>
            </a:ln>
            <a:effectLst/>
          </p:spPr>
          <p:txBody>
            <a:bodyPr wrap="none" anchor="ctr"/>
            <a:lstStyle/>
            <a:p>
              <a:pPr algn="ctr" eaLnBrk="0" hangingPunct="0">
                <a:lnSpc>
                  <a:spcPct val="90000"/>
                </a:lnSpc>
                <a:spcBef>
                  <a:spcPct val="50000"/>
                </a:spcBef>
                <a:defRPr/>
              </a:pPr>
              <a:endParaRPr lang="en-US" sz="2400" b="1" dirty="0">
                <a:solidFill>
                  <a:srgbClr val="000000"/>
                </a:solidFill>
                <a:latin typeface="Arial" panose="020B0604020202020204" pitchFamily="34" charset="0"/>
              </a:endParaRPr>
            </a:p>
          </p:txBody>
        </p:sp>
      </p:grpSp>
      <p:sp>
        <p:nvSpPr>
          <p:cNvPr id="634" name="TextBox 150">
            <a:extLst>
              <a:ext uri="{FF2B5EF4-FFF2-40B4-BE49-F238E27FC236}">
                <a16:creationId xmlns:a16="http://schemas.microsoft.com/office/drawing/2014/main" id="{660DC4C5-EB09-E045-8A61-82E2D5419709}"/>
              </a:ext>
            </a:extLst>
          </p:cNvPr>
          <p:cNvSpPr txBox="1">
            <a:spLocks noChangeArrowheads="1"/>
          </p:cNvSpPr>
          <p:nvPr/>
        </p:nvSpPr>
        <p:spPr bwMode="auto">
          <a:xfrm>
            <a:off x="8017940" y="1456814"/>
            <a:ext cx="444022" cy="830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 Storage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err="1">
                <a:ln>
                  <a:noFill/>
                </a:ln>
                <a:solidFill>
                  <a:srgbClr val="233E85"/>
                </a:solidFill>
                <a:effectLst/>
                <a:uLnTx/>
                <a:uFillTx/>
                <a:latin typeface="Arial" panose="020B0604020202020204" pitchFamily="34" charset="0"/>
              </a:rPr>
              <a:t>Cld</a:t>
            </a: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 </a:t>
            </a:r>
          </a:p>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Tiering </a:t>
            </a:r>
          </a:p>
        </p:txBody>
      </p:sp>
      <p:sp>
        <p:nvSpPr>
          <p:cNvPr id="636" name="TextBox 635">
            <a:extLst>
              <a:ext uri="{FF2B5EF4-FFF2-40B4-BE49-F238E27FC236}">
                <a16:creationId xmlns:a16="http://schemas.microsoft.com/office/drawing/2014/main" id="{18CB0670-C664-1C47-B435-B46B285B47AB}"/>
              </a:ext>
            </a:extLst>
          </p:cNvPr>
          <p:cNvSpPr txBox="1">
            <a:spLocks noChangeArrowheads="1"/>
          </p:cNvSpPr>
          <p:nvPr/>
        </p:nvSpPr>
        <p:spPr bwMode="auto">
          <a:xfrm>
            <a:off x="8072045" y="4128225"/>
            <a:ext cx="780477"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nchor="b">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eaLnBrk="0" fontAlgn="auto" latinLnBrk="0" hangingPunct="0">
              <a:lnSpc>
                <a:spcPct val="95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rPr>
              <a:t>FlexPod for Edge / </a:t>
            </a:r>
            <a:r>
              <a:rPr kumimoji="0" lang="en-US" altLang="en-US" sz="1000" b="0" i="0" u="none" strike="noStrike" kern="0" cap="none" spc="0" normalizeH="0" baseline="0" noProof="0" dirty="0" err="1">
                <a:ln>
                  <a:noFill/>
                </a:ln>
                <a:solidFill>
                  <a:srgbClr val="233E85"/>
                </a:solidFill>
                <a:effectLst/>
                <a:uLnTx/>
                <a:uFillTx/>
                <a:latin typeface="Arial" panose="020B0604020202020204" pitchFamily="34" charset="0"/>
              </a:rPr>
              <a:t>RoBo</a:t>
            </a:r>
            <a:endParaRPr kumimoji="0" lang="en-US" altLang="en-US" sz="1000" b="0" i="0" u="none" strike="noStrike" kern="0" cap="none" spc="0" normalizeH="0" baseline="0" noProof="0" dirty="0">
              <a:ln>
                <a:noFill/>
              </a:ln>
              <a:solidFill>
                <a:srgbClr val="233E85"/>
              </a:solidFill>
              <a:effectLst/>
              <a:uLnTx/>
              <a:uFillTx/>
              <a:latin typeface="Arial" panose="020B0604020202020204" pitchFamily="34" charset="0"/>
            </a:endParaRPr>
          </a:p>
        </p:txBody>
      </p:sp>
      <p:sp>
        <p:nvSpPr>
          <p:cNvPr id="637" name="TextBox 88">
            <a:extLst>
              <a:ext uri="{FF2B5EF4-FFF2-40B4-BE49-F238E27FC236}">
                <a16:creationId xmlns:a16="http://schemas.microsoft.com/office/drawing/2014/main" id="{32A656D3-9B5C-634C-B884-27F9DD6C3ACE}"/>
              </a:ext>
            </a:extLst>
          </p:cNvPr>
          <p:cNvSpPr txBox="1">
            <a:spLocks noChangeArrowheads="1"/>
          </p:cNvSpPr>
          <p:nvPr/>
        </p:nvSpPr>
        <p:spPr bwMode="auto">
          <a:xfrm>
            <a:off x="5370767" y="4369749"/>
            <a:ext cx="403483" cy="53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1685" rIns="0" bIns="121685">
            <a:spAutoFit/>
          </a:bodyP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1225" rtl="0" eaLnBrk="0" fontAlgn="base" latinLnBrk="0" hangingPunct="0">
              <a:lnSpc>
                <a:spcPct val="95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233E85"/>
                </a:solidFill>
                <a:effectLst/>
                <a:uLnTx/>
                <a:uFillTx/>
                <a:latin typeface="Arial" panose="020B0604020202020204" pitchFamily="34" charset="0"/>
                <a:ea typeface="+mn-ea"/>
                <a:cs typeface="+mn-cs"/>
              </a:rPr>
              <a:t>FSA One</a:t>
            </a:r>
          </a:p>
        </p:txBody>
      </p:sp>
      <p:sp>
        <p:nvSpPr>
          <p:cNvPr id="184" name="TextBox 116">
            <a:extLst>
              <a:ext uri="{FF2B5EF4-FFF2-40B4-BE49-F238E27FC236}">
                <a16:creationId xmlns:a16="http://schemas.microsoft.com/office/drawing/2014/main" id="{4BF97F67-AE81-480E-95C4-8CEF1FAFEFC0}"/>
              </a:ext>
            </a:extLst>
          </p:cNvPr>
          <p:cNvSpPr txBox="1">
            <a:spLocks noChangeArrowheads="1"/>
          </p:cNvSpPr>
          <p:nvPr/>
        </p:nvSpPr>
        <p:spPr bwMode="auto">
          <a:xfrm>
            <a:off x="8457860" y="3232224"/>
            <a:ext cx="493284" cy="160337"/>
          </a:xfrm>
          <a:prstGeom prst="rect">
            <a:avLst/>
          </a:prstGeom>
          <a:solidFill>
            <a:srgbClr val="2D98D3"/>
          </a:solidFill>
          <a:ln>
            <a:noFill/>
          </a:ln>
        </p:spPr>
        <p:txBody>
          <a:bodyPr lIns="0" tIns="60821" rIns="121670" bIns="60821" anchor="ctr"/>
          <a:lstStyle>
            <a:lvl1pPr defTabSz="911225">
              <a:defRPr sz="2000">
                <a:solidFill>
                  <a:schemeClr val="tx1"/>
                </a:solidFill>
                <a:latin typeface="Arial" panose="020B0604020202020204" pitchFamily="34" charset="0"/>
              </a:defRPr>
            </a:lvl1pPr>
            <a:lvl2pPr defTabSz="911225">
              <a:defRPr sz="2000">
                <a:solidFill>
                  <a:schemeClr val="tx1"/>
                </a:solidFill>
                <a:latin typeface="Arial" panose="020B0604020202020204" pitchFamily="34" charset="0"/>
              </a:defRPr>
            </a:lvl2pPr>
            <a:lvl3pPr defTabSz="911225">
              <a:defRPr sz="2000">
                <a:solidFill>
                  <a:schemeClr val="tx1"/>
                </a:solidFill>
                <a:latin typeface="Arial" panose="020B0604020202020204" pitchFamily="34" charset="0"/>
              </a:defRPr>
            </a:lvl3pPr>
            <a:lvl4pPr defTabSz="911225">
              <a:defRPr sz="2000">
                <a:solidFill>
                  <a:schemeClr val="tx1"/>
                </a:solidFill>
                <a:latin typeface="Arial" panose="020B0604020202020204" pitchFamily="34" charset="0"/>
              </a:defRPr>
            </a:lvl4pPr>
            <a:lvl5pPr defTabSz="911225">
              <a:defRPr sz="2000">
                <a:solidFill>
                  <a:schemeClr val="tx1"/>
                </a:solidFill>
                <a:latin typeface="Arial" panose="020B0604020202020204" pitchFamily="34" charset="0"/>
              </a:defRPr>
            </a:lvl5pPr>
            <a:lvl6pPr marL="2284413" indent="1588" defTabSz="911225" eaLnBrk="0" fontAlgn="base" hangingPunct="0">
              <a:spcBef>
                <a:spcPct val="0"/>
              </a:spcBef>
              <a:spcAft>
                <a:spcPct val="0"/>
              </a:spcAft>
              <a:defRPr sz="2000">
                <a:solidFill>
                  <a:schemeClr val="tx1"/>
                </a:solidFill>
                <a:latin typeface="Arial" panose="020B0604020202020204" pitchFamily="34" charset="0"/>
              </a:defRPr>
            </a:lvl6pPr>
            <a:lvl7pPr marL="2741613" indent="1588" defTabSz="911225" eaLnBrk="0" fontAlgn="base" hangingPunct="0">
              <a:spcBef>
                <a:spcPct val="0"/>
              </a:spcBef>
              <a:spcAft>
                <a:spcPct val="0"/>
              </a:spcAft>
              <a:defRPr sz="2000">
                <a:solidFill>
                  <a:schemeClr val="tx1"/>
                </a:solidFill>
                <a:latin typeface="Arial" panose="020B0604020202020204" pitchFamily="34" charset="0"/>
              </a:defRPr>
            </a:lvl7pPr>
            <a:lvl8pPr marL="3198813" indent="1588" defTabSz="911225" eaLnBrk="0" fontAlgn="base" hangingPunct="0">
              <a:spcBef>
                <a:spcPct val="0"/>
              </a:spcBef>
              <a:spcAft>
                <a:spcPct val="0"/>
              </a:spcAft>
              <a:defRPr sz="2000">
                <a:solidFill>
                  <a:schemeClr val="tx1"/>
                </a:solidFill>
                <a:latin typeface="Arial" panose="020B0604020202020204" pitchFamily="34" charset="0"/>
              </a:defRPr>
            </a:lvl8pPr>
            <a:lvl9pPr marL="3656013" indent="1588" defTabSz="91122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defTabSz="911225" eaLnBrk="0" fontAlgn="auto" latinLnBrk="0" hangingPunct="0">
              <a:lnSpc>
                <a:spcPct val="95000"/>
              </a:lnSpc>
              <a:spcBef>
                <a:spcPts val="400"/>
              </a:spcBef>
              <a:spcAft>
                <a:spcPts val="200"/>
              </a:spcAft>
              <a:buClrTx/>
              <a:buSzTx/>
              <a:buFontTx/>
              <a:buNone/>
              <a:tabLst/>
              <a:defRPr/>
            </a:pPr>
            <a:r>
              <a:rPr kumimoji="0" lang="en-US" altLang="en-US" sz="1100" b="0" i="0" u="none" strike="noStrike" kern="0" cap="none" spc="0" normalizeH="0" baseline="0" noProof="0" dirty="0">
                <a:ln>
                  <a:noFill/>
                </a:ln>
                <a:solidFill>
                  <a:srgbClr val="FFFFFF"/>
                </a:solidFill>
                <a:effectLst/>
                <a:uLnTx/>
                <a:uFillTx/>
                <a:latin typeface="Arial" panose="020B0604020202020204" pitchFamily="34" charset="0"/>
              </a:rPr>
              <a:t>2020</a:t>
            </a:r>
          </a:p>
        </p:txBody>
      </p:sp>
    </p:spTree>
    <p:extLst>
      <p:ext uri="{BB962C8B-B14F-4D97-AF65-F5344CB8AC3E}">
        <p14:creationId xmlns:p14="http://schemas.microsoft.com/office/powerpoint/2010/main" val="221967333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Title 3"/>
          <p:cNvSpPr>
            <a:spLocks noGrp="1" noChangeArrowheads="1"/>
          </p:cNvSpPr>
          <p:nvPr>
            <p:ph type="ctrTitle"/>
          </p:nvPr>
        </p:nvSpPr>
        <p:spPr>
          <a:xfrm>
            <a:off x="803274" y="2046288"/>
            <a:ext cx="8025415" cy="1298045"/>
          </a:xfrm>
        </p:spPr>
        <p:txBody>
          <a:bodyPr/>
          <a:lstStyle/>
          <a:p>
            <a:r>
              <a:rPr lang="en-US" altLang="en-US" dirty="0"/>
              <a:t>What is </a:t>
            </a:r>
            <a:r>
              <a:rPr lang="en-US" altLang="en-US" dirty="0" err="1"/>
              <a:t>FlexPod</a:t>
            </a:r>
            <a:endParaRPr lang="en-US" altLang="en-US" dirty="0"/>
          </a:p>
        </p:txBody>
      </p:sp>
    </p:spTree>
    <p:extLst>
      <p:ext uri="{BB962C8B-B14F-4D97-AF65-F5344CB8AC3E}">
        <p14:creationId xmlns:p14="http://schemas.microsoft.com/office/powerpoint/2010/main" val="1340448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7.0&quot;&gt;&lt;object type=&quot;1&quot; unique_id=&quot;10001&quot;&gt;&lt;object type=&quot;8&quot; unique_id=&quot;10056&quot;&gt;&lt;/object&gt;&lt;object type=&quot;2&quot; unique_id=&quot;10057&quot;&gt;&lt;object type=&quot;3&quot; unique_id=&quot;10058&quot;&gt;&lt;property id=&quot;20148&quot; value=&quot;5&quot;/&gt;&lt;property id=&quot;20300&quot; value=&quot;Slide 1&quot;/&gt;&lt;property id=&quot;20307&quot; value=&quot;348&quot;/&gt;&lt;/object&gt;&lt;object type=&quot;3&quot; unique_id=&quot;10059&quot;&gt;&lt;property id=&quot;20148&quot; value=&quot;5&quot;/&gt;&lt;property id=&quot;20300&quot; value=&quot;Slide 2 - &amp;quot;Internal Use and Confidential Footers&amp;quot;&quot;/&gt;&lt;property id=&quot;20307&quot; value=&quot;353&quot;/&gt;&lt;/object&gt;&lt;object type=&quot;3&quot; unique_id=&quot;10060&quot;&gt;&lt;property id=&quot;20148&quot; value=&quot;5&quot;/&gt;&lt;property id=&quot;20300&quot; value=&quot;Slide 3&quot;/&gt;&lt;property id=&quot;20307&quot; value=&quot;357&quot;/&gt;&lt;/object&gt;&lt;object type=&quot;3&quot; unique_id=&quot;10061&quot;&gt;&lt;property id=&quot;20148&quot; value=&quot;5&quot;/&gt;&lt;property id=&quot;20300&quot; value=&quot;Slide 4 - &amp;quot;Compatibility Between &amp;#x0D;&amp;#x0A;Office 2003 and 2007 Versions&amp;quot;&quot;/&gt;&lt;property id=&quot;20307&quot; value=&quot;356&quot;/&gt;&lt;/object&gt;&lt;object type=&quot;3&quot; unique_id=&quot;10062&quot;&gt;&lt;property id=&quot;20148&quot; value=&quot;5&quot;/&gt;&lt;property id=&quot;20300&quot; value=&quot;Slide 5&quot;/&gt;&lt;property id=&quot;20307&quot; value=&quot;354&quot;/&gt;&lt;/object&gt;&lt;object type=&quot;3&quot; unique_id=&quot;10063&quot;&gt;&lt;property id=&quot;20148&quot; value=&quot;5&quot;/&gt;&lt;property id=&quot;20300&quot; value=&quot;Slide 6&quot;/&gt;&lt;property id=&quot;20307&quot; value=&quot;355&quot;/&gt;&lt;/object&gt;&lt;object type=&quot;3&quot; unique_id=&quot;10064&quot;&gt;&lt;property id=&quot;20148&quot; value=&quot;5&quot;/&gt;&lt;property id=&quot;20300&quot; value=&quot;Slide 7&quot;/&gt;&lt;property id=&quot;20307&quot; value=&quot;349&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Light">
  <a:themeElements>
    <a:clrScheme name="Custom 12">
      <a:dk1>
        <a:srgbClr val="000000"/>
      </a:dk1>
      <a:lt1>
        <a:srgbClr val="FFFFFF"/>
      </a:lt1>
      <a:dk2>
        <a:srgbClr val="000000"/>
      </a:dk2>
      <a:lt2>
        <a:srgbClr val="9EA2A2"/>
      </a:lt2>
      <a:accent1>
        <a:srgbClr val="0067C5"/>
      </a:accent1>
      <a:accent2>
        <a:srgbClr val="8DC8E8"/>
      </a:accent2>
      <a:accent3>
        <a:srgbClr val="FEDB00"/>
      </a:accent3>
      <a:accent4>
        <a:srgbClr val="D45D00"/>
      </a:accent4>
      <a:accent5>
        <a:srgbClr val="C8102E"/>
      </a:accent5>
      <a:accent6>
        <a:srgbClr val="8246AF"/>
      </a:accent6>
      <a:hlink>
        <a:srgbClr val="0067C5"/>
      </a:hlink>
      <a:folHlink>
        <a:srgbClr val="9EA2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t">
        <a:noAutofit/>
      </a:bodyPr>
      <a:lstStyle>
        <a:defPPr marL="173038" marR="0" indent="-173038" algn="l" defTabSz="914400" rtl="0" eaLnBrk="1" fontAlgn="auto" latinLnBrk="0" hangingPunct="1">
          <a:lnSpc>
            <a:spcPct val="95000"/>
          </a:lnSpc>
          <a:spcBef>
            <a:spcPts val="400"/>
          </a:spcBef>
          <a:spcAft>
            <a:spcPts val="20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theme>
</file>

<file path=ppt/theme/theme10.xml><?xml version="1.0" encoding="utf-8"?>
<a:theme xmlns:a="http://schemas.openxmlformats.org/drawingml/2006/main" name="6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exPod Datacenter" id="{3B312CBD-FBF3-8E4C-A117-E2F76773E164}" vid="{4A9D2A0D-00A1-B040-B8C9-56B710E2F40A}"/>
    </a:ext>
  </a:extLst>
</a:theme>
</file>

<file path=ppt/theme/theme11.xml><?xml version="1.0" encoding="utf-8"?>
<a:theme xmlns:a="http://schemas.openxmlformats.org/drawingml/2006/main" name="1_Standard">
  <a:themeElements>
    <a:clrScheme name="NetApp">
      <a:dk1>
        <a:sysClr val="windowText" lastClr="000000"/>
      </a:dk1>
      <a:lt1>
        <a:sysClr val="window" lastClr="FFFFFF"/>
      </a:lt1>
      <a:dk2>
        <a:srgbClr val="8DC63F"/>
      </a:dk2>
      <a:lt2>
        <a:srgbClr val="9EA2A2"/>
      </a:lt2>
      <a:accent1>
        <a:srgbClr val="0067C5"/>
      </a:accent1>
      <a:accent2>
        <a:srgbClr val="00B0F0"/>
      </a:accent2>
      <a:accent3>
        <a:srgbClr val="F3D400"/>
      </a:accent3>
      <a:accent4>
        <a:srgbClr val="FF9E00"/>
      </a:accent4>
      <a:accent5>
        <a:srgbClr val="C60047"/>
      </a:accent5>
      <a:accent6>
        <a:srgbClr val="7B00C6"/>
      </a:accent6>
      <a:hlink>
        <a:srgbClr val="0067C5"/>
      </a:hlink>
      <a:folHlink>
        <a:srgbClr val="9EA2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ctr">
        <a:noAutofit/>
      </a:bodyPr>
      <a:lstStyle>
        <a:defPPr marL="0" marR="0" indent="0" algn="l" defTabSz="914400" rtl="0" eaLnBrk="1" fontAlgn="auto" latinLnBrk="0" hangingPunct="1">
          <a:lnSpc>
            <a:spcPct val="95000"/>
          </a:lnSpc>
          <a:spcBef>
            <a:spcPts val="400"/>
          </a:spcBef>
          <a:spcAft>
            <a:spcPts val="200"/>
          </a:spcAft>
          <a:buClrTx/>
          <a:buSzTx/>
          <a:buFontTx/>
          <a:buNone/>
          <a:tabLst/>
          <a:defRPr kumimoji="0" sz="1800" b="0" i="0" u="none" strike="noStrike" kern="1200" cap="none" spc="0" normalizeH="0" baseline="0" noProof="0" dirty="0" err="1"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theme>
</file>

<file path=ppt/theme/theme12.xml><?xml version="1.0" encoding="utf-8"?>
<a:theme xmlns:a="http://schemas.openxmlformats.org/drawingml/2006/main" name="Light">
  <a:themeElements>
    <a:clrScheme name="Custom 114">
      <a:dk1>
        <a:sysClr val="windowText" lastClr="000000"/>
      </a:dk1>
      <a:lt1>
        <a:sysClr val="window" lastClr="FFFFFF"/>
      </a:lt1>
      <a:dk2>
        <a:srgbClr val="32872D"/>
      </a:dk2>
      <a:lt2>
        <a:srgbClr val="A2A5A2"/>
      </a:lt2>
      <a:accent1>
        <a:srgbClr val="0067C5"/>
      </a:accent1>
      <a:accent2>
        <a:srgbClr val="6DBEDC"/>
      </a:accent2>
      <a:accent3>
        <a:srgbClr val="F6D371"/>
      </a:accent3>
      <a:accent4>
        <a:srgbClr val="EC7653"/>
      </a:accent4>
      <a:accent5>
        <a:srgbClr val="C5271B"/>
      </a:accent5>
      <a:accent6>
        <a:srgbClr val="7A1A92"/>
      </a:accent6>
      <a:hlink>
        <a:srgbClr val="0067C5"/>
      </a:hlink>
      <a:folHlink>
        <a:srgbClr val="A2A5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45720" rIns="91440" bIns="45720" rtlCol="0" anchor="t">
        <a:spAutoFit/>
      </a:bodyPr>
      <a:lstStyle>
        <a:defPPr marR="0" algn="l" defTabSz="914400" rtl="0" eaLnBrk="1" fontAlgn="auto" latinLnBrk="0" hangingPunct="1">
          <a:lnSpc>
            <a:spcPct val="95000"/>
          </a:lnSpc>
          <a:spcBef>
            <a:spcPts val="400"/>
          </a:spcBef>
          <a:spcAft>
            <a:spcPts val="200"/>
          </a:spcAft>
          <a:buClr>
            <a:schemeClr val="accent1"/>
          </a:buClr>
          <a:buSzTx/>
          <a:tabLst/>
          <a:defRPr kumimoji="0" sz="1400" b="0" i="0" u="none" strike="noStrike" kern="1200" cap="none" spc="0" normalizeH="0" baseline="0" noProof="0" dirty="0"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theme>
</file>

<file path=ppt/theme/theme13.xml><?xml version="1.0" encoding="utf-8"?>
<a:theme xmlns:a="http://schemas.openxmlformats.org/drawingml/2006/main" name="7_FlexPod Default Master">
  <a:themeElements>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y_FlexPod_Customer_FNL_v9" id="{4F9570A0-CAC5-ED40-A9C6-E9D53F2E5690}" vid="{B5835348-7CC3-1841-9DE8-AC0F4AB256E9}"/>
    </a:ext>
  </a:extLst>
</a:theme>
</file>

<file path=ppt/theme/theme14.xml><?xml version="1.0" encoding="utf-8"?>
<a:theme xmlns:a="http://schemas.openxmlformats.org/drawingml/2006/main" name="8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exPod Datacenter" id="{3B312CBD-FBF3-8E4C-A117-E2F76773E164}" vid="{4A9D2A0D-00A1-B040-B8C9-56B710E2F40A}"/>
    </a:ext>
  </a:extLst>
</a:theme>
</file>

<file path=ppt/theme/theme15.xml><?xml version="1.0" encoding="utf-8"?>
<a:theme xmlns:a="http://schemas.openxmlformats.org/drawingml/2006/main" name="9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4_Light">
  <a:themeElements>
    <a:clrScheme name="Custom 114">
      <a:dk1>
        <a:sysClr val="windowText" lastClr="000000"/>
      </a:dk1>
      <a:lt1>
        <a:sysClr val="window" lastClr="FFFFFF"/>
      </a:lt1>
      <a:dk2>
        <a:srgbClr val="32872D"/>
      </a:dk2>
      <a:lt2>
        <a:srgbClr val="A2A5A2"/>
      </a:lt2>
      <a:accent1>
        <a:srgbClr val="0067C5"/>
      </a:accent1>
      <a:accent2>
        <a:srgbClr val="6DBEDC"/>
      </a:accent2>
      <a:accent3>
        <a:srgbClr val="F6D371"/>
      </a:accent3>
      <a:accent4>
        <a:srgbClr val="EC7653"/>
      </a:accent4>
      <a:accent5>
        <a:srgbClr val="C5271B"/>
      </a:accent5>
      <a:accent6>
        <a:srgbClr val="7A1A92"/>
      </a:accent6>
      <a:hlink>
        <a:srgbClr val="0067C5"/>
      </a:hlink>
      <a:folHlink>
        <a:srgbClr val="A2A5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45720" rIns="91440" bIns="45720" rtlCol="0" anchor="t">
        <a:spAutoFit/>
      </a:bodyPr>
      <a:lstStyle>
        <a:defPPr marR="0" algn="l" defTabSz="914400" rtl="0" eaLnBrk="1" fontAlgn="auto" latinLnBrk="0" hangingPunct="1">
          <a:lnSpc>
            <a:spcPct val="95000"/>
          </a:lnSpc>
          <a:spcBef>
            <a:spcPts val="400"/>
          </a:spcBef>
          <a:spcAft>
            <a:spcPts val="200"/>
          </a:spcAft>
          <a:buClr>
            <a:schemeClr val="accent1"/>
          </a:buClr>
          <a:buSzTx/>
          <a:tabLst/>
          <a:defRPr kumimoji="0" sz="1400" b="0" i="0" u="none" strike="noStrike" kern="1200" cap="none" spc="0" normalizeH="0" baseline="0" noProof="0" dirty="0"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extLst>
    <a:ext uri="{05A4C25C-085E-4340-85A3-A5531E510DB2}">
      <thm15:themeFamily xmlns:thm15="http://schemas.microsoft.com/office/thememl/2012/main" name="NetApp-Corporate-Light-16x9-Template-English" id="{D811361D-C508-409F-B4CF-40189D38F313}" vid="{B7CDB073-AF16-434F-8FE8-AAEE2EDFF589}"/>
    </a:ext>
  </a:extLst>
</a:theme>
</file>

<file path=ppt/theme/theme17.xml><?xml version="1.0" encoding="utf-8"?>
<a:theme xmlns:a="http://schemas.openxmlformats.org/drawingml/2006/main" name="10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FlexPod Master">
  <a:themeElements>
    <a:clrScheme name="Custom 11">
      <a:dk1>
        <a:srgbClr val="4D4848"/>
      </a:dk1>
      <a:lt1>
        <a:srgbClr val="FFFFFF"/>
      </a:lt1>
      <a:dk2>
        <a:srgbClr val="211F20"/>
      </a:dk2>
      <a:lt2>
        <a:srgbClr val="026998"/>
      </a:lt2>
      <a:accent1>
        <a:srgbClr val="117FB1"/>
      </a:accent1>
      <a:accent2>
        <a:srgbClr val="4FABD6"/>
      </a:accent2>
      <a:accent3>
        <a:srgbClr val="7FC041"/>
      </a:accent3>
      <a:accent4>
        <a:srgbClr val="57863B"/>
      </a:accent4>
      <a:accent5>
        <a:srgbClr val="EB553C"/>
      </a:accent5>
      <a:accent6>
        <a:srgbClr val="F49520"/>
      </a:accent6>
      <a:hlink>
        <a:srgbClr val="4FABD6"/>
      </a:hlink>
      <a:folHlink>
        <a:srgbClr val="4FA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exPod-template-2018" id="{3361AF7D-1E15-D241-812A-8C8CACC6A073}" vid="{30BE91BF-4D0B-3C48-9649-0476CD733B86}"/>
    </a:ext>
  </a:ext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exPod Datacenter" id="{3B312CBD-FBF3-8E4C-A117-E2F76773E164}" vid="{4A9D2A0D-00A1-B040-B8C9-56B710E2F40A}"/>
    </a:ext>
  </a:ext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FlexPod Default Master">
  <a:themeElements>
    <a:clrScheme name="Custom 10">
      <a:dk1>
        <a:srgbClr val="4C4948"/>
      </a:dk1>
      <a:lt1>
        <a:srgbClr val="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4CACDB"/>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y_FlexPod_Customer_FNL_v9" id="{4F9570A0-CAC5-ED40-A9C6-E9D53F2E5690}" vid="{B5835348-7CC3-1841-9DE8-AC0F4AB256E9}"/>
    </a:ext>
  </a:extLst>
</a:theme>
</file>

<file path=ppt/theme/theme4.xml><?xml version="1.0" encoding="utf-8"?>
<a:theme xmlns:a="http://schemas.openxmlformats.org/drawingml/2006/main" name="1_Light">
  <a:themeElements>
    <a:clrScheme name="Custom 114">
      <a:dk1>
        <a:sysClr val="windowText" lastClr="000000"/>
      </a:dk1>
      <a:lt1>
        <a:sysClr val="window" lastClr="FFFFFF"/>
      </a:lt1>
      <a:dk2>
        <a:srgbClr val="32872D"/>
      </a:dk2>
      <a:lt2>
        <a:srgbClr val="A2A5A2"/>
      </a:lt2>
      <a:accent1>
        <a:srgbClr val="0067C5"/>
      </a:accent1>
      <a:accent2>
        <a:srgbClr val="6DBEDC"/>
      </a:accent2>
      <a:accent3>
        <a:srgbClr val="F6D371"/>
      </a:accent3>
      <a:accent4>
        <a:srgbClr val="EC7653"/>
      </a:accent4>
      <a:accent5>
        <a:srgbClr val="C5271B"/>
      </a:accent5>
      <a:accent6>
        <a:srgbClr val="7A1A92"/>
      </a:accent6>
      <a:hlink>
        <a:srgbClr val="0067C5"/>
      </a:hlink>
      <a:folHlink>
        <a:srgbClr val="A2A5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45720" rIns="91440" bIns="45720" rtlCol="0" anchor="t">
        <a:spAutoFit/>
      </a:bodyPr>
      <a:lstStyle>
        <a:defPPr marR="0" algn="l" defTabSz="914400" rtl="0" eaLnBrk="1" fontAlgn="auto" latinLnBrk="0" hangingPunct="1">
          <a:lnSpc>
            <a:spcPct val="95000"/>
          </a:lnSpc>
          <a:spcBef>
            <a:spcPts val="400"/>
          </a:spcBef>
          <a:spcAft>
            <a:spcPts val="200"/>
          </a:spcAft>
          <a:buClr>
            <a:schemeClr val="accent1"/>
          </a:buClr>
          <a:buSzTx/>
          <a:tabLst/>
          <a:defRPr kumimoji="0" sz="1400" b="0" i="0" u="none" strike="noStrike" kern="1200" cap="none" spc="0" normalizeH="0" baseline="0" noProof="0" dirty="0"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extLst>
    <a:ext uri="{05A4C25C-085E-4340-85A3-A5531E510DB2}">
      <thm15:themeFamily xmlns:thm15="http://schemas.microsoft.com/office/thememl/2012/main" name="NetApp-Corporate-Light-16x9-Template-English" id="{D496E1C5-F29C-684B-84D7-F68C0C3F2979}" vid="{E82B7F9F-8160-3A4B-950C-762D737E48CF}"/>
    </a:ext>
  </a:extLst>
</a:theme>
</file>

<file path=ppt/theme/theme5.xml><?xml version="1.0" encoding="utf-8"?>
<a:theme xmlns:a="http://schemas.openxmlformats.org/drawingml/2006/main" name="3_Light">
  <a:themeElements>
    <a:clrScheme name="Custom 12">
      <a:dk1>
        <a:srgbClr val="000000"/>
      </a:dk1>
      <a:lt1>
        <a:srgbClr val="FFFFFF"/>
      </a:lt1>
      <a:dk2>
        <a:srgbClr val="000000"/>
      </a:dk2>
      <a:lt2>
        <a:srgbClr val="9EA2A2"/>
      </a:lt2>
      <a:accent1>
        <a:srgbClr val="0067C5"/>
      </a:accent1>
      <a:accent2>
        <a:srgbClr val="8DC8E8"/>
      </a:accent2>
      <a:accent3>
        <a:srgbClr val="FEDB00"/>
      </a:accent3>
      <a:accent4>
        <a:srgbClr val="D45D00"/>
      </a:accent4>
      <a:accent5>
        <a:srgbClr val="C8102E"/>
      </a:accent5>
      <a:accent6>
        <a:srgbClr val="8246AF"/>
      </a:accent6>
      <a:hlink>
        <a:srgbClr val="0067C5"/>
      </a:hlink>
      <a:folHlink>
        <a:srgbClr val="9EA2A2"/>
      </a:folHlink>
    </a:clrScheme>
    <a:fontScheme name="NetApp_Template">
      <a:majorFont>
        <a:latin typeface="Arial"/>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t">
        <a:noAutofit/>
      </a:bodyPr>
      <a:lstStyle>
        <a:defPPr marL="173038" marR="0" indent="-173038" algn="l" defTabSz="914400" rtl="0" eaLnBrk="1" fontAlgn="auto" latinLnBrk="0" hangingPunct="1">
          <a:lnSpc>
            <a:spcPct val="95000"/>
          </a:lnSpc>
          <a:spcBef>
            <a:spcPts val="400"/>
          </a:spcBef>
          <a:spcAft>
            <a:spcPts val="20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ysClr val="windowText" lastClr="000000"/>
            </a:solidFill>
            <a:effectLst/>
            <a:uLnTx/>
            <a:uFillTx/>
            <a:latin typeface="+mn-lt"/>
          </a:defRPr>
        </a:defPPr>
      </a:lstStyle>
    </a:txDef>
  </a:objectDefaults>
  <a:extraClrSchemeLst/>
  <a:custClrLst>
    <a:custClr name="Custom Color 1">
      <a:srgbClr val="00C6A5"/>
    </a:custClr>
    <a:custClr name="Custom Color 2">
      <a:srgbClr val="ECECEC"/>
    </a:custClr>
    <a:custClr name="Custom Color 3">
      <a:srgbClr val="C8C9C7"/>
    </a:custClr>
    <a:custClr name="Custom Color 4">
      <a:srgbClr val="9EA2A2"/>
    </a:custClr>
    <a:custClr name="Custom Color 5">
      <a:srgbClr val="5B6770"/>
    </a:custClr>
    <a:custClr name="Custom Color 6">
      <a:srgbClr val="C8102E"/>
    </a:custClr>
  </a:custClrLst>
</a:theme>
</file>

<file path=ppt/theme/theme6.xml><?xml version="1.0" encoding="utf-8"?>
<a:theme xmlns:a="http://schemas.openxmlformats.org/drawingml/2006/main" name="2_FlexPod Default Master">
  <a:themeElements>
    <a:clrScheme name="Custom 10">
      <a:dk1>
        <a:srgbClr val="4C4948"/>
      </a:dk1>
      <a:lt1>
        <a:srgbClr val="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4CACDB"/>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y_FlexPod_Customer_FNL_v9" id="{4F9570A0-CAC5-ED40-A9C6-E9D53F2E5690}" vid="{B5835348-7CC3-1841-9DE8-AC0F4AB256E9}"/>
    </a:ext>
  </a:extLst>
</a:theme>
</file>

<file path=ppt/theme/theme7.xml><?xml version="1.0" encoding="utf-8"?>
<a:theme xmlns:a="http://schemas.openxmlformats.org/drawingml/2006/main" name="3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1000" b="0" i="0" u="none" strike="noStrike" cap="none" normalizeH="0" baseline="0" dirty="0" smtClean="0">
            <a:ln>
              <a:noFill/>
            </a:ln>
            <a:solidFill>
              <a:schemeClr val="bg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exPod Datacenter" id="{3B312CBD-FBF3-8E4C-A117-E2F76773E164}" vid="{4A9D2A0D-00A1-B040-B8C9-56B710E2F40A}"/>
    </a:ext>
  </a:extLst>
</a:theme>
</file>

<file path=ppt/theme/theme9.xml><?xml version="1.0" encoding="utf-8"?>
<a:theme xmlns:a="http://schemas.openxmlformats.org/drawingml/2006/main" name="5_FlexPod Default Master">
  <a:themeElements>
    <a:clrScheme name="Custom 11">
      <a:dk1>
        <a:srgbClr val="4C4948"/>
      </a:dk1>
      <a:lt1>
        <a:sysClr val="window" lastClr="FFFFFF"/>
      </a:lt1>
      <a:dk2>
        <a:srgbClr val="000000"/>
      </a:dk2>
      <a:lt2>
        <a:srgbClr val="99A5B1"/>
      </a:lt2>
      <a:accent1>
        <a:srgbClr val="D6212C"/>
      </a:accent1>
      <a:accent2>
        <a:srgbClr val="F0DB12"/>
      </a:accent2>
      <a:accent3>
        <a:srgbClr val="83AC3E"/>
      </a:accent3>
      <a:accent4>
        <a:srgbClr val="4EA2C8"/>
      </a:accent4>
      <a:accent5>
        <a:srgbClr val="233E85"/>
      </a:accent5>
      <a:accent6>
        <a:srgbClr val="523D98"/>
      </a:accent6>
      <a:hlink>
        <a:srgbClr val="317D9F"/>
      </a:hlink>
      <a:folHlink>
        <a:srgbClr val="95C7D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w="9525"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2" pitchFamily="18" charset="2"/>
          <a:buNone/>
          <a:tabLst/>
          <a:defRPr kumimoji="0" sz="2000" b="0"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buClr>
            <a:schemeClr val="accent3"/>
          </a:buClr>
          <a:defRPr dirty="0" err="1" smtClean="0"/>
        </a:defPPr>
      </a:lstStyle>
    </a:txDef>
  </a:objectDefaults>
  <a:extraClrSchemeLst>
    <a:extraClrScheme>
      <a:clrScheme name="Default Design 1">
        <a:dk1>
          <a:srgbClr val="000000"/>
        </a:dk1>
        <a:lt1>
          <a:srgbClr val="FFFFFF"/>
        </a:lt1>
        <a:dk2>
          <a:srgbClr val="0085B4"/>
        </a:dk2>
        <a:lt2>
          <a:srgbClr val="565656"/>
        </a:lt2>
        <a:accent1>
          <a:srgbClr val="A5A5A5"/>
        </a:accent1>
        <a:accent2>
          <a:srgbClr val="58A618"/>
        </a:accent2>
        <a:accent3>
          <a:srgbClr val="FFFFFF"/>
        </a:accent3>
        <a:accent4>
          <a:srgbClr val="000000"/>
        </a:accent4>
        <a:accent5>
          <a:srgbClr val="CFCFCF"/>
        </a:accent5>
        <a:accent6>
          <a:srgbClr val="4F9615"/>
        </a:accent6>
        <a:hlink>
          <a:srgbClr val="005BAE"/>
        </a:hlink>
        <a:folHlink>
          <a:srgbClr val="F95F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5AAC64A052C964F9F2287BB32FEE5D5" ma:contentTypeVersion="12" ma:contentTypeDescription="Create a new document." ma:contentTypeScope="" ma:versionID="f734254ba53a0f00b835d672d73c1bb6">
  <xsd:schema xmlns:xsd="http://www.w3.org/2001/XMLSchema" xmlns:xs="http://www.w3.org/2001/XMLSchema" xmlns:p="http://schemas.microsoft.com/office/2006/metadata/properties" xmlns:ns2="25729f4d-a72d-4be2-8ac2-7792fb60baeb" xmlns:ns3="72760376-998a-4180-99b2-55405dd80ec5" targetNamespace="http://schemas.microsoft.com/office/2006/metadata/properties" ma:root="true" ma:fieldsID="a42639e8b74ebb66724e1471a7d242a7" ns2:_="" ns3:_="">
    <xsd:import namespace="25729f4d-a72d-4be2-8ac2-7792fb60baeb"/>
    <xsd:import namespace="72760376-998a-4180-99b2-55405dd80ec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element ref="ns2:MediaServiceAutoTags" minOccurs="0"/>
                <xsd:element ref="ns2:MediaServiceDateTaken" minOccurs="0"/>
                <xsd:element ref="ns2:MediaServiceOCR"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729f4d-a72d-4be2-8ac2-7792fb60ba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760376-998a-4180-99b2-55405dd80ec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7E8CBD-3A7F-48D4-8985-1810C1073197}">
  <ds:schemaRefs>
    <ds:schemaRef ds:uri="http://schemas.microsoft.com/sharepoint/v3/contenttype/forms"/>
  </ds:schemaRefs>
</ds:datastoreItem>
</file>

<file path=customXml/itemProps2.xml><?xml version="1.0" encoding="utf-8"?>
<ds:datastoreItem xmlns:ds="http://schemas.openxmlformats.org/officeDocument/2006/customXml" ds:itemID="{AD429D4A-E9DC-48CA-B1D7-5126DAD3FD36}">
  <ds:schemaRefs>
    <ds:schemaRef ds:uri="http://schemas.openxmlformats.org/package/2006/metadata/core-properties"/>
    <ds:schemaRef ds:uri="http://purl.org/dc/terms/"/>
    <ds:schemaRef ds:uri="http://schemas.microsoft.com/office/infopath/2007/PartnerControls"/>
    <ds:schemaRef ds:uri="72760376-998a-4180-99b2-55405dd80ec5"/>
    <ds:schemaRef ds:uri="http://schemas.microsoft.com/office/2006/documentManagement/types"/>
    <ds:schemaRef ds:uri="25729f4d-a72d-4be2-8ac2-7792fb60baeb"/>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EDDD731-C56A-4036-AB58-03D4823DDF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729f4d-a72d-4be2-8ac2-7792fb60baeb"/>
    <ds:schemaRef ds:uri="72760376-998a-4180-99b2-55405dd80e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8157</Words>
  <Application>Microsoft Office PowerPoint</Application>
  <PresentationFormat>On-screen Show (16:9)</PresentationFormat>
  <Paragraphs>987</Paragraphs>
  <Slides>50</Slides>
  <Notes>40</Notes>
  <HiddenSlides>0</HiddenSlides>
  <MMClips>0</MMClips>
  <ScaleCrop>false</ScaleCrop>
  <HeadingPairs>
    <vt:vector size="8" baseType="variant">
      <vt:variant>
        <vt:lpstr>Fonts Used</vt:lpstr>
      </vt:variant>
      <vt:variant>
        <vt:i4>11</vt:i4>
      </vt:variant>
      <vt:variant>
        <vt:lpstr>Theme</vt:lpstr>
      </vt:variant>
      <vt:variant>
        <vt:i4>18</vt:i4>
      </vt:variant>
      <vt:variant>
        <vt:lpstr>Embedded OLE Servers</vt:lpstr>
      </vt:variant>
      <vt:variant>
        <vt:i4>1</vt:i4>
      </vt:variant>
      <vt:variant>
        <vt:lpstr>Slide Titles</vt:lpstr>
      </vt:variant>
      <vt:variant>
        <vt:i4>50</vt:i4>
      </vt:variant>
    </vt:vector>
  </HeadingPairs>
  <TitlesOfParts>
    <vt:vector size="80" baseType="lpstr">
      <vt:lpstr>メイリオ</vt:lpstr>
      <vt:lpstr>Arial</vt:lpstr>
      <vt:lpstr>Calibri</vt:lpstr>
      <vt:lpstr>CiscoSansTT ExtraLight</vt:lpstr>
      <vt:lpstr>Helvetica Neue</vt:lpstr>
      <vt:lpstr>Lucida Grande</vt:lpstr>
      <vt:lpstr>proxima-nova</vt:lpstr>
      <vt:lpstr>Times New Roman</vt:lpstr>
      <vt:lpstr>Trebuchet MS</vt:lpstr>
      <vt:lpstr>Wingdings</vt:lpstr>
      <vt:lpstr>Wingdings 2</vt:lpstr>
      <vt:lpstr>2_Light</vt:lpstr>
      <vt:lpstr>FlexPod Default Master</vt:lpstr>
      <vt:lpstr>1_FlexPod Default Master</vt:lpstr>
      <vt:lpstr>1_Light</vt:lpstr>
      <vt:lpstr>3_Light</vt:lpstr>
      <vt:lpstr>2_FlexPod Default Master</vt:lpstr>
      <vt:lpstr>3_FlexPod Default Master</vt:lpstr>
      <vt:lpstr>4_FlexPod Default Master</vt:lpstr>
      <vt:lpstr>5_FlexPod Default Master</vt:lpstr>
      <vt:lpstr>6_FlexPod Default Master</vt:lpstr>
      <vt:lpstr>1_Standard</vt:lpstr>
      <vt:lpstr>Light</vt:lpstr>
      <vt:lpstr>7_FlexPod Default Master</vt:lpstr>
      <vt:lpstr>8_FlexPod Default Master</vt:lpstr>
      <vt:lpstr>9_FlexPod Default Master</vt:lpstr>
      <vt:lpstr>4_Light</vt:lpstr>
      <vt:lpstr>10_FlexPod Default Master</vt:lpstr>
      <vt:lpstr>FlexPod Master</vt:lpstr>
      <vt:lpstr>think-cell Slide</vt:lpstr>
      <vt:lpstr>FlexPod: Platform for Innovation for Partners </vt:lpstr>
      <vt:lpstr>FlexPod Momentum </vt:lpstr>
      <vt:lpstr>PowerPoint Presentation</vt:lpstr>
      <vt:lpstr>PowerPoint Presentation</vt:lpstr>
      <vt:lpstr>Digital Transformation</vt:lpstr>
      <vt:lpstr>Confidently Power Modern Workloads</vt:lpstr>
      <vt:lpstr>Why Customers Choose  FlexPod</vt:lpstr>
      <vt:lpstr>The History of Innovation Continues</vt:lpstr>
      <vt:lpstr>What is FlexPod</vt:lpstr>
      <vt:lpstr>PowerPoint Presentation</vt:lpstr>
      <vt:lpstr>FlexPod is the Fabric </vt:lpstr>
      <vt:lpstr>PowerPoint Presentation</vt:lpstr>
      <vt:lpstr>PowerPoint Presentation</vt:lpstr>
      <vt:lpstr>PowerPoint Presentation</vt:lpstr>
      <vt:lpstr>FlexPod helps IT accelerate business</vt:lpstr>
      <vt:lpstr>PowerPoint Presentation</vt:lpstr>
      <vt:lpstr>Why FlexPod? Latest FlexPod Innovations (Sept 2019 to Jan 2020)   </vt:lpstr>
      <vt:lpstr>PowerPoint Presentation</vt:lpstr>
      <vt:lpstr>PowerPoint Presentation</vt:lpstr>
      <vt:lpstr>The First End-to-End NVMe CI Solution</vt:lpstr>
      <vt:lpstr>AI/ML Strategy</vt:lpstr>
      <vt:lpstr>FlexPod for AI/ML/DL: Portfolio of Solutions</vt:lpstr>
      <vt:lpstr>Nvidia T4 GPU Qualified Across Portfolio</vt:lpstr>
      <vt:lpstr>PowerPoint Presentation</vt:lpstr>
      <vt:lpstr>PowerPoint Presentation</vt:lpstr>
      <vt:lpstr>PowerPoint Presentation</vt:lpstr>
      <vt:lpstr>PowerPoint Presentation</vt:lpstr>
      <vt:lpstr>PowerPoint Presentation</vt:lpstr>
      <vt:lpstr>PowerPoint Presentation</vt:lpstr>
      <vt:lpstr>Monitor with Converged Systems Advisor</vt:lpstr>
      <vt:lpstr>PowerPoint Presentation</vt:lpstr>
      <vt:lpstr>Power Modern AI and SAP HANA with FlexPod</vt:lpstr>
      <vt:lpstr>Resources:</vt:lpstr>
      <vt:lpstr>Why FlexPod FlexPod Value </vt:lpstr>
      <vt:lpstr>Power Modern AI and Enterprise Apps</vt:lpstr>
      <vt:lpstr>Embrace cloud with confidence  for unmatched versatility</vt:lpstr>
      <vt:lpstr>The Most Cloud Connected CI Platform  </vt:lpstr>
      <vt:lpstr>The World’s Most Trusted CI Solution</vt:lpstr>
      <vt:lpstr>Deliver a Better Customer Experience</vt:lpstr>
      <vt:lpstr>Industry Analysts Love FlexPod</vt:lpstr>
      <vt:lpstr>Why FlexPod is Number 1 with Customers</vt:lpstr>
      <vt:lpstr>Customer case study: neteffect technologies</vt:lpstr>
      <vt:lpstr>PowerPoint Presentation</vt:lpstr>
      <vt:lpstr>PowerPoint Presentation</vt:lpstr>
      <vt:lpstr>Customer case study: Baylor College of Medicine</vt:lpstr>
      <vt:lpstr>Why FlexPod for Partners Optimized to grow long-term revenue</vt:lpstr>
      <vt:lpstr>Why FlexPod is #1 with Partners</vt:lpstr>
      <vt:lpstr>Earn More with FlexPod</vt:lpstr>
      <vt:lpstr>Is your FlexPod customer ready for a refresh?</vt:lpstr>
      <vt:lpstr> Thank You</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lexPod Announcement AI and Modern Applications</dc:title>
  <dc:creator/>
  <cp:lastModifiedBy/>
  <cp:revision>22</cp:revision>
  <dcterms:created xsi:type="dcterms:W3CDTF">2019-01-16T00:35:02Z</dcterms:created>
  <dcterms:modified xsi:type="dcterms:W3CDTF">2021-07-16T03: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AAC64A052C964F9F2287BB32FEE5D5</vt:lpwstr>
  </property>
</Properties>
</file>